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7"/>
  </p:notesMasterIdLst>
  <p:sldIdLst>
    <p:sldId id="356" r:id="rId2"/>
    <p:sldId id="357" r:id="rId3"/>
    <p:sldId id="359" r:id="rId4"/>
    <p:sldId id="570" r:id="rId5"/>
    <p:sldId id="360" r:id="rId6"/>
    <p:sldId id="361" r:id="rId7"/>
    <p:sldId id="362" r:id="rId8"/>
    <p:sldId id="376" r:id="rId9"/>
    <p:sldId id="377" r:id="rId10"/>
    <p:sldId id="569" r:id="rId11"/>
    <p:sldId id="363" r:id="rId12"/>
    <p:sldId id="387" r:id="rId13"/>
    <p:sldId id="368" r:id="rId14"/>
    <p:sldId id="386" r:id="rId15"/>
    <p:sldId id="369" r:id="rId16"/>
    <p:sldId id="364" r:id="rId17"/>
    <p:sldId id="365" r:id="rId18"/>
    <p:sldId id="366" r:id="rId19"/>
    <p:sldId id="367" r:id="rId20"/>
    <p:sldId id="374" r:id="rId21"/>
    <p:sldId id="380" r:id="rId22"/>
    <p:sldId id="370" r:id="rId23"/>
    <p:sldId id="371" r:id="rId24"/>
    <p:sldId id="372" r:id="rId25"/>
    <p:sldId id="571" r:id="rId26"/>
    <p:sldId id="373" r:id="rId27"/>
    <p:sldId id="375" r:id="rId28"/>
    <p:sldId id="382" r:id="rId29"/>
    <p:sldId id="383" r:id="rId30"/>
    <p:sldId id="384" r:id="rId31"/>
    <p:sldId id="385" r:id="rId32"/>
    <p:sldId id="388" r:id="rId33"/>
    <p:sldId id="389" r:id="rId34"/>
    <p:sldId id="390" r:id="rId35"/>
    <p:sldId id="391" r:id="rId36"/>
    <p:sldId id="421" r:id="rId37"/>
    <p:sldId id="395" r:id="rId38"/>
    <p:sldId id="392" r:id="rId39"/>
    <p:sldId id="393" r:id="rId40"/>
    <p:sldId id="394" r:id="rId41"/>
    <p:sldId id="396" r:id="rId42"/>
    <p:sldId id="397" r:id="rId43"/>
    <p:sldId id="398" r:id="rId44"/>
    <p:sldId id="399" r:id="rId45"/>
    <p:sldId id="400" r:id="rId46"/>
    <p:sldId id="401" r:id="rId47"/>
    <p:sldId id="402" r:id="rId48"/>
    <p:sldId id="403" r:id="rId49"/>
    <p:sldId id="404" r:id="rId50"/>
    <p:sldId id="405" r:id="rId51"/>
    <p:sldId id="406" r:id="rId52"/>
    <p:sldId id="407" r:id="rId53"/>
    <p:sldId id="408" r:id="rId54"/>
    <p:sldId id="409" r:id="rId55"/>
    <p:sldId id="411" r:id="rId56"/>
    <p:sldId id="412" r:id="rId57"/>
    <p:sldId id="413" r:id="rId58"/>
    <p:sldId id="410" r:id="rId59"/>
    <p:sldId id="414" r:id="rId60"/>
    <p:sldId id="415" r:id="rId61"/>
    <p:sldId id="416" r:id="rId62"/>
    <p:sldId id="417" r:id="rId63"/>
    <p:sldId id="418" r:id="rId64"/>
    <p:sldId id="419" r:id="rId65"/>
    <p:sldId id="420" r:id="rId66"/>
    <p:sldId id="422" r:id="rId67"/>
    <p:sldId id="423" r:id="rId68"/>
    <p:sldId id="424" r:id="rId69"/>
    <p:sldId id="425" r:id="rId70"/>
    <p:sldId id="426" r:id="rId71"/>
    <p:sldId id="427" r:id="rId72"/>
    <p:sldId id="428" r:id="rId73"/>
    <p:sldId id="429" r:id="rId74"/>
    <p:sldId id="430" r:id="rId75"/>
    <p:sldId id="431" r:id="rId76"/>
    <p:sldId id="432" r:id="rId77"/>
    <p:sldId id="433" r:id="rId78"/>
    <p:sldId id="434" r:id="rId79"/>
    <p:sldId id="435" r:id="rId80"/>
    <p:sldId id="436" r:id="rId81"/>
    <p:sldId id="438" r:id="rId82"/>
    <p:sldId id="439" r:id="rId83"/>
    <p:sldId id="440" r:id="rId84"/>
    <p:sldId id="441" r:id="rId85"/>
    <p:sldId id="442" r:id="rId86"/>
    <p:sldId id="443" r:id="rId87"/>
    <p:sldId id="444" r:id="rId88"/>
    <p:sldId id="445" r:id="rId89"/>
    <p:sldId id="446" r:id="rId90"/>
    <p:sldId id="447" r:id="rId91"/>
    <p:sldId id="448" r:id="rId92"/>
    <p:sldId id="449" r:id="rId93"/>
    <p:sldId id="450" r:id="rId94"/>
    <p:sldId id="451" r:id="rId95"/>
    <p:sldId id="452" r:id="rId96"/>
    <p:sldId id="453" r:id="rId97"/>
    <p:sldId id="454" r:id="rId98"/>
    <p:sldId id="455" r:id="rId99"/>
    <p:sldId id="456" r:id="rId100"/>
    <p:sldId id="459" r:id="rId101"/>
    <p:sldId id="460" r:id="rId102"/>
    <p:sldId id="458" r:id="rId103"/>
    <p:sldId id="457" r:id="rId104"/>
    <p:sldId id="462" r:id="rId105"/>
    <p:sldId id="463" r:id="rId106"/>
    <p:sldId id="464" r:id="rId107"/>
    <p:sldId id="465" r:id="rId108"/>
    <p:sldId id="466" r:id="rId109"/>
    <p:sldId id="467" r:id="rId110"/>
    <p:sldId id="468" r:id="rId111"/>
    <p:sldId id="469" r:id="rId112"/>
    <p:sldId id="470" r:id="rId113"/>
    <p:sldId id="471" r:id="rId114"/>
    <p:sldId id="473" r:id="rId115"/>
    <p:sldId id="474" r:id="rId1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60"/>
  </p:normalViewPr>
  <p:slideViewPr>
    <p:cSldViewPr snapToGrid="0">
      <p:cViewPr varScale="1">
        <p:scale>
          <a:sx n="110" d="100"/>
          <a:sy n="110" d="100"/>
        </p:scale>
        <p:origin x="51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notesMaster" Target="notesMasters/notesMaster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presProps" Target="pres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viewProps" Target="viewProps.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tableStyles" Target="tableStyles.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0.933"/>
    </inkml:context>
    <inkml:brush xml:id="br0">
      <inkml:brushProperty name="width" value="0.025" units="cm"/>
      <inkml:brushProperty name="height" value="0.025" units="cm"/>
      <inkml:brushProperty name="ignorePressure" value="1"/>
    </inkml:brush>
  </inkml:definitions>
  <inkml:trace contextRef="#ctx0" brushRef="#br0">49 1,'0'4,"0"7,0 5,0 4,-4 4,-1 1,0 0,1 3,0-1,2 0,-3-1,-2 1,2-2,0 2,2-6</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1.573"/>
    </inkml:context>
    <inkml:brush xml:id="br0">
      <inkml:brushProperty name="width" value="0.025" units="cm"/>
      <inkml:brushProperty name="height" value="0.025" units="cm"/>
      <inkml:brushProperty name="ignorePressure" value="1"/>
    </inkml:brush>
  </inkml:definitions>
  <inkml:trace contextRef="#ctx0" brushRef="#br0">54 1,'-5'4,"0"7,-1 5,1 4,2 4,-3 1,-1 2,0-1,3 2,0-1,3-6</inkml:trace>
</inkml:ink>
</file>

<file path=ppt/ink/ink10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17:51.067"/>
    </inkml:context>
    <inkml:brush xml:id="br0">
      <inkml:brushProperty name="width" value="0.05292" units="cm"/>
      <inkml:brushProperty name="height" value="0.05292" units="cm"/>
      <inkml:brushProperty name="color" value="#0070C0"/>
    </inkml:brush>
  </inkml:definitions>
  <inkml:trace contextRef="#ctx0" brushRef="#br0">7783 15178 0,'35'0'94,"89"17"-79,-19-17-15,2 0 16,34 0 0,53 0-16,176 0 15,36 19 1,-194-19-1,246 0 1,-194 0-16,-34 0 16,316 0-1,-298 0-15,34 0 16,-36 0-16,2 0 16,-18 0-16,34 0 15,-52 0-15,34 0 16,-34 0-16,-18 0 15,0 0-15,-88 0 16,35 0 0,-17 0-16,16 0 15,-69 0-15,-18 0 0,0 0 32,-35 0-1,-1 0-16,36 0-15,18 0 0,0 0 16,17 0-16,34 0 16,2 0-16,159 0 31,-212 0-31,-54 0 16,0 0-1,-17-19 298,0 2-313,0-35 15,0 16-15,0 1 16,0-18-16,0 17 16,0-33-16,0 15 15,0 1-15,0 18 16,0-18-16,0-18 15,0-34-15,0 34 16,0-17-16,0-18 16,0 18-16,0 17 15,0-52 1,0 34-16,0 54 16,-17-18-1,17 18-15,-17-1 16,17 2-16,-19-1 15,19-1-15,-17 1 16,17-1-16,-18-17 16,18 36-16,0-18 15,0 18-15,0-19 16,-34 36 171,-37-18-171,18 18 0,-89 0-1,72 0-15,-53 0 16,-18 0-16,-18 0 16,-36 0-1,-34 0-15,-406 0 16,247 0-16,52 0 15,2 0-15,-337 0 16,372 0 0,-37 0-16,2 0 15,34 0-15,-230 0 32,230 0-32,0-17 15,36 17-15,35 0 16,-88 0-1,139 0-15,38 0 16,16 0-16,36 0 16,18 0-16,-125-53 31,143 53-31,-19 0 0,35 0 16,19 0-16,-71 0 15,71 0 1,-37 0-16,-16 0 15,35 0 1,-1 0 0,1 0-16,-35 0 0,34 0 15,18 0 1,1 0 78,17 17-79,0 54-15,0 34 16,0 195 0,0-123-16,0 17 15,0-18-15,0-18 16,0-34-16,0 0 15,17-36-15,1 88 32,-18-140-32,18-1 15,-18-18-15,0 2 16,18-2 156,52 18-157,18-18 1,36 2-16,-1 16 16,53-18-16,1 2 15,34-2-15,1-17 16,53 0-16,87 0 16,-281 0-1,-35 0 1</inkml:trace>
  <inkml:trace contextRef="#ctx0" brushRef="#br0" timeOffset="2326.31">15279 3661 0,'71'0'156,"105"0"-140,-52 0-1,-19 0-15,37 0 16,-1 0-16,35 0 16,-35 0-16,159 0 15,-141 0 1,17 0-16,-35 0 15,-17 0-15,123 0 16,-142 0 0,-34 0-16,18 0 15,-54 0-15,-18 0 32</inkml:trace>
  <inkml:trace contextRef="#ctx0" brushRef="#br0" timeOffset="3439.97">21277 3766 0,'0'17'63,"36"-17"-32,-2 0-31,20 0 16,51 0-16,2 0 15,69 0-15,36 0 16,246 0 0,-176 0-16,88-53 15,-52 18-15,87-18 16,-34 1-16,353-55 15,-372 73 1,18-54-16,-106 69 16,2-33-16,-54 35 15,-36-2-15,-88 19 16,-35 0-16,-18 0 16</inkml:trace>
  <inkml:trace contextRef="#ctx0" brushRef="#br0" timeOffset="5296.03">8435 6994 0,'36'0'63,"-1"0"-48,36 17-15,35-17 16,388 0 0,-353 0-1,159 0 1,-19 0 0,-210 0-16,-35 0 15,-19 0-15</inkml:trace>
  <inkml:trace contextRef="#ctx0" brushRef="#br0" timeOffset="7440.26">13586 7047 0,'36'0'31,"52"0"-15,-17 0-1,17 0 1,17 0-16,19 0 0,140 0 31,-105 0-31,-1 0 0,232 0 31,15 0-15,-193 0-16,35 0 16,141 0-1,-195 0-15,-16 0 16,17 0-16,176 0 16,-176 0-1,-36 0-15,54 0 16,-34 0-16,-2 0 15,-18 0-15,160-53 16,-142 53 0,-70-17-16,36 17 15,-20 0-15,20 0 16,-18 0-16,34 0 16,-52 0-16,52 0 15,-34 0-15,35-19 16,-54 19-16,37-17 15,-18-18 1,16 18-16,-34-2 0,-18 19 16,35-17-16,-52 17 15,-1-35-15,-16 35 16,-1-19 0,-1 19-16,19 0 15,-18 0-15,18 0 16,-18-17-1,-18 17-15,1 0 16,-2 0-16,37 0 16,-36 0-16,-17 0 15,34 0-15,2 0 16,16 0-16,1 0 16,0 0-16,-1 0 15,1 0-15,34 0 16,-17 0-1,-52 0 1,16 0-16,2 0 0,-20 0 16,90 0-1,-70 0 1,16 0-16,0 0 0,-17 0 16,-17 0-16,16 0 15,-16 0 1,-19 0-16,37 0 15,-37 0 1,36 0-16,-35 0 0,104 0 31,-51 0-31,0 0 16,-1 0-16,37 0 16,-38 0-16,21-35 15,-56 35-15,-16 0 16,35-18-16,-36 18 15,19 0-15,-1 0 16,-18 0 0,37 0-1,70 0 1,-54 0-16,-35 0 16,36 0-16,-18 0 15,158 0 1,-158 0-1,0 0 1,-18 0-16,18 0 0,1 0 16,34 0-1,17 0-15,54 0 0,17 0 16,-16 0-16,138 0 31,-156 0-31,-36 0 16,17-18-16,-70 1 0,-35 17 15</inkml:trace>
  <inkml:trace contextRef="#ctx0" brushRef="#br0" timeOffset="9920.04">7995 8370 0,'18'-17'78,"-1"17"-62,19 0-16,33 0 15,-15 0-15,52 0 16,158 0 0,19 0-1,-124 0-15,17 0 16,-71 0-1,72 0-15,-18 0 0,0 0 16,34 0-16,-52 0 16,54 0-16,157 0 15,-176 0 1,72 0 0,-55 0-16,2 0 0,105 0 15,-124 0 1,-35 0-16,-35 0 15,18 0-15,-2 0 16,37 0 0,-70 0-1,-1 0 1,-36 0-16,19 0 16,53 0-1,-107 0-15,19 0 16,-18 0-16</inkml:trace>
  <inkml:trace contextRef="#ctx0" brushRef="#br0" timeOffset="16248.04">14081 10345 0,'52'0'47,"18"-18"-31,-16 18-16,16-17 0,1 17 15,34-35-15,-34 35 16,17-18 0,-35 18-16,-35 0 0,18-18 15</inkml:trace>
  <inkml:trace contextRef="#ctx0" brushRef="#br0" timeOffset="17743.27">24893 10169 0,'17'0'109,"36"-18"-93,-17 18-16,-1-36 15,-18 36-15,1 0 16,18 0 0,-19 0 15,19 0-15,-19 0-1,18-17 16,-16 17 1</inkml:trace>
  <inkml:trace contextRef="#ctx0" brushRef="#br0" timeOffset="19704.59">26410 10222 0,'71'0'31,"70"0"-15,52 0 0,19 0-1,-158 0 1,15 0-16,-16 0 15,-35 0-15,35 0 16,-36-17-16,19 17 16,-18 0-1,-18-19 126</inkml:trace>
  <inkml:trace contextRef="#ctx0" brushRef="#br0" timeOffset="22591.52">9777 11721 0,'34'0'78,"-16"0"-62,35 0-16,35 0 0,36 0 15,-1 0-15,54 0 16,-1 0-16,53 0 16,-17 0-1,18 0-15,-1 0 0,18 0 16,211 0-1,-194 0 1,-52 0-16,18 0 0,-18 0 16,17 0-16,-36 0 15,178 0 1,-195 0-16,1 0 16,-18 0-16,34 0 15,-34 0-15,36 0 16,-19 0-16,0 0 15,1 0 1,16 0-16,-34 0 16,194 0-1,-194 0-15,17 0 16,-35 0-16,18 0 16,177 0-1,-37 0 1,-158 0-16,-17 0 15,17 0-15,-18 0 16,18 0 0,-53 0-16,-17 0 0,-18 0 15,-18 0 1,1 0-16</inkml:trace>
  <inkml:trace contextRef="#ctx0" brushRef="#br0" timeOffset="87375.51">24593 1067 0,'17'54'32,"-17"-20"-32,0-16 15,-17 18 1,17-19-1,0 0-15,0 1 16,17-53 15,2-36-15,-2-17 0,-17 71-1,17-2 16,1 38-15,-18-2-16,18 1 0,0-1 31,-1-17-31,-17 19 16,36-38-16,-19 19 31,18-52-31,-18 33 16,2 19-1,-2 0 1,-17 19-16,18-2 16,-18 1-16,36 35 15,-36-18-15,17-35 16,-17 17-16,17 2 16,-17-2-16,18-17 0,18 17 15</inkml:trace>
  <inkml:trace contextRef="#ctx0" brushRef="#br0" timeOffset="87758.13">25246 1331 0,'-17'-34'0,"34"-2"15,-17 18-15,0 1 16,0-19 0,0 19-16,-17-18 15,17 18-15,-19 17 16,2 0-1,-1 0-15,18 17 16,-17 0-16,17 1 16,-19-1-1,55 36 1,-18-35-16,-1-18 0,19 18 16,-19-18-16,18-18 15,-16 18-15,-2 0 0,18 0 16</inkml:trace>
  <inkml:trace contextRef="#ctx0" brushRef="#br0" timeOffset="88392.09">25598 1085 0,'-17'-18'16,"-1"18"-16,1 18 15,-2-18-15,2 17 16,17 2-16,-17-2 16,17 0-16,-18 1 15,18-1 16,18-17-31,-1 0 32,0-17-32,2-1 15,-2 18 17,-17-17-32,18 17 31,-1 17 0,2-17 0,-2 0 1,0 0-32,1 0 15,-1 0 16,2 18-15,-2-18 0,0 0 15,1 0-15,0 0-1,-18-18-15,18 18 16</inkml:trace>
  <inkml:trace contextRef="#ctx0" brushRef="#br0" timeOffset="89611.7">25105 1967 0,'-18'-18'15,"36"71"16,16-18-15,-34-17 0,19-18-16,-2 0 15,1 18-15,-1-18 16,2-18-16,-2 0 16,0 0-1,1 1-15,-18 0 16,17-1-1,19 36 17,-36-1-17,17-17-15,-17 17 0,18-17 16,0 18 0,0-18-1,-1-18-15,0 18 16,1-17-16,-18-18 15,18 17-15,-18 0 16,0-16 0,18-2-1</inkml:trace>
  <inkml:trace contextRef="#ctx0" brushRef="#br0" timeOffset="90053.34">25722 1914 0,'17'-36'15,"-17"19"1,-34 34 31,15 2-47,19-2 15,-17 0 1,17 1-16,17 0 16,2-18-1,15-18 1,2 18-16,-18-18 0,16 1 15,20-36 1,-37 35 0,0 18-16,2-17 0,-2 0 15,1 34 17,-18 0-17,17 1-15,-17-1 16,0 2-16,0-2 0,19 0 31,-2-17-15</inkml:trace>
  <inkml:trace contextRef="#ctx0" brushRef="#br0" timeOffset="90189.03">26093 1685 0</inkml:trace>
  <inkml:trace contextRef="#ctx0" brushRef="#br0" timeOffset="91034.69">26251 1755 0,'-17'0'0,"-19"18"31,19-18-31,-1 17 15,18 2 1,-18-19-16,36 17 16,0-17-1,-18 17-15,34 1 16,-15-18-16,-2 17 16,1 19-1,-18-1 1,0-17-16,-18 0 15,18 16-15,-17-16 16,-2-18-16,2 18 16,53-54 15,-19 36-15,1-17-1,-1 0-15,0-1 0,2 0 16,-2 0-16,37-52 31,-37 35-31,0-1 16,-17 19-16,36-54 15,-36 36 1,18 17-16,-18 0 16,0 1-1,0 52 16,0-17-31,0 0 16,0-1-16,0 0 16,17 2 15,-17-2-31,17-17 31,1 0-31,0-17 16,17-2-1,-18 2 17,2 34-17,-19 2 1,0-2 0,0 1-1,17-1-15,-17 2 16,0-2-1</inkml:trace>
  <inkml:trace contextRef="#ctx0" brushRef="#br0" timeOffset="91220.77">26639 1773 0,'0'-18'0,"0"36"15,18-53-15,-1 35 16,2-19 0,-2 19-1,0-17-15,37 0 16</inkml:trace>
  <inkml:trace contextRef="#ctx0" brushRef="#br0" timeOffset="94510.82">26569 2197 0,'34'-19'0,"-15"2"15,-2 17-15,37-18 16,-2 1-16,-16-2 0,-2 19 15,37-34-15,34-20 16,-34 20 0,-35-20-1,-19 37-15,18-19 16,1-16-16,-19-1 16,-17 18-1,0 16-15,0-15 0,0-2 16,0 1-16,0 18 15,-34-19-15,34 18 16,-36-16-16,1 15 16,-72-16-1,-15-1-15,34 19 16,34 0-16,-70 17 16,36-18-16,0 18 15,-17 0-15,52 0 16,-18 0-16,-34 18 15,-125-1 1,177-17-16,-71 17 0,72-17 16,-1 19-16,-1-2 0,-68 1 15,-20 18-15,54-19 16,-53 36-16,53-35 0,17 16 16,-194 73-1,213-72-15,-36 18 16,52-18-16,-35 53 15,54-52-15,0 34 16,17-52-16,17 52 0,0-16 16,90 34-1,16-18-15,-53-52 16,18-1-16,0 0 0,107 2 0,0-38 16,-90 19-16,0-17 15,107-18-15,-124-1 16</inkml:trace>
  <inkml:trace contextRef="#ctx0" brushRef="#br0" timeOffset="95016.64">27310 1631 0,'0'0'0,"35"-34"16,-35 16 0,17 18-16,19-18 0,-19 0 0,1 18 0,18-17 15,-19 17-15,18-36 0,35 19 16,-34-1 0,-18 18-16,-18-17 0,17 17 15,-17-19-15,17 19 0,-17-17 16,19 17-16</inkml:trace>
  <inkml:trace contextRef="#ctx0" brushRef="#br0" timeOffset="95847.85">28474 1067 0,'0'-17'15,"-19"52"-15,19-18 16,0 2-16,0 15 15,0 20 1,0-20-16,0-16 16,0 0-16,0 0 15,0-1-15</inkml:trace>
  <inkml:trace contextRef="#ctx0" brushRef="#br0" timeOffset="96118.88">28226 1031 0,'-35'54'0,"18"-37"15,0 2-15,17 15 16,0-16-16,-19-1 0,19 19 0,0-19 16,-17 19-16,17 35 15,0-54-15,0 1 0,17 16 16,2-15-16,-2-2 16,0 1-16,18-18 15,-16 0-15</inkml:trace>
  <inkml:trace contextRef="#ctx0" brushRef="#br0" timeOffset="96385.23">28791 926 0,'18'17'0,"-36"-34"0,53 52 0,-18-35 16,19 70 0,-36-51-16,0-2 0,18 18 15,-18-16-15,0 50 16,0-16-16,0-35 16,0 35-16,-18-17 15,1 33-15</inkml:trace>
  <inkml:trace contextRef="#ctx0" brushRef="#br0" timeOffset="97215.45">27398 1878 0,'17'19'32,"1"-2"-32,18 36 15,-19-35-15,0-1 16,37 18-16,-37-17 0,36 34 15,-35-33-15,16 16 16,-15-18 0,-2 2-16,1-2 15,-1-17-15,0 0 16,2 0-16</inkml:trace>
  <inkml:trace contextRef="#ctx0" brushRef="#br0" timeOffset="97726.91">28121 2019 0,'0'-17'16,"0"70"15,17-1-16,-17-16 1,0-18 0,0-1-16,0 2 15,0-2 1</inkml:trace>
  <inkml:trace contextRef="#ctx0" brushRef="#br0" timeOffset="99175.35">27945 1897 0,'-124'88'31,"106"-71"-15,-18 0-16,19 1 0,-18 18 15,18-19 1</inkml:trace>
  <inkml:trace contextRef="#ctx0" brushRef="#br0" timeOffset="99344.08">27662 1949 0,'53'36'16,"-106"-72"-16,158 106 16,-69-52-1,35 18 1,-36-19-16,1-17 16</inkml:trace>
  <inkml:trace contextRef="#ctx0" brushRef="#br0" timeOffset="99903.18">28067 1897 0,'-17'34'16,"17"-16"0,0 0-16,0 52 0,-17-34 15,17-2-15,0-15 0,0-2 16,17 1-16,-17-1 16,0 2-16,0-2 0,17 18 15,2-18-15,-19 2 0,17-19 0,1 17 16,-1-17-16,36 0 15</inkml:trace>
  <inkml:trace contextRef="#ctx0" brushRef="#br0" timeOffset="100184.07">28403 1914 0,'88'105'16,"-70"19"-1,-18-89 1,0 1-16,-18-1 0,18-18 0,-36 54 15,2-1 1,16-34-16,1-18 0,-2-1 16,2 0-16,0 2 0</inkml:trace>
  <inkml:trace contextRef="#ctx0" brushRef="#br0" timeOffset="100824.51">27433 1279 0,'0'18'78,"17"-18"-62,2-18-1,-2 18-15,18-18 0,-17 0 16,17 1-16,-18 0 0,159-71 31,-140 52-31,18 18 0,-20 1 16,-16 17-16,0-19 15</inkml:trace>
</inkml:ink>
</file>

<file path=ppt/ink/ink10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19:37.819"/>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FFFF"/>
    </inkml:brush>
  </inkml:definitions>
  <inkml:trace contextRef="#ctx0" brushRef="#br0">997 9353 0,'17'0'62,"142"0"-46,-71 0-1,195 0 1,-54 0-16,-36 0 16,37 0-16,88 0 15,-19 0-15,125 0 16,69 0-16,461 0 15,-425 0 1,-1 0-16,-51 0 16,53 0-16,386 0 31,-492 0-31,-71 0 0,-106 0 16,-37 0-16,-15 0 15,34 0 1,-175 0-16,-37 0 15</inkml:trace>
  <inkml:trace contextRef="#ctx0" brushRef="#br0" timeOffset="1823.12">661 6760 0,'36'0'15,"247"0"1,-73 0 0,20 0-1,18 0-15,-2 0 0,-16 0 16,34 0-1,-35 0-15,-34 0 16,15 0-16,-51 0 0,53 0 16,-35 0-1,34 0-15,36 0 16,-18 0-16,54 0 16,-1 0-16,70 0 15,-69 0-15,17 0 16,0 18-16,-19-18 15,-15 0-15,-2 35 16,53-35-16,36 36 16,89-36-16,-20 0 15,-68 0-15,546 0 16,-512 0 0,52 0-16,-52 0 15,-52 0-15,-2 0 16,-104 0-16,16 0 15,-139 0-15,16 0 16,-70 0 0,-36 0-1</inkml:trace>
  <inkml:trace contextRef="#ctx0" brushRef="#br1" timeOffset="10808.04">10752 1062 0,'0'-34'15,"0"68"17,0 20-17,0-37-15,0 2 16,0 15-16,17 20 15,-17-37-15,0 0 0,0 1 16,0 0-16,0 0 0,17-1 16,-34-70 15,17 35-31,0-16 0,-17-20 16,17 37-1,0-19-15,0 19 0,0-18 0,0 16 16,0 2-16,-19 0 0,19-1 0,0 0 15,36 36 17,-19 0-17,1-1 1,-1-17 0,2 0-1,15-35 1,-34 17-16,18 18 0,-18-18 15,0 1-15,18 0 0,-18-19 16,18 18-16,-18 1 0,17 0 0,0-2 16,2 19-1,-2 19-15,1-19 16,-1 17-16,-17 0 0,17 1 0,2 18 16,-2-19-16,1 0 0,-1 19 15,2 16-15,-2-33 16,-17-2-16,17 1 0,-17-1 15,18 2-15,-18-2 0,17-17 0,-17 17 16,19-17-16,-2 0 16,0 0-16</inkml:trace>
  <inkml:trace contextRef="#ctx0" brushRef="#br1" timeOffset="11296.72">11545 1204 0,'35'-52'0,"-17"16"31,-18 18-31,0 1 0,0-2 0,-18-33 16,18 34-1,-18 18-15,18-18 16,-34 36 0,34 0-1,0 0 1,-19 16-16,38-15 0,-19-2 16,0 1-16,17 18 15,18-19-15,-17-17 16,0 17-16,-1-17 15,0-17-15,1 17 0,0 0 0,17-17 16,1-2 0</inkml:trace>
  <inkml:trace contextRef="#ctx0" brushRef="#br1" timeOffset="12091.7">11986 904 0,'-36'0'0,"19"0"16,0 18-16,-2-18 16,19 18-16,-17-18 0,17 17 15,-18 0-15,18 1 16,-17-18-16,17 18 15,0 0-15,0-1 16,0 0 0,17-17-1,1 0-15,-1 0 16,2-17-16,-2 0 16,-17-1-1,17 18-15,-17-18 16,0 0 15,36 36 47,-18-18-62,-1 0 15,0 0 0,2 0-15,-2 0 0,1-18-1,-1 18 1,0 0-1,-17-17-15,19 34 16,-2-17-16,1 18 31,-1-18-31,2 0 16,-2 0 0,0 0-1,1 0-15,18-18 31,-2 1-15,-16 17 0,18 17 15,-36 1-31</inkml:trace>
  <inkml:trace contextRef="#ctx0" brushRef="#br1" timeOffset="12941.41">11474 2245 0,'0'-17'0,"18"86"15,-18-50 1,0-2-16,17 0 0,-17 1 0,19 0 15,-2 0-15,-17-1 16,0 0-16,17 19 16,1-36-16,-18 18 0,18-18 15,-18-35 32,-18-18-47,18 35 0,-18-35 16,18 36-16,-17-2 0,0-50 31,17 50-31,0 2 16,34 34 15,-16 19-31,0-19 16,34 1-1,-52-1 1,18-17-16,0 0 0,-18-17 15,18-1 1,-1-16-16,0 34 0,-17-19 16,19 2-16,-19-1 0,17 1 15,1-2 1,-1 19-16,19 19 16,-19-2-16,1 1 0,-1-1 15,2 2-15,-2-19 0,-17 17 16,17 0-16,1 1 0,-18-1 0,18-17 15,17 36 1,-18-19-16,2-17 16,-2 0-16</inkml:trace>
  <inkml:trace contextRef="#ctx0" brushRef="#br1" timeOffset="13295.93">12304 2209 0,'17'-17'0,"-34"-71"0,17 70 16,-19 0-1,2 18-15,-1 18 16,-16 17 0,34-18-16,0 2 15,-19-2-15,19 1 0,0-1 0,19 19 16,-2-19 0,0-17-16,1 0 15,-1 0-15,19 0 0,52-17 16,-52 0-1,-1 17-15,-18-19 0,19 19 0,-19-17 16,1-1-16</inkml:trace>
  <inkml:trace contextRef="#ctx0" brushRef="#br1" timeOffset="13781.68">12692 1998 0,'-18'0'0,"0"18"16,-17 16 0,35-16-1,0 0-15,-17 0 0,17-1 0,0 0 16,0 2 0,17-19-16,18-19 31,-17 19-16,-18-17-15,18 17 0,-18-17 0,17-1 16,0 18 0,1 0-1,0 18 1,0-18 0,-1 0-16,0 17 15,2-17 1,-2-17-16,1 17 15</inkml:trace>
  <inkml:trace contextRef="#ctx0" brushRef="#br1" timeOffset="14392.8">13114 1557 0,'0'-17'0,"0"69"31,0-34-31,0 0 0,18 70 32,0-54-32,-18 2 15,35 35 1,-18-36-1,2-35 17,-38-35-1,2 35-31,-18 0 16,-1 17-16,19-17 15,-36 35-15,35-16 16,-16-19-16,15 17 0,-69 71 31,71-71-31,17 1 0,0 0 16,0 0-1,17-18-15,-17 17 0,53-17 16,-35 0 0,-1 0-16,2 0 0,-2 0 15,0 0-15,-17-17 0,18 17 16,0 0-1</inkml:trace>
  <inkml:trace contextRef="#ctx0" brushRef="#br1" timeOffset="14746.97">12762 2174 0,'-70'-141'16,"34"53"-16,1 0 15,18 35-15,-2 18 0,19 16 16,-17-51 0,-1 52-16,18 1 0,18 52 47,-1-17-47,19 34 15,-19-33-15</inkml:trace>
  <inkml:trace contextRef="#ctx0" brushRef="#br1" timeOffset="15284.89">12814 1769 0,'19'-36'15,"-2"36"-15,35-35 16,-33 17-16,16 0 0,-18 1 16,19 0-16,52-19 15,-71 36-15,1-18 0,0 18 16,0 0-16,-1 0 0,0 0 15,-17 18-15,19 0 16</inkml:trace>
  <inkml:trace contextRef="#ctx0" brushRef="#br1" timeOffset="15475.23">12938 2104 0,'0'17'0,"0"-34"0,0 51 15,35-34 16,-16 0-31,-2-17 0,0 0 16,1 17-16,18-18 0,-19 0 16,54-17-16,-37 0 0,-15 35 15,16-18-15,53-34 16,-35 33-16,-36 2 16</inkml:trace>
  <inkml:trace contextRef="#ctx0" brushRef="#br1" timeOffset="15904.97">13556 1680 0,'-18'0'0,"1"18"0,-2 0 31,2 16-31,0-15 16,17-2-16,0 1 16,0-1-1,34-17 1,2-17-1,-18-1 1,-1 1-16,-17-2 16,17 19-16,-17-17 15,19 17 1,-2 17 0,1-17-16,18 19 15,-19-2 1,0-17-16,1 0 0,0 0 15,-18 18-15,18-18 0</inkml:trace>
  <inkml:trace contextRef="#ctx0" brushRef="#br1" timeOffset="16279.11">13926 1610 0,'0'35'47,"0"-18"-31,18 1-16,-1 0 31,0-36 0,19 18-15,-18-18-16,-1 18 16,2 0-16,-2 0 15,18 18 1,-17-18-1</inkml:trace>
  <inkml:trace contextRef="#ctx0" brushRef="#br1" timeOffset="17977.59">12568 2985 0,'-18'19'0,"36"15"31,-18-16-31,17 18 16,-17-19-16,0 0 15,19-17-15,-19 18 0,0 0 16,0-54 46,-19 2-46,19 16-16,0-18 31,0 19-15,0 0 0,36 34-1,-36 0 1,17-17-16,-17 18 0,18-18 0,0 18 15,0-18 1,-1 18-16,0-36 16,1 18-1,-18-18 1,18 0-16,0-16 16,-1 15 15,19 38-16,-19-19-15,18 34 32,-18-34-32,-17 18 0,19-18 0,-2 18 31,1-18-31,-1 0 16,2 0-16</inkml:trace>
  <inkml:trace contextRef="#ctx0" brushRef="#br1" timeOffset="18268.41">13150 2914 0,'0'36'32,"0"-18"-17,18 18-15,-1-36 16,0 0-16,2 0 0,-2 0 15,54-36 17,-88 18-17,17 1-15,-19-2 16,2 2-16,-1 17 16,-18-17-1,19 34-15,0-17 16,-1 17-16</inkml:trace>
  <inkml:trace contextRef="#ctx0" brushRef="#br1" timeOffset="18725.34">13538 2562 0,'0'-17'16,"18"52"15,-18-18-31,0 2 0,0 15 0,17 1 16,-17-16-16,0-2 0,17 0 15,-17 1-15,19 35 16,-2-36-16,-17 2 15,18-2-15,-36 1 32,-18-18-17,19 0 1,0 0 0,-1 17-16,-18 19 15,19-19-15,17 1 16,0-1 15,17-17-31,2 0 16,50-17-1,-33-1 1,-18 18-16,-1-17 0,2 17 16,-2 0-16</inkml:trace>
  <inkml:trace contextRef="#ctx0" brushRef="#br1" timeOffset="19005.24">13890 2845 0,'36'-36'0,"-72"72"0,90-89 16,-54 35-16,17 0 16,-17 0-16,0 1 15,-17 17 1,-1 17-16,1 1 15,-2 0 1,2 17-16,17-18 0,0 2 16,0 16-1,17-35-15,2 0 16,16 17-16,18-34 16,18-1-16,-19 1 0,-16-2 15,-2 19-15,54-34 16</inkml:trace>
  <inkml:trace contextRef="#ctx0" brushRef="#br1" timeOffset="20239.74">10681 8348 0,'-36'36'16,"-69"104"15,17-16-31,34-54 0,-34 72 16,35-72-16,18 1 15,-18-19-15,36 1 0,-19 1 0,1 34 16,-1-18 0,36-52-16</inkml:trace>
  <inkml:trace contextRef="#ctx0" brushRef="#br1" timeOffset="20477.88">11086 8206 0,'-36'54'31,"19"-20"-31,0 2 0,-37 35 0,-34 70 15,35-18-15,-16-16 0,-21 15 16,20 2-16,-18 18 0,17-20 16,-193 408-1,229-406-15,-54 86 16,54-120-16,18-2 0,-2 0 0,2-18 16,0-18-16</inkml:trace>
  <inkml:trace contextRef="#ctx0" brushRef="#br1" timeOffset="23772.91">11598 7096 0,'18'-18'0,"-36"70"16,-18-16-1,19-1-15,-19 36 0,1-1 16,-1 1-16,-69 105 16,0 36-16,-37 0 15,89-89-15,-18-17 0,19 0 16,-18-1-16,-37 72 0,55-106 16,-37 69-16,19-33 15,34-2 1,19-88-16,17 2 0</inkml:trace>
  <inkml:trace contextRef="#ctx0" brushRef="#br1" timeOffset="24397.46">12885 7396 0,'-17'0'16,"-18"0"-16,87 0 0,-123 0 16,54 17-16,-18-17 0,-1 17 15,2 19-15,-20-18 0,1 16 0,18 2 16,-18-18-16,-35 70 15,35-18-15,53-52 16,18 35 0,0-36-16,35 19 0,-36-18 15,18-1-15,36 36 16,87 18 0,-140-54-16,18 1 0,-19-1 0,0 2 15,2-2-15,-2 0 16,-17 1-16,0 18 0,-36 34 15,19-35-15,-18 1 0,-35 35 16,-177 87 0,194-140-1,-1 16-15,-51 2 0,69-18 16,-52-1 0,53-17-16,18 0 0,-2 0 15,2-17-15,70-71 31,-18 52-31</inkml:trace>
  <inkml:trace contextRef="#ctx0" brushRef="#br1" timeOffset="24681.95">13097 7537 0,'0'123'0,"0"-18"16,-17-16-16,-1-18 15,18 17-15,-36 71 0,19-71 16,-19 70-16,1-16 16,18-37-16,-19 54 15,36-123 1,0-19-16,-17 18 15,17-17-15,17-54 32,0 19-32</inkml:trace>
  <inkml:trace contextRef="#ctx0" brushRef="#br1" timeOffset="25105.06">12921 7748 0,'52'-159'16,"-52"142"-16,19 17 16,-2-18-16,0 18 0,37 0 15,16 35 1,-52-18-16,16 2 0,-15-2 16,16 37-16,1 68 15,-55-51 1,2-35-16,-18 16 15,-72 55-15,2-19 16,52-71 0,18 0-16,16 1 15,2-18-15,-18 0 32</inkml:trace>
  <inkml:trace contextRef="#ctx0" brushRef="#br1" timeOffset="25649.14">13168 8101 0,'0'-17'0,"53"34"32,-18 0-32,-35 19 15,17-18-15,2-1 0,-19 18 0,17 1 16,0 34-16,1 18 16,-18-53-1,0-16 1,-18-55-1,18-35 1,18 54 0,-18-18-16,0 16 0,17-15 0,19-20 15,-1 2-15,18-1 32,-36 36-32,37-2 0,-1 2 15,-18 17 1,-18 0-16,-17 17 15</inkml:trace>
  <inkml:trace contextRef="#ctx0" brushRef="#br1" timeOffset="26044.95">13802 8348 0,'18'-18'0,"0"-18"16,0-16-1,-1 16 1,0 2-16,-17 16 16,0 0-16,0 0 15,-17 1-15,0 34 16,-1-17-16,-18 18 15,19 0-15,0 17 16,-19 18 0,36-18-16,0 1 15,18-1-15,17-18 32,0-17-32,18 0 15,-36 0-15,54-17 0,36-1 16,-19-18-1,-54 19 1,-16 17-16,35-17 0</inkml:trace>
  <inkml:trace contextRef="#ctx0" brushRef="#br1" timeOffset="26449.03">14561 7942 0,'-88'35'15,"35"-18"1,35 19-16,1-18 0,0-1 16,-2 2-1,19-2-15,-17 18 16,34-35-16,-17 18 0,19-18 15,69-53 17,-54 17-32,-16 19 0,0 17 15,17-35-15,-18 35 16,1-19-16,0 19 16,0 36 15,-18-18-31,0 52 15,17-34-15,-17-1 16,0-18-16,17 19 16,2-18-16,16-36 15</inkml:trace>
  <inkml:trace contextRef="#ctx0" brushRef="#br1" timeOffset="26920.24">15584 7218 0,'-35'19'31,"35"16"-31,-36 18 16,36-18-16,-35 53 0,18 1 15,0 16 1,157-529-16,-280 866 0,140-372 15,17-52 1,-17-1-16,0 2 16,-17-38 15,-2 2-31,-16 17 16,-18 0-16,-18 36 15,19-19-15,-37 36 16,37-18-16,-19 36 15,1-1-15,52-52 0,0-1 0,18 19 16,0 17 0,18-53-1,34 18-15,-33-18 16,-2 0-16,18-18 16,1 18-16,-19-18 0,37 0 15,-20 1-15,2 17 16,16-36-1,-34 36-15,-18-17 16</inkml:trace>
  <inkml:trace contextRef="#ctx0" brushRef="#br1" timeOffset="27202.57">16130 7677 0,'0'-17'16,"-34"53"-1,-37 16-15,-34 36 16,-19 18-16,-18 17 16,-122 142-1,194-194 1,-36 52-16,0 35 15,35-87 1,54-35-16,70-53 31,-1-19-15</inkml:trace>
  <inkml:trace contextRef="#ctx0" brushRef="#br1" timeOffset="27455.29">16413 7660 0,'-17'17'0,"-1"19"16,-18-1-16,-105 142 16,1 16-16,-213 231 15,177-194 1,-72 87-1,72-70-15,53-54 32,16-34-32,73-89 15</inkml:trace>
</inkml:ink>
</file>

<file path=ppt/ink/ink10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20:30.783"/>
    </inkml:context>
    <inkml:brush xml:id="br0">
      <inkml:brushProperty name="width" value="0.05292" units="cm"/>
      <inkml:brushProperty name="height" value="0.05292" units="cm"/>
      <inkml:brushProperty name="color" value="#0070C0"/>
    </inkml:brush>
  </inkml:definitions>
  <inkml:trace contextRef="#ctx0" brushRef="#br0">25246 1028 0,'17'0'31,"-17"35"1,0-18-32,0 0 15,17 2-15,-17-2 16,0 18-16,0 1 15,0-19-15,0 1 16,0-1-16,0 2 16,0-2-1,19-17 1</inkml:trace>
  <inkml:trace contextRef="#ctx0" brushRef="#br0" timeOffset="1182.91">25316 975 0,'-17'0'0,"52"-18"16,1 18 0,-2 0-1,1 0-15,1 0 16,-1-18-16,-17 18 0,53 0 15,-19-18-15,-16 18 16,-1 0-16,35 0 0,36-17 16,-17 17-16,-54-17 0,-1 17 15,2 0-15,-1 0 0,-16 0 16,15-19-16,-16 19 0,18 0 16,-2 0-16,-16 0 0,0 0 15,0 0 1,-1 0-16,0 0 31,-17 19 0,0-2-15,0 0-16,0 19 0,0-18 0,0-1 16,-17 0-16,17 2 0,0-2 0,0 18 15,0-18-15,0 2 16,0 16-16,0-18 0,17 2 15,-17-2-15,0 0 0,0 1 16,0-1-16,0 2 16,0-2-16,0 0 15,0 1 1,-17 0 15,0-18-15,-19 0-1,-16 0-15,34 0 16,0 0-16,-17 0 0,18 0 0,-19 18 16,1-18-16,-1 0 0,1 0 0,-1 0 15,-34 0-15,35 17 16,-1-17-16,-69 0 16,34 0-16,36 17 0,-35-17 15,34 0-15,1 0 16,-1 0-16,-52 19 15,53-19-15,18 0 16,-2 0-16,2 0 0,0 0 16,-1 17-16,0-17 0,0 0 15,1 0 1,0 0 15</inkml:trace>
  <inkml:trace contextRef="#ctx0" brushRef="#br0" timeOffset="12839.15">13551 57 0,'0'-17'0,"-17"52"15,17 1-15,-18-2 0,0 20 0,0-2 16,1 1-16,-19 18 0,-16 87 16,33-70-16,-50 90 15,33-90-15,1-18 0,17 18 16,-17 0-16,-1-17 0,19-19 0,-18 19 16,-18 53-16,18-36 15,16-52-15,19-19 0,-17 18 16,17-17-16,0 0 0,-17-18 0,17 17 15,34-52 17,-34 17-32</inkml:trace>
  <inkml:trace contextRef="#ctx0" brushRef="#br0" timeOffset="13352.32">14591 463 0,'-69'0'0,"-21"36"16,56-36-16,-1 17 16,16 0-16,-51 37 15,52-37-15,1 0 0,0 1 16,17 0-16,-19 17 16,19-18-16,19 2 0,-19-2 15,17 1-15,0-1 0,1-17 0,0 19 16,0-2-16,16 0 0,20 1 15,-1 18-15,-18-19 16,-18 0-16,2 1 0,15-18 16,-16 18-16,-18 0 0,17-1 0,-17 36 15,0-35 1,-17 16-16,-1-15 0,-16 16 16,-2-18-16,1 19 0,-1-1 0,1-18 15,-53 19-15,52-19 16,2 1-16,-2 0 0,1 0 15,-18-1-15,35-17 0,1 0 16,-2 0-16,-15 0 16,34-17-16,0-1 15</inkml:trace>
  <inkml:trace contextRef="#ctx0" brushRef="#br0" timeOffset="13632.95">15050 463 0,'18'17'16,"-18"19"-16,0-1 0,-18 1 15,18 16-15,0 1 0,0 0 0,0 1 16,-18-2-16,18 1 0,0-18 0,-17 1 15,17-2-15,0 2 0,0-1 16,0 1-16,-17-1 0,17 1 16,0-19-16,0 0 0,0 1 15,-18-1-15</inkml:trace>
  <inkml:trace contextRef="#ctx0" brushRef="#br0" timeOffset="13999.78">14962 569 0,'18'-36'0,"0"19"16,-54 70-16,89-123 0,-53 51 0,17 19 16,19-17-1,-1-1-15,1 18 0,-1 0 16,18 18-16,-36-18 16,1 17-16,-1-17 0,2 19 0,-19-2 15,17 0-15,-17 19 16,-36-1-16,19 0 15,-1-17-15,1 0 0,0-1 16,-19 0-16,18 19 0,1-18 0,-54 18 16,53-19-1,18 0-15,-18-17 16,18 18-16</inkml:trace>
  <inkml:trace contextRef="#ctx0" brushRef="#br0" timeOffset="14378.3">15456 745 0,'35'18'15,"-18"-1"-15,19 54 16,-36-35-1,18-19-15,-18 18 0,-18 54 16,18-72 0,-17 1-16,17-1 0,0 0 0,-19 2 15,19-2-15,-17-17 16,17 18-16,-17-36 16,17 1-1,0-2-15,0 2 0,0 0 16,0-1-16,17-18 0,-17 19 0,17-18 15,54-54 1,-52 72-16,-2-1 0,0 1 16,1 0-16,18-2 15,-2 2-15,-16 17 0,0 0 16</inkml:trace>
  <inkml:trace contextRef="#ctx0" brushRef="#br0" timeOffset="14761.84">15986 1063 0,'34'-71'16,"-34"54"-16,0-1 16,0 0-16,0 0 15,-17 18 1,0 18 0,-2 0-16,2-18 0,17 18 0,-18 16 15,1 20 1,17-37-16,0 0 15,17 2-15,1-2 16,-1 1 0,36-18-16,-35 0 0,0 0 15,0 0-15,16 0 0,54-18 16,-69 18 0,16 0-16</inkml:trace>
  <inkml:trace contextRef="#ctx0" brushRef="#br0" timeOffset="15115.58">16479 957 0,'-17'0'0,"-1"0"16,0 0-16,0 0 16,-16 18-16,15 16 15,2-15 1,-1-2-16,18 1 15,-17-1-15,17 0 0,0 2 32,17-19-32,1 0 15,-1 0-15,19-19 16,-19 19-16,-17-17 0,36 17 16,-18-17-16,16-1 15,-16 18-15,0-17 16,0 34-1,-18 1 1,0-1-16,17-17 0,-17 17 16,0 2-16,17-19 15,2 17 1</inkml:trace>
  <inkml:trace contextRef="#ctx0" brushRef="#br0" timeOffset="15534.14">17308 604 0,'0'35'16,"-17"1"0,17-19-16,-19 36 0,2 18 15,17-54 1,0 18-16,-17 1 15,17-19-15,0 1 0,0 18 32,-54-36-1,37-18-31,-36 36 16,35-18-16,-16 0 0,15 17 15,-16-17-15,-1 17 0,-69 37 16,70-1-1,17-53-15,18 17 16,-18 1-16,18-1 16,18 2-16,0-2 15,17-17-15,-18 0 0,71-36 32,-52 19-32,-1 17 0,18-35 15,-17-1-15,-18 19 16</inkml:trace>
  <inkml:trace contextRef="#ctx0" brushRef="#br0" timeOffset="15695.33">17767 975 0,'17'0'16,"-17"-18"-1,0 0 16,0 0-15</inkml:trace>
  <inkml:trace contextRef="#ctx0" brushRef="#br0" timeOffset="31444.05">1256 3779 0,'-17'0'0,"70"0"32,-35 0-17,140 0 1,-87 0-16,0 0 0,-1 0 15,89 0-15,-88 0 0,34 0 16,0 0-16,2-18 0,-19 18 16,17 0-16,-34 0 0,158 0 15,-87-17-15,-89 17 16,-1 0-16,1 0 0,1-17 16,-20 17-16,-15 0 15,33 0-15,-35 0 16,2 0-16,-2 0 15</inkml:trace>
  <inkml:trace contextRef="#ctx0" brushRef="#br0" timeOffset="33148.06">10694 3903 0,'34'0'47,"2"0"-47,-18 0 15,16 0-15,-15 0 16,86 0-16,-51 0 15,34 0-15,-18 0 0,-18 0 16,19 0-16,-18 0 16,1 0-16,16-18 0,124 18 15,-53 0-15,-70 0 16,-1 0-16,1 0 0,0 0 16,105 0-16,-123 0 15,70 0-15,-70 0 0,0 0 16,-1 0-16,2 0 15,16-18-15,-16 18 0,16 0 0,-18 0 0,-16 0 16,16 0-16,2 0 0,-1 0 16,-1 0-16,1 0 0,-17 0 15,70 0-15,-72 0 0,20 0 16,-18 0-16,16 0 0,1 0 0,-18 0 16,106 0-1,-88 0-15,1 0 0,-2 0 0,36 0 16,-35 0-16,-17 0 15,16 0-15,1 0 0,-18 0 0,72 0 16,-19 0-16,-35 0 16,-18 0-16,18 0 0,-18 0 15,18 18-15,-18-18 0,1 0 0,52 0 16,-54 0-16,2 0 16,-1 0-16,1 0 0,-1 0 15,1 0-15,-19 0 0,0 0 0,54 0 16,-54 0-1,2 0-15,-2 18 0,1-18 0,-1 0 16,2 0 0,-2 0-16,0 0 15,1 0 1</inkml:trace>
  <inkml:trace contextRef="#ctx0" brushRef="#br0" timeOffset="36441.69">17114 3815 0,'36'0'31,"16"17"-15,-16-34-16,-19 17 0,19 0 15,-1 0-15,18 0 16,-18 0-16,35 0 0,-16 0 0,87-18 15,52 0 1,-34 18-16,-71 0 0,-17-18 16,17 18-16,-18 0 0,196 0 15,-196 0-15,36 0 16,-1-17-16,-34 17 0,35 0 16,0 0-16,335 17 15,-353-17-15,0 0 16,0 0-16,-17 0 0,87 0 15,20 0-15,-109 0 16,126 0-16,-125 0 0,18 0 16,-17-17-16,300 17 15,-301 0 1,70-17-16,-69 17 16,-18 0-16,18 0 0,0 0 15,-18 0-15,52 0 0,-70 0 16,18 0-16,1 0 0,-20 0 0,161 0 31,-142 0-31,-18 0 0,70 0 16,-51 0-16,-1 0 0,88 0 15,-53 17 1,-53-17-16,1 0 0,16 0 0,-16 0 16,-1 0-16,123 17 15,-122-17-15,35 18 16,-36-18-16,18 0 15,-18 0-15,1 0 16,-19 0-16,18 18 0,1-18 0,-2 0 16,-15 0-16,16 0 0,-18 0 0,19 0 15,35 18 1,-54-18-16,0 0 0,1 0 16,0 0-16,0 0 0,-1 0 15,0 0-15,1 0 16,0 0-16,0 0 15,-1 0 17,0 0-17</inkml:trace>
  <inkml:trace contextRef="#ctx0" brushRef="#br0" timeOffset="41000.35">28086 2597 0,'-71'0'16,"35"18"-16,19-18 0,-35 36 15,-90 86 1,106-86-16,-16 52 16,34-53-16,-34 106 15,33-70-15,19-36 16,0 1-16,0-2 0,0 2 15,19 70-15,51 18 16,-52-90-16,16 2 16,2-1-16,-1 1 0,18-19 15,1 18-15,-2-16 0,54 15 16,17-16-16</inkml:trace>
  <inkml:trace contextRef="#ctx0" brushRef="#br0" timeOffset="43295.39">675 4943 0,'17'-18'15,"1"18"-15,-1 0 16,19-17-16,17 17 0,-18-17 0,18 17 16,35-19-16,-17 2 0,-19 17 15,1-18-15,18 18 0,0-17 16,-18 0-16,264-37 16,-265 37-1,-16 17-15,-1-19 0,1 19 0,-19 0 16,19-17-16,-18 17 0,16 0 15,-34-17-15,18 17 16,-70 17 15,34-17-31,-18 0 16,-34 17-16,35 2 0,-36-19 16,-141 52-1,159-52-15,1 19 0,-1-2 16,-1 0-16,2-17 0,-37 35 15,1-16-15,17-2 16,37 0-16,16-17 0,0 0 16,0 18-16,1-18 0,0 0 15,17 18-15,52-36 32,-34 18-32,17 0 0,1-18 15,16 18-15,1-17 0,18 17 0,0-17 16,-1-2-16,89 2 15,-88-1-15,70 1 0,-1 0 16,-87-2-16,53 2 16,-17-1-16,-54 18 15,-1 0-15,2-17 0,-18 17 16,-1 0-16,2 0 0,-2 0 16,-70 17-1,35-17 1,1 0-16,-19 18 15,-35-1-15,37-17 0,-20 19 16,-51-2-16,-19 18 16,89-35-16,-1 17 15,2-17-15,16 0 0,-18 0 0,19 19 16,0-19-16,-2 0 0,72 0 31,1-19-31,-1 2 16,16-1-16</inkml:trace>
  <inkml:trace contextRef="#ctx0" brushRef="#br0" timeOffset="44526.42">9000 3920 0,'-17'0'0,"69"17"31,-16-17-15,-19 0-16,1 0 0,-1 19 16,19-19-16,-1 0 15,-17 0-15,0 0 0,-1 0 16,0 0-16,2 0 16,-2 17-1,1-17-15,-1 18 16,0-18-1,-17 17-15,19 0 16,-19 2-16,17-19 16,-17 17-16,0 1 0,18-1 15,-18 2-15,17 15 0,-17 2 16,0-1-16,0 0 16,19-17-16,-19 17 0,0-18 0,0 19 15,0 18-15,0 51 16,0-70-1,-19 1-15,19-19 0,0 18 0,0 1 16,0-19-16,0 19 0,0 16 16,0-16-16,0-19 0,0 18 15,0-16-15,0-2 0,0 0 0,0 1 16,19 35 0,-19-36-16,0 2 0,0-2 15,0 1 1,0-1-16,0 0 31,-19-17-31,-16 0 16,18 19-16,-2-19 0,-15 0 0,-54 17 15,17 1-15,18-1 16,-123 19-16,-124 17 16,194-53-16,0 18 0,0-1 15</inkml:trace>
  <inkml:trace contextRef="#ctx0" brushRef="#br0" timeOffset="58325.66">13939 16373 0,'17'0'16,"-34"18"46,0-1-62,-19 36 32,1 18-32,18-18 15,-2-35 1,19-1-16,0 19 0,-17-1 16,34 18-1,2-36-15,-2-17 16,0 0-16,19 0 15,-18 0 1,-1 0-16,0-17 16,1-2-16,-36 2 31,-16 0-15,16 17-1,-35 0 1,36 17-1</inkml:trace>
  <inkml:trace contextRef="#ctx0" brushRef="#br0" timeOffset="58672.08">14222 16444 0,'0'-17'0,"-19"51"15,2-34-15,17 18 0,0-1 16,0 2-16,0 33 16,17-52-1,-17 18-15,19-18 16,-19 18-16,17-18 0,18 0 15,-35-18 1,18 0 0,-36-17-16,18 18 15,-18-19 1,1 18-16,0 18 16,-2 0 15,2 18-31</inkml:trace>
  <inkml:trace contextRef="#ctx0" brushRef="#br0" timeOffset="58876.72">14591 16479 0,'0'17'15,"0"19"-15,0 17 32,-17-35-32,17-1 0,-18 0 15,18 2-15,-17-2 0,0 18 16,17-18-16,0 2 0,-19-19 0</inkml:trace>
  <inkml:trace contextRef="#ctx0" brushRef="#br0" timeOffset="59407.03">15174 16320 0,'-18'36'0,"18"-1"15,0-18-15,0 2 0,0-2 16,0 0-16,0 1 0,0 18 0,18 16 31,-1-16-31,-17-19 0,19 0 16,-2 2-16,-34-55 62,-2 36-46,19-17-16,-17 17 16,-1-18-1</inkml:trace>
  <inkml:trace contextRef="#ctx0" brushRef="#br0" timeOffset="59945.14">15615 16356 0,'-36'17'47,"19"-17"-47,17 18 15,-18-1 1,18 2-1,0-2-15,35 18 32,-16-18-32,-19 2 15,17-19 1,-34 34-16,-19-16 16,36 0-1,-18-18-15,1 0 0,17 18 16,-19-18-16,2 0 0,0 17 0</inkml:trace>
  <inkml:trace contextRef="#ctx0" brushRef="#br0" timeOffset="60119.98">15756 16549 0,'0'18'0,"0"-36"15,0 54-15,18-18 0,-36-1 16,18 0-16,-36 54 31,36-54-31,0 2 0</inkml:trace>
  <inkml:trace contextRef="#ctx0" brushRef="#br0" timeOffset="60934.94">16338 16391 0,'17'-18'15,"2"18"-15,-55 18 47,18-1-47,-18 2 16,19-2-16,0-17 15,-1 17 1,1 1 0,34-1-1,18 2 1,-18-2-1,2-17-15,-2 0 16,-17 17-16,18-17 0,-18 18 16,0 0-1,-18 0 1,1-1-16,-2-17 0,19 17 0,-17-17 16,0 0-16,-1 19 15,1-19-15,-2 0 16,2 0-1</inkml:trace>
  <inkml:trace contextRef="#ctx0" brushRef="#br0" timeOffset="61303.84">16708 16373 0,'-34'0'16,"15"0"-1,2 0-15,-18 18 16,16-1 0,2 2-16,17-2 15,0 0 1,36 1-1,-36-1-15,17-17 16,-17 19 0,18-19-16,-18 17 0,0 0 15,-35 19 1,16-18 0,2-18-16,0 0 0,-1 17 0,0-17 15,0 17-15,1-17 0,0 19 16</inkml:trace>
  <inkml:trace contextRef="#ctx0" brushRef="#br0" timeOffset="61525.25">16920 16479 0,'52'36'16,"-52"-19"-16,0 0 16,0 1-16,0 18 15,-34 17 1,16-36-16,1 1 0,17-1 0,-19-17 16,2 17-1</inkml:trace>
  <inkml:trace contextRef="#ctx0" brushRef="#br0" timeOffset="66621.33">17590 16373 0,'-18'18'16,"1"-1"-1,17 2 1,-17-2-16,17 0 16,-18 18-16,0-16 15,18-2 1,0 0-16,0 1 15,0 18-15,18-36 16,0 17 0,-1-17-1,0 17-15,1-17 0,-18-17 16,18 17-16,0 0 16,-1-17-1,-34-1 16,-1 18-15,0-18-16,0 18 16,1 0-1,0 0-15</inkml:trace>
  <inkml:trace contextRef="#ctx0" brushRef="#br0" timeOffset="66971.5">17872 16391 0,'-17'0'16,"0"17"-1,17 2-15,-19-2 16,19 0-16,0 1 0,0-1 15,0 19 1,19-36-16,-2 17 16,0-17-16,1 18 15,0-36 1,0 18-16,-18-34 16,0 15-16,0 2 15,-18-1-15,18 1 0,-18 17 16,18-17-16,-52-19 15,33 36-15,2 0 16,-1 0-16,-16 0 0,15 0 0,-16 0 16,18 17-16,-19-17 0</inkml:trace>
  <inkml:trace contextRef="#ctx0" brushRef="#br0" timeOffset="67716.22">14134 17044 0,'52'0'0,"-16"0"0,-19-19 0,36 19 16,-1 0-16,19 0 0,105-17 16,36 0-16,-105 17 0,15-18 15,-15 18-15,16-18 0,18 18 16,-17-18-16,-1 18 0,230-17 16,-248 17-16,178-17 15,-212 17-15,-1 0 16,53 0-1,-87 0-15,-19 0 16,1 0-16</inkml:trace>
  <inkml:trace contextRef="#ctx0" brushRef="#br0" timeOffset="68028.34">15015 17184 0,'53'-17'16,"-35"17"-1,35 0-15,-18 0 0,35 0 16,142-18-16,-124 18 15,-17 0-15,17 0 0,-17 0 0,87-17 16,-87 17 0,-18 0-16,17 0 0,-17 0 0,-17 0 0,16 0 15,-16 0-15,-1 0 0,-18 0 0,54 0 16,-53-17 0,17 17-16,0 0 0,1-19 0,-2 19 15,2-17-15,-1 17 0</inkml:trace>
  <inkml:trace contextRef="#ctx0" brushRef="#br0" timeOffset="68552.14">18736 16515 0,'36'-19'16,"-18"19"-16,-1 0 16,2 0-16,-2 0 0,18 0 15,-18 0-15,2 0 0,-2 0 16,18 19-16</inkml:trace>
  <inkml:trace contextRef="#ctx0" brushRef="#br0" timeOffset="68729.67">18807 16725 0,'0'19'15,"53"-19"1,1-19-1,-37 19-15,18 0 16,1-17-16,-19 17 16,0 0-16,1 0 0,0-17 0</inkml:trace>
  <inkml:trace contextRef="#ctx0" brushRef="#br0" timeOffset="72754.39">21418 16232 0,'-18'0'0,"1"0"0,17 17 15,-19-17-15,19 19 0,-17 33 16,17-35-1,0 19-15,0-18 0,0 18 0,17 16 16,-17-16-16,54 34 31,-37-70-31,-17 18 0,19-18 0,-2 0 16,0 0-16,1 0 16,0-18-1,-18 0 1,0 0-16,-18 1 0,0 0 15,18-2 1,-17 19-16,-19 0 16,19 0-1,-1 0 1,1 19-16</inkml:trace>
  <inkml:trace contextRef="#ctx0" brushRef="#br0" timeOffset="73074.63">21735 16320 0,'0'-17'0,"-35"34"16,18 19 0,17-19-16,0 37 15,0-37-15,17 0 16,-17 1-1,35-1-15,-16-17 16,15 0-16,-16 0 16,-1-17-1,2-1-15,-19 1 0,0-19 16,-19 19 0,2-1-16,17 1 0,-71-19 31,36 36-16,18 0-15,-2 17 16</inkml:trace>
  <inkml:trace contextRef="#ctx0" brushRef="#br0" timeOffset="74430.03">25704 16691 0,'-70'-35'0,"52"35"0,1 0 16,-36 17 0,35-17-16,0 0 0,0 18 15,18-1 1,18 0 0,0-17-16,0 0 0,-18 19 0,17-19 15,19 0-15,16 17 16,-35 1-16,37-1 15,-37 2 1,-17-2-16,0 18 16,-17-35-16,17 18 0,-71 34 31,54-52-31,-37 36 16,37-36-16,0 0 0,-1 0 0,0 0 31,18-18-16</inkml:trace>
  <inkml:trace contextRef="#ctx0" brushRef="#br0" timeOffset="74916.49">25968 16656 0,'-17'17'31,"17"18"-15,0-18-16,-17 37 15,17-37-15,0 2 16,0 15-16,0 2 16,0-18-16,0-1 15,-18 0 1,18-51 15,18-20-15,-18 20-16,17 15 0,0-33 15,2 33-15,-19 2 0,17 17 16,18-35 0,-18 35-16,2 0 0,-2 0 15,18 18 1,-16-18-16,-19 17 0,17 0 0,0 19 15,-17-18-15,-17 18 16,0-2 0,-2-16-16,2 0 0,-18 17 15,16-18-15,2 1 0,-18 0 16,18 0-16,-19-18 16</inkml:trace>
  <inkml:trace contextRef="#ctx0" brushRef="#br0" timeOffset="75496.25">26480 16744 0,'54'0'0,"-54"-19"0,34 19 15,-34 19-15,36-19 16,-18 0-16</inkml:trace>
  <inkml:trace contextRef="#ctx0" brushRef="#br0" timeOffset="75654.21">26498 16920 0,'-18'0'15,"89"0"1,-54 0 0,1 0-16,88-17 15,-88-1-15</inkml:trace>
  <inkml:trace contextRef="#ctx0" brushRef="#br0" timeOffset="77567.37">27662 16427 0,'-18'-19'16,"1"55"-1,0-36-15,-2 17 16,2 37 0,-1-20-16,18-16 0,-17 0 0,-2 34 15,19-33-15,-17 33 16,17-35-16,0 2 0,0-2 16,17 1-16,-17-1 0,19 2 15,-2-2-15,1 0 16,-1-17-16,2 0 15,-2-17 1,-17 0 0,0-2-1,-17 19-15,-2-17 16,-16-18 0,18 35-16,-2 0 15,2 0-15,0 0 16</inkml:trace>
  <inkml:trace contextRef="#ctx0" brushRef="#br0" timeOffset="77919.53">27856 16549 0,'0'-17'16,"-36"52"15,36 1-15,0-19-16,0 0 15,19 19 1,-2-1 0,1-35-16,-18 17 0,17-17 15,2 0-15,-2 0 16,18 0-1,-35-17-15,0 0 0,0-1 16,-18-35 0,-16 18-1,15 35 1,2-18-16,-1 0 0,-18 18 16</inkml:trace>
  <inkml:trace contextRef="#ctx0" brushRef="#br0" timeOffset="78835.42">28420 16408 0,'0'-17'0,"-17"53"16,17-2 0,0-16-1,0-1-15,17 19 16,-17-19-16,18 1 15,0 0 1</inkml:trace>
  <inkml:trace contextRef="#ctx0" brushRef="#br0" timeOffset="79055.25">28332 16549 0,'0'-17'16,"18"0"15,18 17-31,-19 0 16,0 0-16,1 0 15,0 0-15,0 0 0,16 0 16</inkml:trace>
  <inkml:trace contextRef="#ctx0" brushRef="#br0" timeOffset="79255.97">28367 16744 0,'36'0'16,"17"-19"-1,-1 19 1,-16 0-16,-18 0 0,-1-17 16</inkml:trace>
  <inkml:trace contextRef="#ctx0" brushRef="#br0" timeOffset="80323.97">29091 16444 0,'17'-17'16,"19"17"-1,-18 0 1,-18-19-1,-18 38 17,-35-2-17,36-17-15,-37 17 16,37 1-16,0-18 16,-2 17-16,2-17 15,17 19-15,17-2 16,19-17-1,-19 17-15,1-17 0,-1 0 16,2 0-16,-2 18 0,0-18 16,19 18-1,-18-18 1,-36 18-16,0-1 0,-17 0 16,18-17-16,-2 19 0,-16-19 15,-18 17 1,36-17-16,-1 0 0,-18 0 0,19 0 15,0 0-15,-1 0 16</inkml:trace>
  <inkml:trace contextRef="#ctx0" brushRef="#br0" timeOffset="82558.72">28703 16320 0,'0'36'15,"0"-19"-15,0 1 0,0-1 16,-17 19-16,17-1 16,0-18-16,0 19 0,0-19 0,0 19 15,0-18-15,0 35 16,0-36-16,0 1 15</inkml:trace>
  <inkml:trace contextRef="#ctx0" brushRef="#br0" timeOffset="83198.47">28826 16215 0,'124'0'16,"-107"0"-16,54-18 16,-1 18-1,-34-18-15,-18 18 0,16 0 0,2 0 16,16-18-1,-33 18-15,-2 0 0,1 0 0,-1 0 16,2 18-16,-2-18 16,18 18-1,-35 0-15,17 16 16,2-15 0,-19 16-16,17-18 0,-17 0 15,0 2-15,17-2 0,-17 18 0,0-16 0,18-2 16,0 54-1,-18-37-15,0-16 0,18 0 16,-18 34 0,0-33-16,0-2 0,0 1 15,-18 16-15,18-15 16,-18-2-16,0 1 16,1-18-16,0 17 0,-2-17 0,-33 19 15,-1-2 1,18-34-16,-1 17 0,1 0 15,-18-19-15,18-16 0,-18 18 0,17-2 16</inkml:trace>
  <inkml:trace contextRef="#ctx0" brushRef="#br0" timeOffset="83678.89">28844 15685 0,'-36'0'15,"72"0"-15,-89 18 0,36-18 16,17 17-16,0 2 16,34-2-1,-16 0-15,0-17 0,0 18 16,16 0-1,2 0-15,-18-1 0,-1-17 16,-17 17-16,19-17 16,-19 18-16,-19 0 15,2 0-15,-1-1 16,1-17-16,-2 17 0,2 2 16,0-19-16,-19 0 15,18 17-15</inkml:trace>
  <inkml:trace contextRef="#ctx0" brushRef="#br0" timeOffset="83904.63">29126 15703 0,'-18'53'47,"18"-18"-16,0-17-31,0 0 0,-17-18 0,17 34 16,0-16-1,-17 0-15</inkml:trace>
  <inkml:trace contextRef="#ctx0" brushRef="#br0" timeOffset="84230.77">29091 15632 0,'35'-35'16,"-70"70"-16,88-70 0,-18 35 15,0 18 1,-17-18-16,0 17 16,-1 2-16,-17-2 15,17 18 1,-17-18-16,-17 19 15,17-19-15,-35 19 16,35-18-16,-36-1 0,2 0 16,16 1-16,0-18 0,0 18 0,1-18 15,-19 18-15</inkml:trace>
  <inkml:trace contextRef="#ctx0" brushRef="#br0" timeOffset="85499.58">27151 16039 0,'-36'17'0,"36"0"15,0 1 1,0 18 0,-17-36-1,17 17 1,34-34 15,-15-2-15,-19 2-16,17 17 15,1-18 1,-1 18 0,2 18-16,-19-1 15,0 2 1,0-2-1,0 0 1,17 1-16,0-36 47,1 1-31,-18 0-16,18 17 15,0 0 1,-1 0-1,0 17 17,-17 0-32,18 1 15</inkml:trace>
  <inkml:trace contextRef="#ctx0" brushRef="#br0" timeOffset="85842.93">27486 16161 0,'0'-17'0,"17"0"16,-17-19-1,0 18 1,-35 18 31,18 18-31,17-1-16,0 2 15,0-2 1,0 0-16,0 1 15,17-18-15,1 18 16,-1-18-16,0 0 16,19-18-16</inkml:trace>
  <inkml:trace contextRef="#ctx0" brushRef="#br0" timeOffset="86468.62">27698 16073 0,'-18'0'16,"0"0"-1,0 18-15,18-1 16,-17 2-1,0-2 1,17 0 0,17-17-1,-17 18 1,17-36 0,1 18-1,-18-17-15,18 17 16,-18-17-16,18 17 31,-18-19-15,17 38 31,-17-2-32,17 0 1,1-34 31,0 17-16,0 0 0,-1 0-15,0 0-1,2 0 1,-19-17 0,17 17-16</inkml:trace>
  <inkml:trace contextRef="#ctx0" brushRef="#br0" timeOffset="86595.46">27962 16127 0,'36'-19'0</inkml:trace>
  <inkml:trace contextRef="#ctx0" brushRef="#br0" timeOffset="88867.76">25599 17149 0,'17'0'31,"1"18"-31,16-18 0,20 17 15,51 2 1,19-19 0,0 0-1,-72-19-15,-16 19 0,-1 0 0,1-17 16,-2-1-16,2 18 0,35-53 16,-2 1-1,-50 33-15,-2-15 16,1 16-16,-18 0 0,17-17 0,-17 18 15,0-1-15,19-18 0,-19 2 16,0 15-16,0 2 0,0-18 16,0 16-16,0 2 0,-19 0 0,2-71 31,-1 52-31,18 18 0,-17-16 16,-36-37-16,35 54 15,-18-2-15,2-16 0,-37-18 16,36 18-16,-1 35 15,2-17-15,-2-2 0,1 19 0,-1-17 16,1 17-16,-89-17 16,54 17-1,-18 17-15,34-17 0,2 17 16,-1 2-16,0-2 0,1 1 16,-90 52-16,106-52 15,-52 35-15,54-18 0,-2-18 16,-52 54-1,70-53-15,-52 70 16,52-70 0,18-1-16,-17 0 0,17 2 0,-19 16 15,19-18-15,0 36 16,19-35-16,-19 0 0,17 0 16,18-1-16,-18 18 0,19-35 0,35 36 15,-36-36-15,1 17 0,-2-17 16,20 17-16,-1 2 15,-36-19-15,1 0 0,18 0 16,-19 17-16,18-17 16,-18 18-1,2-18-15</inkml:trace>
  <inkml:trace contextRef="#ctx0" brushRef="#br0" timeOffset="90582.78">9035 1751 0,'-17'0'16,"70"0"0,35-18-1,-35 18-15,18-18 16,17 0-16,0 1 0,-17 0 0,193-37 16,-194 20-1,18 15-15,0 2 0,90-18 16,-126 16-16,37 2 15,-72 17-15</inkml:trace>
  <inkml:trace contextRef="#ctx0" brushRef="#br0" timeOffset="90907.77">8983 1856 0,'140'-17'0,"-69"17"16,18-18-16,210-35 15,-193 36-15,265-37 16,-160 2 0,-105 52-16,141-53 15,-176 53-15,-18-17 0,-18 17 16,35-19-16,-52 19 15,-1 0-15,2-17 0,15 17 16,2 0 0,-18 0-1,-1 0-15,-17-18 16,17 36 0,-17-1-1,-17-17 1</inkml:trace>
  <inkml:trace contextRef="#ctx0" brushRef="#br0" timeOffset="93048.22">29814 16427 0,'70'0'0,"-16"0"15,-37 0-15,19-19 16,-19 19 0,1 0-16,-1 0 0,0 0 31</inkml:trace>
  <inkml:trace contextRef="#ctx0" brushRef="#br0" timeOffset="93371.7">29955 16215 0,'36'17'15,"-1"0"1,-18-17 0,0 19-16,2-19 0,33 35 15,-33-18-15,15 19 16,-16-36-16,0 35 15,-18-18-15,-18 19 16,18-19-16,-18 18 16,1-16-16,0-2 0,-19 0 15,18 1-15,18 0 0,-17-18 16</inkml:trace>
  <inkml:trace contextRef="#ctx0" brushRef="#br0" timeOffset="98296.9">27451 17008 0,'35'0'79,"-18"0"-64,36 17 1,-35-17-16,-1 0 15,2 0-15,-2 0 0,0 0 16,19-17 0,-18 17-16,-1 0 15,18 0-15,-35-17 0,36 17 16,-19 0-16,0 0 16,2-18-1,-2 18-15,1 0 0,-1 0 16,-17-18-1,36 18-15,-19-18 0,1 18 32,-1-17-32,2 17 15,-2-17 1,0 17-16,-17-18 16,18 18-1,-18-18 1,0 0-1,18 18-15,-18-17 16,0 0 0,18-2-1,-18 2 17,17-1-17,-17 1 1,0-2 15,0 2-15,-17 0-1,17-1 1,0 1 0,-18 17-16,18-19 15,-18 2 1,18 0-1,-18 17 1,18-18 0,-17 0-16,17 0 15,-17 1 1,17 0-16,-19-2 16,19 2-1,-17-1-15,17 1 16,-18 17-1,18-17-15,-17 17 16,0-19 0,-2 19-1,2-17 1,-1 17 0,1 0-1,-2 0-15,-15 0 16,-2 0-1,18 0-15,1 0 16,-18 0 0,17 0-1,0 0-15,1 0 16,0 0 0,-2 0-16,2 17 15,-1-17 1,1 0-1,-19 0 1,19 19 0,-1-19-1,1 0 1,-2 0 0,2 17-16,0-17 15,-1 0 1,18 17-1,-18-17-15,0 18 16,1-18-16,17 17 16,-17-17-16,-1 19 15,0-2 1,0 0-16,1 1 16,0 0-1,-2 17 1,2-18-16,17 2 0,-18-19 15,1 52 1,17-35-16,-19 37 16,19-37-1,0 2-15,0-2 0,0 0 0,0 1 16,0 0-16,0 0 0,19-1 16,-19 0-16,0 1 15,0 0-15,17 0 16,-17-1-16,18-17 0,-18 17 15,17 2 1,2-2-16,-2-17 0,-17 18 16,17-18-16,1 17 15,0-17 1,0 19-16,-1-19 0,0 0 16,1 0-16,-18 17 15,36-17 1,-19 0-16</inkml:trace>
  <inkml:trace contextRef="#ctx0" brushRef="#br0" timeOffset="100610.02">28756 16725 0,'0'36'78,"18"-18"-62,-1-1 0,-17 2-16,17-19 0,1 0 0,0 0 15,0 0-15,-1 0 16,0 0-16,19 0 0,52-19 15,-34 19-15,-20 0 16,54-17 0,-70 17-16,71 0 15,-72 0-15</inkml:trace>
  <inkml:trace contextRef="#ctx0" brushRef="#br0" timeOffset="104067.69">16338 16179 0,'-18'18'16,"1"-18"-1,52-18 32,-18 0-47,54-16 16,-35 15-16,34-16 16,-52 18-16,-1 17 15,19-17-15,16-2 16,-33 19-16,-19-17 0,17 17 15,0 0-15</inkml:trace>
  <inkml:trace contextRef="#ctx0" brushRef="#br0" timeOffset="106360.4">15210 16144 0,'-19'17'0,"55"-51"46,-1 15-30,-18 19-16,2-17 16,15-1-16,-16 18 0,0-17 15,0 17-15,16-17 0,2-2 16,16 2 0,-33-1-16,-2 18 15,1 0 1,-18-17-16,17 17 15,2-19 17</inkml:trace>
  <inkml:trace contextRef="#ctx0" brushRef="#br0" timeOffset="107647.06">18102 16637 0,'-18'19'16,"1"-2"-16,17 1 0,-19-1 15,2 19 1,0-1-16,17-18 16,-18-17-16,18 19 0</inkml:trace>
  <inkml:trace contextRef="#ctx0" brushRef="#br0" timeOffset="108327.89">18348 16373 0,'-17'54'31,"0"-37"-31,17 0 16,0 37-16,0-20 15,0-16-15,0 0 0,0 0 0,17-1 16,-17 0-16,0 2 15,17-2-15,2 1 0,-2-1 16,1-17 0,-1 0-16,-17-17 15,-17-1 17,-1 1-17,1 17-15,-2 0 16,-15 0-1,16 0-15</inkml:trace>
  <inkml:trace contextRef="#ctx0" brushRef="#br0" timeOffset="109432.61">18455 16479 0,'35'-18'0,"-18"18"0,2 0 15,-2 0 17,-17 18 14,0-1-46,-17 2 16,-2-2 0,19 0-1,0 1 32,19-18-47,-2 0 16,0 18-1,1-18-15,0 18 16,0-1 0,-18 0-1,0 2 1,0-2-16,-18-17 16,18 18-16,-18-18 15,18 17-15,-18-17 0,1 17 31</inkml:trace>
  <inkml:trace contextRef="#ctx0" brushRef="#br0" timeOffset="110584.92">13287 16708 0,'0'-17'0,"0"34"31,-19 19-15,19 16-1,-17 19 1,17-53-16,-17 17 15,-1 18-15,-18-1 16,19-33-16</inkml:trace>
  <inkml:trace contextRef="#ctx0" brushRef="#br0" timeOffset="111214.69">12670 16532 0,'-19'17'16,"19"1"-16,-17-18 16,-1 18-16,-18 0 15,-34 35 1,52-53-16,1 17 16,0 1-16,17-1 15,-18-17-15,18 17 16,18 2-1,-1-19-15,0 17 16,1-17-16,0 0 16,0 18-16,-1-18 0,0 17 15,-17 2 1,19-19-16,-38 17 0,19 0 16,0 1-16,-17-18 15,-18 36 1,-1-19-16,19-17 0,0 0 15,-1 17-15,0-17 16,0 0-16,1 0 16</inkml:trace>
  <inkml:trace contextRef="#ctx0" brushRef="#br0" timeOffset="111670.86">12775 16515 0,'17'34'16,"-17"-16"-1,18 0-15,-18 0 0,0-1 16,18 0-16,-18 2 0,0-2 15,0 1-15,0-1 0,0 0 0,-18 54 16,18-52 0,-18-2-16,1 0 15,0-17 1,-2 0-16,19-17 16,0 0-1,0-2-15,0 2 0,19-1 0,-19 1 16,17-2-16,-17 2 0,17 0 0,1-18 15,0 16-15,0 2 16,-18 0-16,0-1 0,0-52 16,-18 51-1,18 2-15,-18 17 0,0-18 16,1 18-16,0 0 0,-2 0 16,2 0-16,-1 0 0,1 0 0,0 0 15,-2 0-15,-16 0 0,-18 35 16</inkml:trace>
  <inkml:trace contextRef="#ctx0" brushRef="#br0" timeOffset="116739.83">28720 16303 0,'-17'-18'47,"34"1"-16,-17-2 32,18 19-32,0 0-31,0 0 15,-1 0-15,0 0 16,19 0-16,-18 0 0,-1 0 16,0 0-16,19 0 0,-18 0 15,-1 0-15,36 0 0,18 0 32,-54 0-32,37 0 15,-37 0-15,18 0 16,-17 0-16,17 0 0,1 0 31,-19-17-31,1 17 0,-1 0 0,2 0 16,-2 0-16,0 0 0,1 0 15,35-17 1,-36 17 0,1 0-1,0 0-15,0 0 16,-1 0-16,0-18 31,2 18-15,-38 35 109,19-18-125,0 2 15,0-2-15,-17 1 0,17-1 16,0 36-16,-17 18 16,17-54-16,0 18 15,-18 18-15,18-35 0,0 18 16,0-2-16,-18 20 15,18-37-15,0 0 16,0 2-16,0-2 0,0 1 16,0-1-1,0 2 1,0-2 0,0 0 15,0 1 0,-35-36 47,18 18-47,-2 0-31,-50 0 32,50 0-32,2 0 15,-1 0-15,1 0 16,-19 0-16,1 0 16,-1 18-16,19-18 15,0 0-15,-1 0 16,0 0-16,0 0 15,1 0-15,0 0 0,-2 18 16,2-18-16,-18 0 16,18 0-1,-2 0 1,2 0-16,-1 0 16,1 0-16,-2 0 15,2 18 1,0-36-1,-1 18 1,0 0 93,0 0-62,1-18-15,0 18-1,17-18-31,0 1 0,17 0 15,-17-37-15,17 18 16,-17-16-16,18-1 0,35-71 16,-17 72-1,-1-19-15,-18 35 0,2 19 0</inkml:trace>
  <inkml:trace contextRef="#ctx0" brushRef="#br0" timeOffset="123939.99">12122 16885 0,'0'-18'0,"18"36"16,-36 34 0,18-34-16,-35 18 15,18-2-15,-1 2 0,-18-1 16,19 1-16,-19-1 0,-52 35 15,71-52-15,-1-18 0</inkml:trace>
  <inkml:trace contextRef="#ctx0" brushRef="#br0" timeOffset="125188.87">11170 16725 0,'-54'0'15,"54"19"1,-70-2 0,52 1-16,-16-1 0,-2 2 15,18-2-15,1 0 16,0 1-16,17 0 31,17 0-31,0-18 0,1 17 16,0-17-16,0 0 15,-18 17-15,17-17 0,18 18 16,-17-18 0,-18 18-16,0 0 15,-18-1-15,-34 19 16,34-19-16,0 1 16,0-18-16,1 17 0,0-17 15,-2 19-15,2-19 0,-1 0 0,1 0 31,-2 0-31</inkml:trace>
  <inkml:trace contextRef="#ctx0" brushRef="#br0" timeOffset="125497.51">11204 16815 0,'0'17'15,"0"0"-15,19 1 16,-2 0-16,-17 0 0,18-18 16,-1 0-16,2 0 0,69 0 15,-54 0 1,2 0-16,-18-18 0,16 0 0,-15 18 16,16-18-16,-18 18 0,-17-17 0,19 17 15,-19-17-15,17-2 0,-34 2 16,17-1-16,-19 1 15,2 17-15,-1 0 0,1-19 16,-19 19-16,19 0 0,-1 0 0,-52 0 16,52 0-16,-18 19 0,-69 16 31,86-18-31</inkml:trace>
  <inkml:trace contextRef="#ctx0" brushRef="#br0" timeOffset="127551.98">18860 16567 0,'0'-18'15,"-17"54"-15,17-18 0,-17-1 16,17 0-16,-19 19 0,2-1 16,-1 18-16,-70 89 15,52-90-15,-16 18 0,16-34 16,-52 52-16,52-53 0</inkml:trace>
  <inkml:trace contextRef="#ctx0" brushRef="#br0" timeOffset="132311.68">19478 16479 0,'34'-18'15,"20"18"1,-37 0-1,2 0-15,-2 0 0,0 18 16,1-1-16,-1 2 16,-17-2-16,0 18 0,0 1 15,0-19 1,0 0-16,-17 2 0,17 16 16,-18-18-16,18 0 0,0 2 15,-17-2-15,17 1 0,0 35 31,-17-53-31</inkml:trace>
  <inkml:trace contextRef="#ctx0" brushRef="#br0" timeOffset="132535.82">19566 16725 0,'141'-34'15,"-88"16"-15</inkml:trace>
  <inkml:trace contextRef="#ctx0" brushRef="#br0" timeOffset="132842.35">20007 16567 0,'-36'18'47,"19"0"-47,70-54 0,-106 106 15,53-34 1,0-18-1,17-18-15,2 17 16,-2-17 0,0 0-16,1 0 0,0-17 31,-18-1-31,-36-18 31,19 19-31,0 0 0,-2 17 16,2 0-16,-37-18 15,37 18 1,0 0-16,-1 18 16</inkml:trace>
  <inkml:trace contextRef="#ctx0" brushRef="#br0" timeOffset="133402.32">19936 16691 0,'35'-18'0,"-16"18"16,-73 18-16,125-36 0,-71 1 0,17 17 0,1 0 16,-53 17 15,18-17-31,-2 18 15,-33-1-15,33-17 16,2 0-16,0 17 0,-1-17 0,1 19 16,-2-19-16,19 17 0,0 18 31,19-16-31,-2-2 16,1 0-16,-1-17 15,-17 18-15,17 0 0,2 0 0,-19-1 31,0 0-31,0 1 0,-19-18 0,2 18 16,0 0-16,-18-18 0,16 17 16,2-17-16,-36 17 15,18-17-15,-18 0 16,18 0-16,-18 0 16</inkml:trace>
  <inkml:trace contextRef="#ctx0" brushRef="#br0" timeOffset="135192.85">27715 17149 0,'-17'88'0,"17"-70"0,0 18 0,-18-2 15,18 2-15,0-18 0,-18 16 0,18 2 16,0 18-16,-18-20 0,18 20 16,-17 16-1,17-52 1,0-1-16,-17-17 0,17 17 15</inkml:trace>
  <inkml:trace contextRef="#ctx0" brushRef="#br0" timeOffset="135425.89">27750 17273 0,'-35'18'15,"18"-18"-15,-1 17 16,-52 54 0,51-54-1,-16 19-15,-1-1 0,19 1 16,0-19-16,-1-17 15</inkml:trace>
  <inkml:trace contextRef="#ctx0" brushRef="#br0" timeOffset="135666.79">27627 17184 0,'17'19'16,"1"-2"-16,18 0 15,16 19 1,-16-18-16,-19-1 16,0-17-16,2 17 0,-2-17 15,18 19-15,-16-19 16</inkml:trace>
  <inkml:trace contextRef="#ctx0" brushRef="#br0" timeOffset="136683.16">29338 17132 0,'0'35'16,"0"-18"-1,0 2-15,-18-2 16,1 142-1,17-125-15,0 2 0,-19 35 16,19-36-16,0-18 16,-17 36-16,17-35 15,0 18-15,0-19 0,0 0 0,-17 2 16,17-2-16,0 1 16,0-1-16</inkml:trace>
  <inkml:trace contextRef="#ctx0" brushRef="#br0" timeOffset="137119.72">29408 17132 0,'0'-17'0,"-17"17"16,0 0-1,-2 17-15,2-17 16,17 17-16,-18-17 0,1 18 16,-2-1-16,2 2 0,-18-2 15,17 0-15,-52 37 16,52-37-16,0-17 15,1 17-15,0 2 0,-2-19 0,2 17 16,-1 1-16,1-18 0,17 17 16,-17-17-16,-2 17 15</inkml:trace>
  <inkml:trace contextRef="#ctx0" brushRef="#br0" timeOffset="137433.32">29303 17115 0,'123'17'16,"-87"0"0,-19 1-16,0-1 0,1-17 0,0 19 15,34 15 1,-33-16-16,-2 0 0,1 0 16,-1-1-16,0 0 15,2-17 1</inkml:trace>
  <inkml:trace contextRef="#ctx0" brushRef="#br0" timeOffset="147230.19">29991 11911 0,'35'-18'94,"-18"18"-79,0 0-15,2-18 0,-2 18 16,1 0 15,-53 18 0,16-18-31,2 0 0,0 18 16,-1-18-16,1 0 0,-19 17 16,-17 0-1,53 2-15,-18-2 16,18 1-1,0-1 1,18-17 0,-18 19-16,18-19 0,0 17 15,35 0 1,-36 1 0,-17-1-1,-17 2 1,-2-2-1,2 0-15,-18-17 16,17 18-16,0-18 0,1 0 16,0 18-16,-2-18 0,2 18 15</inkml:trace>
  <inkml:trace contextRef="#ctx0" brushRef="#br0" timeOffset="149451.04">29884 12633 0,'36'-34'0,"-1"34"16,-35-18-16,17 18 15,-51 0 32,16 0-47,0 18 0,-17-1 16,18-17 0,-2 17-16,19 2 15,19 16 1,-2-35-1,-17 17-15,17-17 0,1 17 16,0-17-16,0 19 0,-18-2 16,17-17-16,-17 18 15,17-18-15,-17 17 0,0 2 16,-17-19-16,17 17 16,-17 0-16,-1 1 15,0-18-15,18 18 0,-18-18 16,1 0-1</inkml:trace>
  <inkml:trace contextRef="#ctx0" brushRef="#br0" timeOffset="149615.69">30202 12721 0,'0'-17'0</inkml:trace>
  <inkml:trace contextRef="#ctx0" brushRef="#br0" timeOffset="149947.79">30467 12599 0,'-17'-18'0,"-2"18"0,-33 35 15,33-35 1,2 36-1,17-19 1,0 1-16,17-1 16,2 0-16,-2 2 15,-17-2 1,18-17-16,-18 18 0,0-1 16,0 2-1,-18-19-15,1 17 0,-2 0 16,2 1-16,0-18 15,-54 36-15,54-36 16</inkml:trace>
  <inkml:trace contextRef="#ctx0" brushRef="#br0" timeOffset="150715.6">30131 13216 0,'0'-17'16,"-17"51"-1,-1-16-15,18 18 0,-17-19 16,17 18-16,0 1 0,-19-19 0,19 36 15,0-18-15,0 1 16,19-1-16,-19-18 0,17 2 16,1-2-16,-1 0 15,2-17 1,-2 0-16,0-17 16,-34-19 15,-36 36-16,35 0-15,1 0 0,-19 19 16,1-2 0</inkml:trace>
  <inkml:trace contextRef="#ctx0" brushRef="#br0" timeOffset="151454.44">30079 14009 0,'0'0'16,"-19"18"0,2 18-1,17-19-15,0 19 0,0-19 16,-17 18-16,17-18 0,0 2 0,0 33 15,0-33-15,0-2 16,0 0-16,17 19 16,0-36-16,2 0 15,-2 0 1,-17-18 0,0 0-1,-17 1 1,-2 17-16,2 0 31</inkml:trace>
  <inkml:trace contextRef="#ctx0" brushRef="#br0" timeOffset="151921.43">30379 14097 0,'17'0'0,"-17"19"16,0 16-1,-17-1-15,-2-15 0,2 16 16,0 1-16,17-19 15,0 0-15,-18 1 0,18 0 32,18 0-32,-1-18 0,0 0 15,2 0 1,16 0-16,-18 0 16,2 0-16,-2 0 0,0-18 15,1 18-15,-1 0 16</inkml:trace>
  <inkml:trace contextRef="#ctx0" brushRef="#br0" timeOffset="152814.29">30255 14275 0,'-17'17'31</inkml:trace>
  <inkml:trace contextRef="#ctx0" brushRef="#br0" timeOffset="152999.92">30272 14751 0,'-17'17'0,"17"0"16</inkml:trace>
  <inkml:trace contextRef="#ctx0" brushRef="#br0" timeOffset="153156.46">30290 14927 0,'0'17'16,"0"2"0,0-2-1</inkml:trace>
  <inkml:trace contextRef="#ctx0" brushRef="#br0" timeOffset="153265.54">30308 15121 0,'0'35'16,"0"-18"-16</inkml:trace>
  <inkml:trace contextRef="#ctx0" brushRef="#br0" timeOffset="153406.43">30360 15297 0,'0'0'15</inkml:trace>
  <inkml:trace contextRef="#ctx0" brushRef="#br0" timeOffset="154370.06">30450 11611 0,'17'-18'16,"0"1"-16,1-2 0,-1 19 16,2-17-1,15 17-15,-16 17 16,0 2-16,0 16 15,-18-18-15,17 19 0,0 35 16,2-19-16,-19 1 0,35 52 16,-18 73-1,19-37-15,-19-72 16,1 73-16,-1-54 16,2-18-16,-2 1 0,0 70 15,1-53-15,-1-17 0,-17 0 0,19 17 16,-2-18-16,-17 1 0,35 246 15,-17-229 1,-18-17-16,0 17 0,0-17 16,0 17-16,18-18 0,-18 72 15,-18 16-15,18-87 0,0 0 16,0-1-16,-18-16 0,18 16 16,0 160-1,-18-178-15,18 18 0,0 1 16,0-54-16,0 19 15,0-18-15,0-1 0,0 0 16,-17 2-16,0-2 16,-2-17-16,2 0 15,-1-17-15,1 17 0</inkml:trace>
  <inkml:trace contextRef="#ctx0" brushRef="#br0" timeOffset="155867.51">31314 12457 0,'0'-17'0,"17"0"15,-17-19-15,0 18 0,17-18 16,-17 19-16,0-18 15,18 18-15,-18-19 0,0 1 16,0 17-16,0 0 16,0 1-16,-18 52 47,18-17-47,0 0 0,18-18 15,-18 17-15,18 0 16,0-17-1,35-17 1,-53 0-16,17-1 16,1-18-16,-1 19 0,0-54 15,-17 54-15,19-19 0,-19 19 0,0-1 16,17-35 0,-17 89-1,0-19-15,0 1 16,0-1-16,0 2 15,0 15-15,18-16 0,-18-1 0,0 36 16,17 1 0,2-20-16,-19-15 15,17-2-15,0-17 0</inkml:trace>
  <inkml:trace contextRef="#ctx0" brushRef="#br0" timeOffset="156149.38">31895 11981 0,'19'-17'15,"15"-2"1,-16 19-16,-1-17 16,-17 34-16</inkml:trace>
  <inkml:trace contextRef="#ctx0" brushRef="#br0" timeOffset="156304.88">31914 12140 0,'52'-17'16,"-35"17"-16,2-19 15</inkml:trace>
  <inkml:trace contextRef="#ctx0" brushRef="#br0" timeOffset="158871.76">32442 11840 0,'18'-17'0,"0"-1"15,-1 18-15,0 0 31,2-18-15,-55 36 15,1 0-15,17-1-16,0-17 16,18 17-16,-17-17 0,0 18 31,-1 0-16,36 0 1,-1-1 0,0-17-16,1 17 0,0 2 0,0-19 15,-1 17-15,0-17 0,2 18 16,-19-1-16,17-17 16,-17 19-16,0-2 0,0 0 15,0 1 1,-17-18-16,17 17 0,-19-17 15,19 19-15,-17-19 0,0 0 0,-1 17 16,0-17 0,0 0-1</inkml:trace>
  <inkml:trace contextRef="#ctx0" brushRef="#br0" timeOffset="159050.65">32742 12035 0,'0'-19'16</inkml:trace>
  <inkml:trace contextRef="#ctx0" brushRef="#br0" timeOffset="159608.56">33024 11840 0,'54'-35'15,"-37"35"1,0-18 0,-51 54-1,15-36-15,2 17 16,-1 0-1,1-17-15,17 18 16,-17-18-16,69 36 31,-35-19-31,2-17 0,-19 17 16,34 2-16,-16-19 16,-18 17-16,0 1 15,0-1 1,-18 2-16,1-2 15,-19 0-15,19-17 16,-1 18-16,1-18 16,0 17-16,-2-17 15,2 0-15</inkml:trace>
  <inkml:trace contextRef="#ctx0" brushRef="#br0" timeOffset="160786.59">33378 11716 0,'0'-17'0,"-19"53"47,19-19-47,0 0 0,0 37 16,0-20-16,0-16 15,0 18-15,0-2 0,0 2 0,0-18 16,0 18-16,0-19 0,0 35 16,19-16-16,-19-19 0,0 19 15,17-1 1,-17-18-16,0 2 0,0-2 15,0 1 1,-17-18 0,-2 0-1,2 0 1,-1-18-16,1 18 16,17-17-16,0-2 15,0 2 1,17 17-16,-17-17 0,18-1 15,52-71 17,-52 54-17,-1 18-15,-17 0 0,36-54 16,-19 35-16,-17 1 16,18 17-16,-18 0 0,0 1 15,0 0-15,0-19 16,0 72 15,0-19-31,0 18 16,0-17-1,0 0-15,0 35 0,0-1 16,18-33 0,-18-2-16,0 0 0,0 1 15,-18-18-15</inkml:trace>
  <inkml:trace contextRef="#ctx0" brushRef="#br0" timeOffset="160903.92">33466 12052 0,'88'-53'0,"-35"35"15</inkml:trace>
  <inkml:trace contextRef="#ctx0" brushRef="#br0" timeOffset="162311.32">31366 12264 0,'18'-89'0,"-18"71"15,0 1-15,-18 17 0,18-36 16,0 1 0,-18 18-1</inkml:trace>
  <inkml:trace contextRef="#ctx0" brushRef="#br0" timeOffset="164260.99">31455 12792 0,'-19'19'15,"19"15"-15,0-16 0,0 0 16,19 0-16,-19-1 0,0 0 16,0 1-16,0 35 15,0-36-15,17 2 16,-17-2-16,0 1 16</inkml:trace>
  <inkml:trace contextRef="#ctx0" brushRef="#br0" timeOffset="164916.78">31543 12775 0,'17'-18'0,"1"18"16,-1 18-16,-17 18 31,0-19-31,-17 36 16,-1-53-16,18 18 15,0-1-15,-17-17 0,17 17 0,0 1 16,17-18 0,1 18-1,-1-18-15,2 0 0,-2 0 16,0 18-16,1-18 15,0 0-15,-18 17 16,18 0-16,-18 2 16,-18-2-16,0-17 15,18 18-15,-18-18 0,1 17 16,0 0-16,-2-17 0,2 0 16,-1 0-16,1 19 15,-2-19-15</inkml:trace>
  <inkml:trace contextRef="#ctx0" brushRef="#br0" timeOffset="165227.6">31754 12933 0,'18'18'31,"-18"0"-16,0 0-15,18-1 0,-1 0 16,0-17 0,2 0-1,-2 0-15,1 0 0,-18-17 16,17 17-16,-17-17 0,19 17 16,-19-18-16,0 0 15,-19 18-15,19-18 0,-17 1 16,-1 0-1,1 17-15,-2-18 0,2 18 16,0 18 0,-1-18-16,0 17 15</inkml:trace>
  <inkml:trace contextRef="#ctx0" brushRef="#br0" timeOffset="165959.82">31983 12863 0,'0'36'47,"0"-19"-47,0 0 15,19-17 1,-2 0 0,0 0-16,1-17 15,0 17-15,-18-17 16,18 17-16,16-18 16,-34 0-1,19 18-15,-2 18 16,-17 0-1,0-1-15,0 0 16,18 1-16,-18 0 0,0 17 16,17 18-1,-17-35-15,-17-1 0,17 0 16,0 2-16,0-2 0,-35 18 0,16-16 16,2-19-1,0 0-15,-19-19 16,36 2-1,0-1 1,18 1-16,-18-2 0,35-15 16,-18 16-1,19-35-15,16 18 16,-33 17-16,16-34 0,-18 34 16,2 0-16,15-34 15,-16 52 1,-18-19-16,18 19 15,-18 19 17,18-19-32,-18 17 15,0 18-15,0-17 32,0 0-32,-18-18 15,18 17-15,-18-17 16,0 17-16,1-17 15,0 0 1,-2 18-16</inkml:trace>
  <inkml:trace contextRef="#ctx0" brushRef="#br0" timeOffset="169369.77">32548 12369 0,'35'-17'32,"-18"17"-32,2 0 15,16-19-15,-18 19 0,54 0 16,53-17-1,-90 0-15,2 17 16,-18 0-16,70 0 16,-52 0-1,-19 0-15</inkml:trace>
  <inkml:trace contextRef="#ctx0" brushRef="#br0" timeOffset="169595.47">32583 12528 0,'53'17'32,"-18"-17"-32,1-17 0,52 17 15,-53 0-15,35 0 16,-51-17-16,16 17 15,1 0-15,-2 0 16,-16 0-16,18 0 0,-19 0 16</inkml:trace>
  <inkml:trace contextRef="#ctx0" brushRef="#br0" timeOffset="174031.64">30943 16532 0,'35'-17'32,"-17"-2"-17,0 19 1,-54 19 31,-16-2-32,52 0-15,-19-17 0,2 18 16,-1-18-16,1 18 0,0-18 16,17 18-1,17-1 1,0-17 0,1 0-16,-1 17 0,2-17 0,-2 0 15,-17 19-15,17-19 0,1 0 16,0 0-16,0 17 0,-1-17 15,-17 18-15,17-18 0,-17 17 16,0 0 0,-17 2-16,17-2 15,-17-17-15,-1 18 0,0-1 16,-17-17-16,35 19 16,-17-19-1</inkml:trace>
  <inkml:trace contextRef="#ctx0" brushRef="#br0" timeOffset="174184.83">31226 16673 0,'0'-17'15</inkml:trace>
  <inkml:trace contextRef="#ctx0" brushRef="#br0" timeOffset="174916.13">31543 16444 0,'17'-17'16,"-17"-2"-16,18 19 15,-53 19 16,16-2-15,2-17-16,0 17 0,-1 1 31,1-1-31,17 2 16,17-2-16,1-17 16,35 35-1,-18-17 1,1 0-1,-19-18-15,-17 17 16,17-17-16,-17 17 0,-17 2 16,17-2-16,-17 1 15,-2-18-15,2 0 16,-1 17-16,-18 0 16,19-17-1,0-17 1</inkml:trace>
  <inkml:trace contextRef="#ctx0" brushRef="#br0" timeOffset="175220.62">31983 16215 0,'0'-18'0,"-17"70"47,17-16-47,0-18 16,0 16-16,0-15 15,0 33-15,0-16 16,0-19-16,0 1 16,0-1-16</inkml:trace>
  <inkml:trace contextRef="#ctx0" brushRef="#br0" timeOffset="175424.57">31895 16427 0,'19'-36'0,"-2"36"16,18-18-16,-18 18 15,2 0-15,-2-17 16,0 17-16</inkml:trace>
  <inkml:trace contextRef="#ctx0" brushRef="#br0" timeOffset="175666.66">31895 16691 0,'19'0'31,"-2"0"-31,18 0 16,-18 0 0,19-18-16,-19 18 15,19-17 1,-18 17-16</inkml:trace>
  <inkml:trace contextRef="#ctx0" brushRef="#br0" timeOffset="176752.87">32302 16320 0,'-19'88'16,"38"-52"-16,-2-19 15,0 1-15,1-18 16,-18 17 0,18-17-16,17 0 0,-18 0 15,1 0-15,-18-17 16,18 17-16,0-35 16,-18 18-16,17-2 15,-34-33 1,-1 33-1,0 2-15,18 0 16,-18 17-16,1 0 16,0 0-1,-1 0 1</inkml:trace>
  <inkml:trace contextRef="#ctx0" brushRef="#br0" timeOffset="176915.66">32619 16320 0,'0'0'16</inkml:trace>
  <inkml:trace contextRef="#ctx0" brushRef="#br0" timeOffset="177492.18">32830 16179 0,'36'-18'0,"-54"18"47,-18 18-32,19 0-15,17 0 16,-17-18-16,-1 17 16,36 0-1,-18 2-15,0-2 16,17-17-16,18 35 16,-35-18-1,18-17-15,-18 19 16,0-2-16,0 1 15,0-1-15,-18-17 16,18 19-16,-18-19 0,1 17 31,0 0-31</inkml:trace>
  <inkml:trace contextRef="#ctx0" brushRef="#br0" timeOffset="177925.35">33059 16091 0,'0'17'16,"0"2"-1,0-2-15,0 107 32,0-72-32,19-35 15,-19 19-15,0 18 16,0-2-16,0-35 16,0 2-16,-19 15 31,-16-34-16,35-17 1,-17 17-16,17-17 16,0-2-16,0 2 15,17-18 1,1 35 0,-18-17-16,17-2 15,2 19-15,-2-17 16</inkml:trace>
  <inkml:trace contextRef="#ctx0" brushRef="#br0" timeOffset="178076.53">33183 16356 0,'0'0'32,"17"17"-17,-17 1 1,18-1-1,-36-17 1</inkml:trace>
  <inkml:trace contextRef="#ctx0" brushRef="#br0" timeOffset="178221.53">33236 16197 0</inkml:trace>
  <inkml:trace contextRef="#ctx0" brushRef="#br0" timeOffset="178484.32">33395 15932 0,'0'36'15,"0"16"1,-17-33 0,17-2-16,0 18 15,-19 18-15,19-36 16,0 1-16,0 0 15,0 17 1,0-18-16,0 2 16,19-2-1</inkml:trace>
  <inkml:trace contextRef="#ctx0" brushRef="#br0" timeOffset="179375.66">33042 16232 0,'0'36'0,"0"-19"16,0 1-16,0-1 0,-18 19 0,18-19 15,0 1-15,0-1 0,0 36 16,0-35 0,0-1-16,0 2 0,18-2 15</inkml:trace>
  <inkml:trace contextRef="#ctx0" brushRef="#br0" timeOffset="179560.77">33042 15932 0,'0'0'0</inkml:trace>
  <inkml:trace contextRef="#ctx0" brushRef="#br0" timeOffset="179980.96">33200 16215 0,'0'17'0,"-17"19"16,17-19-16,0 1 16,0-1-16,0 19 0,0-1 15,0-18-15,0 2 16,0-2-16,0 0 15,0 1 1,17-36 0,1 1-16,0 0 15,0 17-15,-18-19 0,17 2 16,0-1 0,2 18-16,-2-17 15,1 34 1,-18 1-1,17-1 1,2 2 0</inkml:trace>
  <inkml:trace contextRef="#ctx0" brushRef="#br0" timeOffset="180511.32">33447 16003 0,'-35'36'31,"18"-36"-31,17 17 0,0 0 16,-17 1-16,17-1 15,0 2-15,0-2 0,-19 54 16,19-54-16,0 0 16,0 2-16,19-2 15,-19 1-15,0-1 0,17-17 16,0 17 0,1-34-16,-1 17 15,2-17-15,-2-18 16,0 16-16,-17 2 0,18 0 15,-18-1-15,18 0 0,0-34 32,-1 33-32,-17 2 15,-17 53 32,17-19-47,0 18 16,0-17-1,0 0-15,0-1 0,-18-17 0,18 17 16,18 19-16,-18-18 16,17-1-1,0-17 1,2 0-16,-2 0 16</inkml:trace>
  <inkml:trace contextRef="#ctx0" brushRef="#br0" timeOffset="182225.02">31136 17608 0,'19'-17'0,"-2"-2"15,1 19 1,-1-17-1,2 17-15,-2-18 16,-53 36 15,19-18-31,-1 0 16,18 17-16,-17-17 0,-2 19 0,-15-2 16,34 0 15,-18 1-31,36 0 15,-1 0-15,0-18 0,2 17 16,-2 0-16,1-17 16,18 19-16,-19-2 15,0 1-15,-17-1 16,0 0-16,0 2 16,-34 16-1,15-35-15,19 17 16,-52 2-1,33-19-15,19 17 0,-17-17 16,0 17 0</inkml:trace>
  <inkml:trace contextRef="#ctx0" brushRef="#br0" timeOffset="182489.55">31136 18013 0,'19'0'15,"-2"0"-15,37-17 16,-37 17-1,36 0-15,-35-17 16,16 17 0,-16 17-16</inkml:trace>
  <inkml:trace contextRef="#ctx0" brushRef="#br0" timeOffset="182685.18">31155 18189 0,'35'-17'15,"18"0"1,-18-1-16,1 18 16,16-17-1,-34 17-15,0 0 0,35 0 16,-36 0-16</inkml:trace>
  <inkml:trace contextRef="#ctx0" brushRef="#br0" timeOffset="183711.79">32919 17325 0,'-19'0'0,"2"19"0,0-19 16,-1 17-16,-18 35 16,19-16-16,0-18 0,17-1 15,-18 19-15,18-19 16,0 1-16,0 35 0,0-36 15,0 1-15,0 0 0,0 0 0,18-18 16,-18 17-16,34 0 16,-16-17-16,0 0 0,0 0 15,-1 0 1,0-17-16,-17 0 16,-17-1-1,0 0 1,-1 18-16,0-18 0,0 18 15,1 0-15,0 18 0,-1-18 16,-18 18-16,19-18 0,0 0 16</inkml:trace>
  <inkml:trace contextRef="#ctx0" brushRef="#br0" timeOffset="184058.62">32583 17396 0,'-17'17'32,"17"2"-32,-18 52 15,18-37-15,18 54 16,-18-52-16,0-1 16,34 89-1,2-89 1,-18-35-16,-18 17 0,17-17 0,2 0 15,-2 0-15</inkml:trace>
  <inkml:trace contextRef="#ctx0" brushRef="#br0" timeOffset="184296.54">33007 17167 0,'123'141'16,"-105"-105"-16,-18 52 16,0-17-16,-18-54 0,0 35 15,1 37-15,-54-1 16</inkml:trace>
  <inkml:trace contextRef="#ctx0" brushRef="#br0" timeOffset="184881.34">30767 17537 0,'-36'35'15,"72"-70"-15,-72 89 0,36-20 0,0 2 16,0-1-16,0 18 0,17 70 15,-17-70-15,0 18 0,0-18 0,19-1 16,-19 2-16,0-1 0,17-1 16,-17-16-16,18-1 0,-18 1 0,17-19 15,-17 18-15,19-17 0,-2 17 16,-17-18 0</inkml:trace>
  <inkml:trace contextRef="#ctx0" brushRef="#br0" timeOffset="185105.93">31278 17555 0,'53'17'0,"-106"-34"0,141 53 16,-70-19-16,0 0 0,-1 19 15,0-1-15,2 1 0,-2 16 0,1-16 16,-1 16-16,-17 125 15,0-142-15,0 1 16,0-1-16,0-1 0,0 2 16,-17-1-16,17-16 0,0-2 15</inkml:trace>
  <inkml:trace contextRef="#ctx0" brushRef="#br0" timeOffset="186608.19">32671 16744 0,'53'-19'31,"-35"19"-15,0 0-16,17-17 0,0 17 15,54-35-15,122-18 16,-158 53-16,-18-17 15,-17 17-15,17-18 0,-18 18 16,19 0-16,-1-18 16</inkml:trace>
  <inkml:trace contextRef="#ctx0" brushRef="#br0" timeOffset="186880.93">32812 16903 0,'71'-18'16,"-142"36"-16,159-36 0,-69 0 0,-2 18 0,1 0 15,-1-18-15,19 18 0,16-17 16,-33 0-16,-2 17 15,36-19-15,-35 19 16,-1 0 0,0-17-16,1 17 15,0 0-15</inkml:trace>
  <inkml:trace contextRef="#ctx0" brushRef="#br0" timeOffset="189571">31031 17061 0,'36'0'16,"-19"0"-1,35 0 1,-33 0 0,33 0-1,-33 0-15,-2 0 16,18 0-16,-17 0 0,0 0 15,16 0-15,-16 0 0,0-17 16,0 17-16,-1 0 0,0 0 0,2-19 16,-2 19-16,54-34 15,-54 34-15,-17-18 16,18 18-16,-1-18 0,2 18 0,-2-18 16,0 1-16,1 17 15,-18-17-15,36-1 16,-19 0-16,0 0 0,1 18 15,0-17-15,0 17 16,-18-17-16,34-2 16,-15 2-16,-2 17 15,-17-18-15,18 18 0,18-36 16,-36 19 0,0 0-16,17 17 15,-17-18-15,0 1 0,0-2 16,0 2-16,17 17 0,-17-17 15,0-1-15,0 0 0,0 0 16,0 1-16,0 0 16,0-2-1,0 2-15,-17-1 0,17 1 16,0 0-16,-17 17 0,17-19 16,0 2-16,-19-1 0,2 1 15,17-2-15,-18 2 16,1 0-16,-2-1 15,2 18-15,17-17 16,-17-2-16,-1 19 16,18-17-16,-18 17 0,0-17 15,1 17-15,0-18 16,-19 0 0,18 18-16,1 0 15,0-18-15,-2 18 0,2 0 0,-1 0 16,1-17-16,-19 17 15,19 0-15,-1 0 16,1 0-16,-2 0 16,2 0-16,0 0 0,-19 0 15,18 0 1,1 0-16,0 0 0,17 17 16,-18-17-16,-18 0 15,2 18 1,15-18-16,19 18 15,-17-18-15,-1 0 0,1 18 0,-19-18 16,19 17 0,-1 0-16,1-17 15,-2 19-15,2-19 16,0 17-16,-1-17 16,0 18-16,0-1 15,1-17-15,17 17 16,-17-17-16,-19 36 15,18-18-15,1-18 16,17 17-16,-17-17 16,17 19-16,-19 15 15,2-34-15,17 18 0,-18-1 16,18 2-16,-17-19 16,17 17-16,-19 0 0,2 37 15,0-37-15,17 0 16,-18 2-16,18 16 0,-17-1 15,17-15-15,0-2 0,0 18 0,0 36 16,0-53 0,0 0-16,0 16 0,0 2 15,17-18-15,-17-1 0,0 0 16,0 2-16,35 33 16,-35-33-16,17-19 15,2 0-15,-19 17 0,17-17 0,1-17 16,18 17-16,-19-19 0,18 19 15,53-35-15</inkml:trace>
  <inkml:trace contextRef="#ctx0" brushRef="#br0" timeOffset="190171.25">32795 16691 0,'0'34'0</inkml:trace>
  <inkml:trace contextRef="#ctx0" brushRef="#br0" timeOffset="190645.15">32636 16003 0,'0'-18'0</inkml:trace>
  <inkml:trace contextRef="#ctx0" brushRef="#br0" timeOffset="191119.76">32724 16691 0,'0'-35'78,"0"16"-47</inkml:trace>
  <inkml:trace contextRef="#ctx0" brushRef="#br0" timeOffset="195368.53">12616 8153 0,'176'-17'15,"-122"17"-15,34-17 0,282-19 16,-264 18-16,0 1 15,-18-2-15,18 19 0,-18-17 0,-35 0 16,140-1 0,-139 1-16,-1 17 0,-1 0 0,-16-19 15,-1 19-15,1 0 0,-2-17 16</inkml:trace>
  <inkml:trace contextRef="#ctx0" brushRef="#br0" timeOffset="196037.39">16003 8012 0,'-17'0'15,"69"-17"1,18 17-1,1-18-15,0 18 0,34 0 16,-16 0-16,17 0 0,-1 0 0,2 0 16,-2-17-16,266 34 15,-301-17-15,1 0 16,0 18-16,-1-18 0,-35 0 0,18 17 16,-18-17-16,-18 0 0,19 0 0,-1 0 15,-16 17 1</inkml:trace>
  <inkml:trace contextRef="#ctx0" brushRef="#br0" timeOffset="196964.17">19883 8083 0,'107'0'31,"-37"0"-31,265 0 0,-194 0 16,1-18-16,34 18 0,0 0 15,0 0-15,1-17 0,-36 17 16,35 0-16,318-19 15,-212 19-15,-140 0 0,-20 0 16,20-17-16,-18 17 0,-2 0 16,-15 0-16</inkml:trace>
  <inkml:trace contextRef="#ctx0" brushRef="#br0" timeOffset="202321.13">8964 14027 0,'-34'18'0,"34"0"0,-18-1 15,18 19-15,-53 33 16,53-33-16,-17-1 16,-1 1-16,-52 52 15,70-71-15,-19 1 0,2 0 0,-18 17 16,18-35 0,17 17-16,-19-17 0,2 0 15,-1-17-15,1-36 16,17 35-16,0-16 15,0 16-15,0 0 0,0-17 0,0 18 16,17-2-16,-17 2 0,18-1 0,-18 1 16,17-2-16,19 19 15,-19 0-15,1 0 0,-1 19 16,2-19-16,15 17 0,-16 1 16,18-1-16,-2 2 0,2-2 15,-1 0-15,-18 1 0,19 0 0,-18-18 16,18 0-16,-19 18 0,18-18 0,-18 0 15,2 0-15,-2 0 0</inkml:trace>
  <inkml:trace contextRef="#ctx0" brushRef="#br0" timeOffset="203011.7">8347 14009 0,'0'54'16,"0"-37"-16,0 0 0,0 19 0,19-1 15,-19 18-15,0 1 0,17-2 16,-17 1-16,17 0 0,-17-18 0,18 18 16,18 106-1,-36-142-15,17 1 16,-17 0-16,0 0 0</inkml:trace>
  <inkml:trace contextRef="#ctx0" brushRef="#br0" timeOffset="203457.99">8030 14133 0,'-18'-36'0,"18"19"15,0 0-15,0-1 0,0 0 0,71-52 32,-36 52-32,18-17 0,52-1 15,-51 1-15,-1 18 0,18-2 0,-1 2 16,-18 0-16,2-1 0,16 1 15,89-19 1,-106 36-16,-18-17 0,-18 17 0,19 0 16,-18-18-16,-1 18 0,2 0 15,-2 0-15,35 35 16,-33-18-16,-2 2 16,0-2-16,-17 1 0,18 16 15,0-15-15,53 104 16,-54-87-16,18 16 0,-18-16 15,19-2-15,-1 54 0,-16-52 16,-2-18-16,0 18 0,18-2 16,-35-16-16,0 0 15,0 0-15,19-1 0,-38 0 0,19 1 0,-17 0 16,-1 0-16,1-1 0,-178 90 31,125-90-31,-1 18 0,-17 1 0,-105 34 16,86-35-16,-16 0 0,17 1 15,-88 34-15,0-16 16,106-37-16,0 0 0</inkml:trace>
  <inkml:trace contextRef="#ctx0" brushRef="#br0" timeOffset="207837.56">3408 10940 0,'-70'36'0,"52"-36"16,72-36 15,139-52-15,-105 53-16,36-18 0,528-230 31,-511 231-31,1-1 0,-18 18 16,17-18-16,-53 17 0,17 1 15,2-1-15,-19 19 0,71-35 16,-18-1-16,-106 35 0,-1 18 15,20-18-15,-37 18 16,2-18-16,-2 18 16</inkml:trace>
  <inkml:trace contextRef="#ctx0" brushRef="#br0" timeOffset="208823.02">4167 12157 0,'-17'0'0,"34"-17"16,19-19-1,16 1-15,55-18 0,-55 18 16,18-1-16,18-16 0,0 16 16,2 2-16,32-20 0,-15 1 0,281-87 15,-248 87 1,-16 17-16,17-16 0,-17-2 0,-36 20 15,18-2-15,-18 1 0,300-106 32,-352 141-32,-19-18 0,0 18 15,1-18-15,0 18 0,0 0 16,-1-18-16,0 18 16,2 0 15,-19 36-16,17-36-15</inkml:trace>
  <inkml:trace contextRef="#ctx0" brushRef="#br0" timeOffset="209781.93">8171 13092 0,'88'-35'31,"-52"18"-31,157-72 16,-122 37-16,17-2 0,107-51 16,-90 52-16,19-1 0,-19-16 15,2 35-15,-19-1 0,0-16 16,0 16-16,0 1 0,0-1 0,53-16 16,-17 16-16,-89 19 15,1 0-15,-1-1 0,-18 18 16,2 0-16,-2-18 0,0 18 0,1 0 15,-1-18 1,2 36 15,-38 0 1,19 0-17</inkml:trace>
  <inkml:trace contextRef="#ctx0" brushRef="#br0" timeOffset="214290.77">4660 15297 0,'36'0'62,"-18"0"-62,-18 18 0,17-18 0,36 0 16,-35 17-1,0-17-15,0 0 0,52 0 16,-52-17-16,-1 17 16,36-18-16,-18 18 15,1-17-15,-1-19 16,-35 19-16,17 17 0,-17-18 16,19 1-16,-19-36 15,0 35-15,0-18 16,0 19-16,-19 0 0,19-37 0,-17 37 15,17-19-15,0 19 0,-18-37 16,1 20 0,17 16-16,-17 0 0,17 0 0,0 1 15,0 0-15,-19 17 0,19-18 0,0-18 16</inkml:trace>
  <inkml:trace contextRef="#ctx0" brushRef="#br0" timeOffset="-214598.47">4802 15139 0,'-18'-18'0,"1"18"16,0 18-16,-2-18 0,19 17 0,-17-17 16,17 17-16,-18-17 0,1 19 15,17-2-15,-19 1 16,2-1 0,17 0-16,0 2 15,17-2 1,-17 1-16,0-1 0,19 2 15,-19-2-15,17 0 0,1 1 16,-1 0-16,2 17 16,-2-18-16,0 1 15,1-18 1,18 0 0,-36-18-16,17 1 0</inkml:trace>
  <inkml:trace contextRef="#ctx0" brushRef="#br0" timeOffset="-213946.97">4908 14892 0,'0'-36'15,"0"19"1,0-1-16,18-18 0,-18 19 15,0 0-15,17-1 0,-17 0 16,17 0-16,-17 1 0,54-19 16,-37 36-1,2 0-15,-2 0 16,0 0-16,1 0 0,-1 0 16,19 19-16,-19-19 15,1 0-15,0 17 0,0-17 0,16 17 16</inkml:trace>
  <inkml:trace contextRef="#ctx0" brushRef="#br0" timeOffset="-201970.98">10499 10200 0,'-17'17'16,"17"18"-1,0-16-15,0 33 16,0-16-16,0 16 16,-35 37-16,16 16 15,19-17-15,0 36 16,0 211-1,0-159-15,0 1 16,0 175 0,0 19-1,0-18 1,0-194 0,19 17-16,16 124 15,18-124 1,-36-35-16,1-17 15,-18-36-15,0 124 32,0-177-32,0 36 15,0-54 1,0 19 0,0-1-16,0-1 0,-18 2 15,18-1 1,0-16-16,0-2 15,0 0 1,-17-17 0,17 36-1,0-18-15,-17-18 16,17 70 0,0-52-1,0-1-15,-19 0 16,19 2 15,0 16-15,0 1-16,0-19 15,0 18 1,0 18 0,0-36-16,0 37 15,0-20-15,0 2 16,0 16-16,0 2 15,0-1 1,-17-36 0,17 37-1,0-37 1,-18 0-16,18 1 16,-17 0-1,-2 34 1,19-16-16,0-18 15,0-1 1,-17-17 31</inkml:trace>
</inkml:ink>
</file>

<file path=ppt/ink/ink10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24:32.467"/>
    </inkml:context>
    <inkml:brush xml:id="br0">
      <inkml:brushProperty name="width" value="0.05292" units="cm"/>
      <inkml:brushProperty name="height" value="0.05292" units="cm"/>
      <inkml:brushProperty name="color" value="#0070C0"/>
    </inkml:brush>
  </inkml:definitions>
  <inkml:trace contextRef="#ctx0" brushRef="#br0">6474 1618 0,'-18'0'15,"70"0"32,-16 0-47,-18 0 0,16 0 16,2-17-16,18 17 0,68-17 16,-51-2-16,17 2 15,107-1-15,15-18 16,-103 19-16,-2 0 0,107-18 15,-124 16-15,19 2 0,69-18 16,-17 17-16,-37 0 16,-68 18-16,-1-17 0,-18 17 15,1 0-15,-19 0 0,18-17 16,-17 17-16,0 0 0,-1 0 16,0 0 15,2 0-31</inkml:trace>
  <inkml:trace contextRef="#ctx0" brushRef="#br0" timeOffset="660.8">12100 1565 0,'142'-17'16,"-54"17"-1,88-18-15,-70 18 0,17 0 16,106-17-16,18-2 16,-123 19-16,0 0 0,299-17 15,-265 17 1,-87 0-16,-18 0 0,-18 0 15,1 0-15,-19 0 0,18 17 16,-16-17-16</inkml:trace>
  <inkml:trace contextRef="#ctx0" brushRef="#br0" timeOffset="11649.38">20567 2941 0,'0'-35'15,"0"18"1,-17 17-16,17-19 15,-19 19 1,19 19 0,-17-2-16,17 1 15,-18 16 1,18 20-16,0-18 0,-17 34 16,17 36-16,0-1 15,0-52-15,0 1 0,0-20 16,0 2-16,0-1 0,0 70 15,0-51-15,0-37 16,0 19-16,0-19 16,0 1-16,0 18 0,0-19 15,0 0-15,-17-17 0,17 18 16,0 0 0,0 0-1,0-1 1,0 0 15,17-17-15,18 0 15,-18 0-15,2 0-16,-2 0 0,0 0 15,1-17-15,0 17 0,53 0 16,-36-17-16,-1 17 15,2 0-15,-1-18 0,18 18 16,123-36-16,-52 36 16,-53-17-16,0 17 15,-19 0-15,18-17 0,54 17 16,71-36-16,-126 36 16,73 0-16,-72-18 15,1 18-15,0 0 0,53-17 16,-90 17-16,72 0 0,-70 0 15,34 0-15,-18-17 16,-16 17-16,-1 0 0,142 0 16,-125 0-16,-16 0 15,-1 0-15,36 0 0,-1 0 16,-34 0-16,-1 0 0,1 0 16,-19 0-16,18 0 0,1 0 15,35 0-15,17 0 16,-54 0-16,-16 0 15,18 0-15,-2 0 0,-15 0 16,50 0-16,-15 0 16,16-19-16,-16 19 15,-37 0-15,0 0 0,107 0 32,-106 0-32,-1 0 0,2 0 15,15 0-15,-16 0 0,-1 0 16,19 0-16,-1 0 15,-17 0-15,0 0 0,-1 0 0,18 0 16,54 0 0,-54 0-1,1 0-15,16 0 16,1 0 0,-18 0-16,-17 0 0,17 0 0,-18 0 15,2 0-15,16 0 0,35 19 16,-16-19-1,-20 0-15,2 0 16,-18 0-16,-1 0 0,36 0 16,-1 0-16,-33 0 0,16 0 15,1 0-15,16 0 16,-16 0-16,-19 0 16,54 0-16,-1 0 15,-18 0-15,19-19 0,-35 19 16,-1 0-16,35 0 15,54 0 1,-53 0-16,-36 0 16,-18 0-16,54 0 15,-35 0-15,-2 0 0,2 0 16,35 19-16,-36-19 0,-1 0 16,37 0-16,88 0 15,-70 0 1,-54 17-16,1-17 15,33 0-15,2 0 16,-1 17-16,-34-17 0,-1 0 16,1 0-16,16 0 0,125 18 31,-106-18-31,-36 0 16,-1 0-16,2 0 0,-1 18 0,1-18 15,-1 0-15,18 0 16,18 0-16,-54 0 0,19 0 15,104 18 1,-121-18-16,-2 0 16,0 0-16,1 0 0,18 0 0,-19 17 15,18-17-15,1 0 16,-19 0-16,36 0 16,-35 17-16,-1-17 15,19 0-15,-19 0 0,1 0 16,18 0-16,-19 18 0,18-18 15,1 0-15,-19 0 16,0 0-16,37 0 0,-37 0 16,19 0-16,-19 18 0,71-18 15,-52 0 1,-1 0-16,0 0 16,18 18-16,0-18 15,-35 0-15,16 0 0,20 0 16,-18 0-16,16 17 15,72-17 1,-90 0-16,37 0 16,-52 0-16,15 0 0,72 0 15,-53 17-15,-18-17 16,-17 0-16,17 0 0,1 0 16,-19 0-16,125 19 15,-108-19 1,-16 0-16,0 0 0,70 0 15,-70 0 1,16 0-16,20 0 0,-37 0 0,36 0 16,71 17 15,-106-17-31,16 0 0,-15 0 0,-2 0 16,37 0-16,15 0 15,-16 0 1,-35 0-16,0 0 15,0 0-15,70 0 16,-71 0-16,19 0 16,-19 0-16,18 0 15,-16 0-15,15 0 16,-16 0-16,-1-17 16,19 17-16,17 0 15,-35 0 1,-1-19-16,0 19 0,19-17 15,-18 17 1,-1-17 0,36-1-16,-35 18 15,-1-18 1,2 18-16,-2-18 16,0 18-16,-17-17 15,18 17-15,-1 0 0,19-35 31,-19-1-31,1 36 0,-18-17 16,18 0-16,0-2 0,-1-16 16,0 18-16,2-19 15,-2 1-15,1-1 16,-1 2-16,-17 16 0,17-18 16,19-52-1,-36 35 1,18 1-16,-18 33 0,0 2 15,17-18-15,-17-1 16,0 2-16,0 16 16,0 0-16,0 0 15,0 1-15,0 0 16,0-2-16,0 2 16,0-1-1,-17 1 1,-1-2-1,1 19-15,-2 0 16,-15-17 0,16 17-16,-18-17 0,2 17 15,-20 0-15,1-18 16,36 18-16,-1 0 16,-35 0-16,-52-17 15,70 17 1,16 0-16,-15 0 0,-2-19 15,18 19-15,-70 0 0,18 0 16,16-17-16,-68 17 0,68 0 16,20 0-16,-214-17 15,196 17 1,-19 0-16,18 0 16,-35-18-16,34 18 15,-16 0-15,-70-18 0,69 18 16,-70-18-16,70 18 15,-194-17 1,177 17-16,0-17 16,53 17-16,-53 0 15,-1-18-15,1 18 16,36 0-16,16 0 0,-18 0 16,-15 0-16,-38 0 0,-15-18 15,86 18-15,-52 0 16,34 0-16,-16 0 15,-1 0-15,0 0 16,37 0-16,-1 0 0,-1 0 16,19 0-16,-54 0 0,-34 18 15,69-18 1,-52 0-16,34 0 0,-16 0 16,-53 0-16,-53 0 15,123 0-15,-1 0 16,20 0-16,-20 0 0,20 0 15,-196 18 1,124-18 0,52 0-16,-15 0 0,-196 17 15,142-17 1,52 0-16,-70 0 16,88 0-16,-141 17 15,0-17-15,123 0 16,0 0-16,19 0 0,-89 0 15,0 0 1,87 18-16,-158-18 0,72 0 16,16 18-1,-105-18 1,53 18 0,105-18-1,1 0-15,16 0 16,2 0-1,-125 17 1,125-17-16,16 0 0,-88 17 16,89-17-16,-18 0 15,-18 0 1,19 19-16,16-19 0,2 0 0,-37 0 16,-141 17-1,89-17 1,87 0-16,2 0 15,-2 0-15,-35 0 16,0-17-16,54 17 16,0 0-16,-19 0 0,1-19 15,-1 19 1,19 0-16,-1 0 16,-35 0-16,36 0 15,-54 0 1,36 0-16,-18 0 15,-18 0 1,54 0-16,-19 0 16,19 0-16,-35 0 15,16 0-15,18 0 16,1 0-16,-2 0 0,2 0 16,-71 19-1,71-19-15,-1 0 16,0 0-16,0 0 0,1 0 15,-19 0-15,1 0 0,-1 0 16,19 0-16,0 0 0,-1 17 16,-35-17-1,36 0 1,-1 0 0,0 0-1,0 0 1,-16 0-1,15 0 1,2 0 0,-1 0-16,1 0 15,0 0-15,-2 0 16,2 0 0,-37 0-1,20 0 1,16 0-16,-18 0 15,19 0-15,-18 0 16,17 0-16,0 0 16,-16 18-16,-2-18 15,18 0 1,1 0-16,0 0 16,-2 0-1,2 0 1,-1 0 15,1 0-15,-2-18-16,2 18 31,0 0-15,-1-17 15,53 17 0</inkml:trace>
  <inkml:trace contextRef="#ctx0" brushRef="#br0" timeOffset="19118.02">28134 737 0,'0'-19'0</inkml:trace>
  <inkml:trace contextRef="#ctx0" brushRef="#br0" timeOffset="19545.5">28204 296 0,'18'34'16,"-18"2"-1,0 123 1,0-54-16,-18 2 16,18-19-16,0-53 15,0 18 1,-17 0-16,17-35 0,0-1 15,0 0-15,0 19 0,0-18 16,0-1-16</inkml:trace>
  <inkml:trace contextRef="#ctx0" brushRef="#br0" timeOffset="20168.14">28240 366 0,'0'-17'15,"18"17"-15,-1-19 16,0 19-16,37-17 0,-1-18 16,-1 35-16,-16-18 0,-1 0 15,53 1-15,70-36 16,-122 35 0,-1 18-16,18-17 0,-35 0 15,18 17-15,-2-19 16,-16 19-1,52 107 17,-70-90-32,19 18 0,-19 1 15,17-2-15,1 56 16,-1-2-16,19 17 16,-36-70-16,35 71 0,-35-52 15,70 175 1,-52-194-1,0 18-15,-18-18 0,18 35 16,-18-52 0,0-1-16,0 2 0,0-2 15,-18 0-15,0-17 16,-70 54 0,36-37-16,-2-17 15,-16 17-15,52-17 16,-52 19-16,16-19 15,20 0-15,-2 0 0,1 0 16,-1-19-16,-69 2 16,69 17-16,-34-17 15</inkml:trace>
  <inkml:trace contextRef="#ctx0" brushRef="#br0" timeOffset="20873.77">28558 508 0,'-54'0'31,"37"17"-15,0-17-16,-19 17 16,18-17-16,18 18 15,-17-18-15,17 18 16,17 17-16,-17-18 15,18-17-15,-18 18 16,17 0-16,2 0 16,-19-1-1,0 0 1,-19 2-16,2-19 16,-1 17-16,1-17 0,-2 18 15,2-18-15,0 0 16,-18 0-1</inkml:trace>
  <inkml:trace contextRef="#ctx0" brushRef="#br0" timeOffset="21335.73">28716 560 0,'18'-18'0,"-36"36"16,53-53-16,-18 35 16,-17-17-16,19 17 15,-19-19 1,0 55 15,0-19-31,0 19 16,0-18-1,0-1-15,0 0 16,0 1-16,0 0 0,0 0 16,0-1-1,0 0-15,17 2 32,-17-2-32</inkml:trace>
  <inkml:trace contextRef="#ctx0" brushRef="#br0" timeOffset="21865.69">28663 560 0,'36'-18'0,"-19"18"0,1 0 16,-18-17-16,17 17 0,19 0 15,-19-17-15,1 17 16,18 0-16</inkml:trace>
  <inkml:trace contextRef="#ctx0" brushRef="#br0" timeOffset="22884.19">29951 666 0,'17'0'15,"-70"18"17,36-18-32,-1 17 15,1-17-15,-2 0 0,2 17 0,-18-17 16,-1 19-16,2-2 0,16-17 16,0 18-16,0-18 0,1 0 15,-36 17-15,1 2 16,33-19-1,2 0-15</inkml:trace>
  <inkml:trace contextRef="#ctx0" brushRef="#br0" timeOffset="23196.18">29580 666 0,'-34'0'0,"15"18"15,2-18-15,-1 17 16,-18 19-16,19-1 16,17-18-16,0 2 15,0-2-15,0 0 16,17 1-16,2-1 15,-19 2-15,35-2 0,-18-17 0,2 17 16,15 1-16,54 0 31,-70-18-31,0 0 16,0 0-16</inkml:trace>
  <inkml:trace contextRef="#ctx0" brushRef="#br0" timeOffset="25773.46">28610 1372 0,'-18'-18'32,"-16"18"-17,16 18 1,0-18-16,-17 0 15,18 0-15,-2 0 0,2 17 0,-1-17 16,-18 0-16,19 0 16,0 0-16,-1 0 0,1 0 15,-2 0-15,-51 0 32,52 0-17,1 0 1,17-17-16,-17 17 15,17-18 1,-19 0-16,19 0 16,0 1-16,0 0 15,19-19-15,-19 1 16,0 18-16,0-19 0,0 18 16,0 1-16,0-19 0,0 19 0,0-18 15,0 16-15,0 2 0,17-18 16,-17-1-1,0 19-15,0 0 0,0-2 16</inkml:trace>
  <inkml:trace contextRef="#ctx0" brushRef="#br0" timeOffset="31159.95">28892 3241 0,'0'53'16,"18"1"-16,-18-37 0,0 0 15,0 18-15,0-16 0,18 33 16,-18-16-16,0-19 0,0 0 15,18 54-15,-18-54 16,0 2 0</inkml:trace>
  <inkml:trace contextRef="#ctx0" brushRef="#br0" timeOffset="32060.82">28910 2994 0,'36'-17'0,"-2"17"15,-16-19-15,18 19 0,-2-17 16,20 17-16,-1-17 0,18 17 16,-19-18-16,18 18 0,160-36 15,-160 36-15,18-17 16,71 0-16,-88 17 15,-1-18-15,-16 18 0,16 0 0,53-18 16,-87 18 0,-1-18-16,1 18 0,-2 0 0,2 0 15,-18 0-15,16 0 0,2 0 0,-18 0 16,52 0-16,-52 0 16,-1 0-16,19 0 0,-19 0 15,1 0-15,0 0 0,0 18 16,16-18-16,2 18 15,-18-18-15,-1 18 0,0-18 16,2 17-16,-2 0 0,1-17 0,-1 19 16,2-19-16,33 35 15,-35-18-15,2-17 0,-2 17 0,0 19 16,1-1-16,0-16 0,0 15 16,-18-16-16,17 18 0,-17-2 15,17 20-15,-17-20 16,0 2-16,19-1 0,-19 1 0,17-19 15,-17 18-15,0 1 0,18-1 0,-18 18 16,17 0 0,-17-18-16,0-18 0,0 19 15,0-18-15,0-1 0,0 19 0,0-1 16,0-17-16,0 0 0,0-1 16,0 0-16,0 1 0,0 0 15,0 0-15,-17-18 0,17 17 0,0 0 16,-18 2-16,1-19 15,17 17-15,-19-17 0,2 18 16,0-18-16,-1 0 0,0 0 16,0 17-16,-52-17 15,-1 17-15,36-17 0,-35 19 16,16-19-16,2 0 0,-1 17 0,-18-17 16,-53 18-16,-16-18 15,-18 17-15,68-17 16,-103 0-16,86 0 15,19-17-15,0 17 0,-124 0 16,160 0-16,-1 0 0,18-18 16,17 18-16,-34 0 15,33-17-15,2 17 0,-1 0 16</inkml:trace>
  <inkml:trace contextRef="#ctx0" brushRef="#br0" timeOffset="36459.28">22578 4812 0,'53'0'32,"-1"0"-32,-33 0 15,69 0-15,158-19 16,-175 19-1,-18 0-15,87 0 0,-16-17 16,-53 17-16,53 0 16,-36 0-1,-53 0-15,18 0 0,18 0 0,-1 0 16,-52 0 0,-1 0-16,0 0 0,19 0 15,-18 0-15,-1 0 16,2 0-1,-2 0 1,0 0 0,-34 17 15,0-17-15</inkml:trace>
  <inkml:trace contextRef="#ctx0" brushRef="#br0" timeOffset="37514.55">25576 4812 0,'142'-19'0,"-108"19"15,2 0-15,52-17 0,35 17 16,-52-18-16,53 18 0,-54-17 15,124 17 1,-141-19 0,-36 19-16,37 0 0,-37 0 15,2 0-15,-2 0 16,0 0-16,1 0 62</inkml:trace>
  <inkml:trace contextRef="#ctx0" brushRef="#br0" timeOffset="38689.04">28470 4758 0,'-19'0'0,"72"18"47,-35-18-31,106 0 0,-36-18-16,-18 18 15,-16 0-15,16 0 0,0 0 0,124 0 16,-123 0-1,-36 0-15,18 0 0,-18 0 0,18 0 16,0 0-16,-18 0 0,1 18 16,-1-18-16,1 0 0,16 0 15,-16 0-15,-2 0 16,-15 0-16,-2 0 16,1 0-16,-1 0 0,0 0 15,2 0 1,-19 17-1,17-17-15,-17 19 32,-17-2-17</inkml:trace>
  <inkml:trace contextRef="#ctx0" brushRef="#br0" timeOffset="45377.29">4903 9980 0,'-17'0'0,"-1"0"16,1 0 0,69-19 15,-33 19-31,103 0 16,-68-17-16,175-1 31,-141 18-31,0-17 0,19 17 0,-2 0 0,0-17 15,125 17-15,-124-19 16,17 19-16,-16 0 0,122-17 16,-106-1-16,1 18 0,-2 0 15,108-17-15,-106 17 16,105 0-16,-141-19 0,88 19 16,-87 0-16,-18 0 0,-2-17 15,2 17-15,53 0 16,-71-17-16,35 17 0,-53 0 15,-18 0-15,19 0 0,-18 0 16,18 0-16,-19 0 0,0-18 16,1 18-16,0 0 0,0 0 15,-1 0-15,0 0 32,1 0-1</inkml:trace>
  <inkml:trace contextRef="#ctx0" brushRef="#br0" timeOffset="48637.19">5115 11408 0,'36'-18'31,"-19"18"-15,37 0-16,-37-17 15,18 17-15,1 0 0,52 0 16,-35-17-16,70 17 15,-70 0-15,18-19 0,-19 19 16,18 0-16,1 0 0,-18-17 0,18 17 16,0 0-16,-19 0 0,18 0 15,37 0-15,-19 0 16,-35 0-16,-18 0 0,18 0 0,-18 0 16,18 0-16,1 0 0,-20 0 15,20 0-15,104 0 16,-52 0-16,-53 0 0,0 0 15,-1 0-15,-16 0 0,16 0 16,-16 0-16,16 0 0,38 17 16,-2-17-16,-54 0 15,2 0-15,16 0 0,-16 0 0,-1 0 16,1 0-16,-19 0 0,54 19 16,0-19-16,-37 0 15,2 0-15,-18 0 0,16 0 0,2 0 16,-1 17-16,-16-17 0,69 0 15,-71 0 1,18 17-16,1-17 0,-19 0 0,0 0 16,19 0-16,-18 0 0,16 0 0,2 0 15,52 0 1,-70 0-16,18 18 0,-2-18 0,-16 0 16,18 0-16,-2 0 0,2 0 0,-18 0 15,18 0-15,-19 0 0,54 0 16,-37 0-16,-16 0 0,18 0 15,-2 0-15,2 0 0,-1 0 0,-18 0 16,125 0 0,-125 0-16,19 0 15,-19 0-15,19 0 0,-1 0 0,-18 0 16,19 0-16,52 0 16,-70 0-16,18 0 15,-2 0-15,-16 0 0,18 0 0,-2 0 0,-16 0 16,0 0-16,17 0 15,36 0-15,-54 0 16,19 0-16,-19 0 0,1 0 0,-1 0 16,2 0-16,-2 0 0,0 0 0,1 0 15,0 0 1,0 0-16,-1 0 16,-17-18-1,-17 36 16,-1-18-15</inkml:trace>
  <inkml:trace contextRef="#ctx0" brushRef="#br0" timeOffset="55985.17">5662 12925 0,'53'0'16,"0"0"-16,53-17 15,-18 17 1,0 0-16,18 0 0,0-18 0,123 18 16,283-18-1,-265 0 1,-1 1-16,-122 17 0,87-17 15,-104 17-15,-19 0 0,-18-19 16,1 19-16,158-17 16,-194 17-16,36 0 15,-18 0-15,-18 0 16,-17 0 0,0 0-16,-1 0 0,0-18 0,1 18 15</inkml:trace>
  <inkml:trace contextRef="#ctx0" brushRef="#br0" timeOffset="70321.45">26423 6098 0,'0'-17'0,"0"53"141,0-19-126,0 1 1,0-1-16,0 0 0</inkml:trace>
  <inkml:trace contextRef="#ctx0" brushRef="#br0" timeOffset="70627.62">26458 6345 0,'0'19'16,"0"-2"0,0 0 15,0 1-16</inkml:trace>
  <inkml:trace contextRef="#ctx0" brushRef="#br0" timeOffset="70961.33">26423 6610 0,'0'18'32,"0"-1"-1,0 2-15</inkml:trace>
  <inkml:trace contextRef="#ctx0" brushRef="#br0" timeOffset="71243.31">26440 6874 0,'-17'0'16,"17"19"-1,0-2 1</inkml:trace>
  <inkml:trace contextRef="#ctx0" brushRef="#br0" timeOffset="71487.25">26440 7069 0,'0'17'47,"0"1"-47,0 0 31,0 0-15</inkml:trace>
  <inkml:trace contextRef="#ctx0" brushRef="#br0" timeOffset="71724.98">26458 7298 0,'0'18'32,"-18"-1"-17,18 2 1,0-2 0,0 0-1</inkml:trace>
  <inkml:trace contextRef="#ctx0" brushRef="#br0" timeOffset="71898.23">26440 7457 0,'0'17'0,"0"1"47,0 0-16,0 0-31</inkml:trace>
  <inkml:trace contextRef="#ctx0" brushRef="#br0" timeOffset="72071.3">26440 7633 0,'18'0'31,"-36"17"0,18 2-15,0-2-16</inkml:trace>
  <inkml:trace contextRef="#ctx0" brushRef="#br0" timeOffset="72245.2">26440 7792 0,'0'18'15,"0"0"17</inkml:trace>
  <inkml:trace contextRef="#ctx0" brushRef="#br0" timeOffset="72475.24">26458 7916 0,'0'17'0,"0"0"94,0 2-78</inkml:trace>
  <inkml:trace contextRef="#ctx0" brushRef="#br0" timeOffset="72647.13">26458 8004 0,'0'17'16,"0"0"-1</inkml:trace>
  <inkml:trace contextRef="#ctx0" brushRef="#br0" timeOffset="72840.53">26476 8180 0,'0'18'47,"0"0"-31,-18-1-16,18 0 16</inkml:trace>
  <inkml:trace contextRef="#ctx0" brushRef="#br0" timeOffset="73025.21">26458 8357 0,'0'17'16,"18"-17"-1,-36 18 16,18-1-15</inkml:trace>
  <inkml:trace contextRef="#ctx0" brushRef="#br0" timeOffset="73193.75">26458 8480 0,'0'17'16,"0"2"15</inkml:trace>
  <inkml:trace contextRef="#ctx0" brushRef="#br0" timeOffset="73392.55">26458 8692 0,'0'17'16,"-18"0"-1,18 2 16,0-2-15</inkml:trace>
  <inkml:trace contextRef="#ctx0" brushRef="#br0" timeOffset="73565.46">26423 8833 0,'0'17'16,"0"1"-16,-17 0 31,34 0-15</inkml:trace>
  <inkml:trace contextRef="#ctx0" brushRef="#br0" timeOffset="73725.75">26423 8956 0,'0'18'0,"0"0"31,0-1 16</inkml:trace>
  <inkml:trace contextRef="#ctx0" brushRef="#br0" timeOffset="73872.14">26440 9114 0,'-17'19'16,"17"-2"-1</inkml:trace>
  <inkml:trace contextRef="#ctx0" brushRef="#br0" timeOffset="74170.47">26476 9380 0,'-18'17'0,"18"0"31</inkml:trace>
  <inkml:trace contextRef="#ctx0" brushRef="#br0" timeOffset="74324.31">26458 9521 0,'0'17'0</inkml:trace>
  <inkml:trace contextRef="#ctx0" brushRef="#br0" timeOffset="74488.12">26458 9644 0,'0'18'0,"0"0"31</inkml:trace>
  <inkml:trace contextRef="#ctx0" brushRef="#br0" timeOffset="74624.14">26440 9750 0,'0'18'16</inkml:trace>
  <inkml:trace contextRef="#ctx0" brushRef="#br0" timeOffset="74891.39">26440 9961 0,'0'0'16,"-17"0"-16,17 19 15</inkml:trace>
  <inkml:trace contextRef="#ctx0" brushRef="#br0" timeOffset="75049.56">26458 10050 0,'0'18'31,"0"-1"-15</inkml:trace>
  <inkml:trace contextRef="#ctx0" brushRef="#br0" timeOffset="75201.78">26458 10121 0,'0'17'0,"0"1"16</inkml:trace>
  <inkml:trace contextRef="#ctx0" brushRef="#br0" timeOffset="75353.27">26476 10244 0,'0'17'16,"0"2"0</inkml:trace>
  <inkml:trace contextRef="#ctx0" brushRef="#br0" timeOffset="75483.14">26511 10350 0,'17'0'0,"-17"18"16,-17-1-1</inkml:trace>
  <inkml:trace contextRef="#ctx0" brushRef="#br0" timeOffset="88183.52">16527 14565 0,'36'0'16,"-19"-17"-16,71 17 16,19-18-16,-36 18 0,-19 0 15,18 0-15,1 0 0,0 0 16,141-17 0,-160 17-16,89 0 0,-70 0 15,-18 0-15,18 0 0,34-19 16,-52 19-16,-18 0 0,1 0 15,35 0-15,-19 0 16,-34 0-16,0 0 0,16 0 16,-15 0-16,-2 0 15,1 0-15,70 0 16,-71 0-16,2 0 16,15 0-16,2 0 15,-18 0-15,-1 0 0,0-17 16,37 17-16,-37 0 0,36 0 15,-35 0-15,-1 0 0,19 0 16,-19 0-16,37 0 16,-20 0-16,-16 0 0,18 0 0,-19 0 15,18 0-15,1 0 0,-19 0 16,19 0-16,-1 0 0,-18 0 16,19 0-16,16 0 0,-16 0 0,-1 0 15,-17 0-15,52 0 0,-52 17 16,17-34-16,1 17 15,35 0-15,-19 0 16,-16 0-16,-19 0 0,36 0 16,-35 0-16,16 0 15,-15 0-15,-2 0 0,1 0 0,-1 0 16,0 0-16,19 0 16,-1-17-16,-16 17 0,15 0 15,-16 0-15,0 0 16,0 0-16,-1 0 0,0 0 15,19 0-15,-18 0 16,-1 0-16,0 0 16,2-18-16,-2 18 15,1 0 1,-18-18 0,17 18-16,2-18 15,-19 1 1,0 0 15,17 17-31,-17-18 16,0 0 15,0-17-15,0-1-1,0 1 1,17 35-16,-17-17 15,0-2-15,-17 2 16,0 17 0,-2-17-1,2 17-15</inkml:trace>
  <inkml:trace contextRef="#ctx0" brushRef="#br0" timeOffset="99625.86">26494 10456 0,'0'17'0,"0"0"281,-18 37-281,18-1 31,-18-18-15,18-18-16,0 2 0,0-2 15,-18-17-15</inkml:trace>
  <inkml:trace contextRef="#ctx0" brushRef="#br0" timeOffset="99837.38">26458 10790 0,'-18'18'16,"18"0"0,-17 17-1,17-18 1,0 2 0,0-2-16,-17 1 15</inkml:trace>
  <inkml:trace contextRef="#ctx0" brushRef="#br0" timeOffset="99988.34">26423 11056 0,'-17'17'16,"17"0"-1,0 1 1,0 0 15,17-18-15</inkml:trace>
  <inkml:trace contextRef="#ctx0" brushRef="#br0" timeOffset="112087.53">21431 10756 0,'-17'-54'0,"17"37"0,0 0 0,0-2 16,0 2-16,-18-35 15,18 16-15,0 18 0,0 1 0,0-2 16,0 2-16,0 0 15,0-1-15,-18-18 16,18 19 0,0 0-1</inkml:trace>
  <inkml:trace contextRef="#ctx0" brushRef="#br0" timeOffset="112332.95">21484 10368 0,'-17'-18'16,"-19"36"-16,36-1 15,-53 18 1,53-17-16,-52 34 16,34-16-16,0-18 15,-17 35 1,-1-18 0</inkml:trace>
  <inkml:trace contextRef="#ctx0" brushRef="#br0" timeOffset="112537.92">21360 10402 0,'71'18'16,"-54"-18"-16,19 18 0,-1-18 0,-16 18 15,-2-18-15,0 17 0,18 19 16,-35-19-16,19-17 16,-19 18-16</inkml:trace>
  <inkml:trace contextRef="#ctx0" brushRef="#br0" timeOffset="113740.01">21308 9556 0,'0'-18'15,"18"53"17,-18-16-32,0-2 15,0 54 1,0-54-16,17 0 15,-17 1-15,0 18 16,0-19 0,0 0-16,0 2 15,17-55 17,-17 19-32,18 17 15,-18-18-15,18 18 0,0-18 16,-18 0-16,17 18 15,0 0-15,2 0 16,-2 0 0,1 0-16,-18 18 0,17-18 0,2 36 31,-19-19-31,17-17 0,-17 17 16,0 2-16,17-19 15,-17 17 1</inkml:trace>
  <inkml:trace contextRef="#ctx0" brushRef="#br0" timeOffset="113900.85">21714 9680 0,'-18'17'31,"18"0"-16,0 1-15</inkml:trace>
  <inkml:trace contextRef="#ctx0" brushRef="#br0" timeOffset="114069.66">21714 9521 0,'-18'-17'16,"18"-2"-1</inkml:trace>
  <inkml:trace contextRef="#ctx0" brushRef="#br0" timeOffset="114446.36">21943 9521 0,'-36'0'0,"19"17"16,-1-17-16,1 18 15,-2-18-15,2 36 16,17-19-1,-17 0 1,34-17 0,0 18-16,37 0 31,-37-18-31,2 18 0,-2-18 16,-17 17-16,17 0 15,-17 1 1,-17 0-1,17 0-15,-17-1 0,-2-17 16,19 17-16,-17-17 16,-1 19-16,1-19 15,-2 0 1,19-19 0</inkml:trace>
  <inkml:trace contextRef="#ctx0" brushRef="#br0" timeOffset="114833.11">21995 9326 0,'36'36'31,"-36"-18"-31,17 16 16,-17-15-16,18-2 0,-18 1 16,0-1-16,0 2 0,18-2 15,-18 0 1,0 1 0,35-18 15,-18-18-16,2 18 1,-2 0-16,1 0 16,-1 18-16,0-18 15,2 0-15,-2 0 0,1 0 16,35-18 0</inkml:trace>
  <inkml:trace contextRef="#ctx0" brushRef="#br0" timeOffset="115141.24">22560 9221 0,'-36'0'0,"72"0"0,-89 17 31,53 19-15,0-18-16,17-1 15,-17 0-15,19 1 0,-2 18 16,1-19 0,-18 0-16,17 2 0,-17-2 0,17 1 15,-34-1 1,17 2-16,-17-2 16,-1 0-16,1 1 15,-2-18-15,2 17 16,0-17-16</inkml:trace>
  <inkml:trace contextRef="#ctx0" brushRef="#br0" timeOffset="116637.67">22842 9274 0,'0'0'15,"0"-18"-15,-35 54 47,35-19-47,-17 18 16,17-17-16,0 0 16,0-1-16,0 0 0,34 2 31,-16-19-31,0 0 15,0 0-15,-1-19 16,0 19-16,2-17 16,-2 17-16,1-17 0,-1 17 15,2 0 1,-2 17 0,0-17-16,1 17 15,-1 2 1,19-19 15,-36-19-15,17 2-16,-17 0 15,0-19-15,18 18 0,-18 1 16,0-18-16,0 17 0,0-17 0,0-89 31,0 107-31,0-1 0,0-35 16,0 36-16,0-19 15,0 18-15,0 1 16,-18 52 15,1-17-31,17 0 16,0 16-16,-17 2 16,17-18-16,-19 70 15,2-52 1,17 16-16,0-34 0,-18 0 15,18-1 1,0 0-16,0 1 0,-17 18 0,17 34 31,-17-52-31,17-1 16,0 2-16,0-2 16,17-34 15,0-2-31,1-16 15,-1 35-15,2-36 0,-2 36 16,-17-17-16,17 17 16,1 0-16,0 0 15,0 0 1,-1 17 0,0-17-16,2 19 0,-2-38 15,18 19 1,-18-17-16,2 17 15,-2-17-15,37-19 16,-37 18 0,0 18-1,1 18 17,-18 0-17,18-18 1,-18 18-16,18-18 0,16-18 31,-16 0-15,-18 0-1,0 1-15,-18-18 16,1 35 0,17-18-16,-17 18 15,-1 18 1,53-18 31,-18 0-32,1-18-15,0 36 16,17-18 0,-18 18-1,2-18 16,-2 0-31,1 0 16,-1 0-16,0 0 0,2-18 16,-2 18-16,-17-18 0,35-17 31,-16 18-31,-19-2 0,0 2 0,0-18 16,0-1-16,0-16 15,0 16-15,-19 19 0,19-1 16,0 0-16,-17 0 15,-1 36 1,1-18 0,17 18-16,0 17 0,-19-18 15,19 19-15,0-18 0,19-1 16,-19 0-16,17 2 16,18 33-1,-16-33-15,-2-2 16,0 0-1</inkml:trace>
  <inkml:trace contextRef="#ctx0" brushRef="#br0" timeOffset="122970.94">20867 11249 0,'0'36'109,"-17"-19"-93,17 1 0,0-1-1,0 2-15,0-2 16,0 0 0,17-17-16,-17 18 0,17-1 15,-17 2 1,18-19-1,-1 0 1,-17 17-16,19-17 0,-2 0 16,0-17-1,1 17 17,-18-19-17,18 19-15,-18-17 16,18-1-1,-18 1 1,0 0 0,0-2 15,0 2-15,0-1-1,-18 1 1,18-2 15,-18 19-15,18-17-1,-18 17 1,18-17 15,-17 17-31,0 0 47,-2 0-31,2 0 15,-1 17 0,1-17 0,17 17-15,-17-17 0,17 19-1,0-2 1,0 1 15,0-1-31,0 2 31,0 15-15,0-16-16,17-18 16,-17 17-16,0 2 31,17-19-31,-17 17 0,18 0 16,-1-17 15,2 0-31,-2 0 15,0 0 1,1 0 0,0 0-16,0 0 15,-1-17 17,0 17-32,-17-17 0,19 17 15,-19-19-15,17 2 16,-17-1-1,-17 1 1,17-19 0,-19 36-1,2 0 1,-18 0 0,17 0-16,0 0 0,-16 0 15,15 0-15</inkml:trace>
  <inkml:trace contextRef="#ctx0" brushRef="#br0" timeOffset="124609.79">20972 11249 0,'-17'0'0,"0"0"0,-2 0 31,2 0-15,-1 0-1,18 17 1,-17-17-16,17 19 0,-17-2 31,17 1-31,-19-1 16,19 2-1,0-2 1,19 0 0,-19 1-16,17-1 15,0-17 1,-17 19-16,18-19 16,18 0-1,-19 0 1,0 0-1,1 0 1,0 0 0,0-19-1,-1 2 17,-17-1-17,0 1 1,0 0-1,0-19 1,-17 18 0,-1 1 15,0 17-31,0 0 0,1 0 16,0 0 15</inkml:trace>
  <inkml:trace contextRef="#ctx0" brushRef="#br0" timeOffset="130267.82">31996 10878 0,'0'-17'31,"0"53"0,0-19-15,0 1-16,-17-18 15,17 17-15,0 2 0,-17 33 16,17-35 0,-18-17-16,18 19 0,0-2 0,0 0 15,-17 1 1,34 0-16,-17 0 15,18-1 1</inkml:trace>
  <inkml:trace contextRef="#ctx0" brushRef="#br0" timeOffset="130890.38">31927 11356 0,'17'-19'0,"1"19"16,-1 0-1,-17 19 1,0-2-16,-17-17 0,17 17 0,-18 1 16,1-1-1,17 2 1,17-2-1,1-17 1,-18 17-16,17-17 0,0 0 16,-17 18-16,19-18 15,-19 18 1,0 0-16,-36-1 31,19-17-31,-1 0 0,1 0 0,-2 0 16,2 17-16,-18-34 31</inkml:trace>
  <inkml:trace contextRef="#ctx0" brushRef="#br0" timeOffset="131325.62">32226 11356 0,'-35'0'47,"18"17"-31,17 0-1,0 1 1,0-1 0,0 2-16,0-2 15,17 0 1,-17 1-1,-17 0 1,-2 0 0,2-18-16,-18 17 15</inkml:trace>
  <inkml:trace contextRef="#ctx0" brushRef="#br0" timeOffset="131656.91">32279 11408 0,'17'0'15,"-34"17"32,17 2-31,0-2-16,17 0 15,2 1 1,-2-18 0,1 0-16,-1-18 15,0 18-15,-17-17 16,0 0 0,0-2-16,0 2 0,-17-1 15,17 1-15,-17 17 16,-1 0-1,1 0-15,-19 0 16,36 17-16,-17-17 16</inkml:trace>
  <inkml:trace contextRef="#ctx0" brushRef="#br0" timeOffset="132766.76">32015 11761 0,'-19'53'47,"19"-35"-16,36-18 16,-18 0-31,18 0 15,-19 0-31,0 17 16,1-17-1,-18 17 1,17-17 0,2 0-1,-2 0 32,0-17-31,1 17-1,0 0-15,0 0 16,-1 0 0,0 0-1,-17 17 1,0 1 0,0 0-1,-17-18 1</inkml:trace>
  <inkml:trace contextRef="#ctx0" brushRef="#br0" timeOffset="132905.81">32403 11708 0,'-19'0'16</inkml:trace>
  <inkml:trace contextRef="#ctx0" brushRef="#br0" timeOffset="133244.89">32384 11832 0,'0'17'16,"0"0"15,19-17-15,-2-17 15,1 34-16,-1-17 1,2 0 15,-2 0-15,0 0 0,-17-17-1,18 17 1</inkml:trace>
  <inkml:trace contextRef="#ctx0" brushRef="#br0" timeOffset="133622.85">32562 11832 0,'0'-36'16,"34"18"-1,-68 72 1,68-125-16,-16 71 16,-18 17 30,0 19-30,18-36 0,-18 18-1,18-18 1,-1-18-16,0 18 16,2-18-16,-2 0 15,1 18-15,-18-17 0,17 0 16,0-2-1,-17 55 32,-17-19-15,17 1-32,0 0 15,17-18-15,-17 18 16,0-1-1</inkml:trace>
  <inkml:trace contextRef="#ctx0" brushRef="#br0" timeOffset="134221.57">32950 11514 0,'0'0'0,"-18"35"31,18-18-31,0 2 0,0-2 16,-18 1-16,18 16 15,-18-15-15,18 16 16,-17-35-16,17 17 0,-17-17 16,17 19-16,-19-19 15,2 0 17,-1-19-17,53 2 32,18-1-31,-35 18-16,18 0 31,-19 0-31,-17-17 0,17 17 16,1 0-1,-18 17 1,18 1 15,-18-1-31,-18 2 31,0-2-15,1-17 0,17 17-16,-17-17 15</inkml:trace>
  <inkml:trace contextRef="#ctx0" brushRef="#br0" timeOffset="139555.66">20814 11602 0,'0'18'0,"17"-18"16,2 0 0,-2 0-1,0-18 1,1 18-1,18-17 1,-19 17 0</inkml:trace>
  <inkml:trace contextRef="#ctx0" brushRef="#br0" timeOffset="146753.44">26423 9362 0,'35'-18'47,"1"18"-47,88-35 31,-72 18-31,-16-1 0,34 0 0,-18-17 16,19 18-16,88-54 15,18 0-15,-89 35 0,17 2 16,1-2-16,123-34 0,-122 34 15,-2 2-15,2 15 0,86-33 16,-105 16-16,0 19 0,-17-1 16,-18 1-16,0 17 0,18-19 15,-54 2-15,1 17 0,16-17 16,2 17 0,-18 0-16,-18-18 0,17 18 0,2 0 15,-19-18 16</inkml:trace>
  <inkml:trace contextRef="#ctx0" brushRef="#br0" timeOffset="147092.01">28663 8374 0,'17'0'15,"2"0"1,16 0-16,-18 18 16,36-1-1,1 2-15,-37-2 0,36 18 16,-53-18-16,18 2 15,-1 15 1,-17-16-16,0 0 0,0 0 0,0-1 16,-17 19-16,-1-19 0,18 1 15,-18-1-15,0-17 16,1 17-16,0 2 0,-2-2 0,19 1 16,-17-18-16</inkml:trace>
  <inkml:trace contextRef="#ctx0" brushRef="#br0" timeOffset="147496.85">29563 8250 0,'0'-17'0,"0"34"0,17 1 32,-17 0-32,0 0 15,0-1-15,0 36 16,0-18-16,0 72 31,0-90-15,0 0-16</inkml:trace>
  <inkml:trace contextRef="#ctx0" brushRef="#br0" timeOffset="147893.45">29880 8216 0,'-88'0'0,"71"0"15,-2 17-15,2-17 0,17 17 16,-17 1-16,-1-18 0,18 18 16,-18 17-1,18-18 1,18-17-16,0 19 15,-1-19-15,0 0 16,2 0-16,-2 0 16,18 17-1,-35 1 1,0-1-16,17 2 16,-17-2-16,0 0 15,0 1-15,0-1 0,0 2 16,0-2-1,19 0 1</inkml:trace>
  <inkml:trace contextRef="#ctx0" brushRef="#br0" timeOffset="148292.01">30180 8268 0,'-17'0'0,"-19"0"15,19 0 1,-1 0-16,18 18 0,-53-18 15,53 18 1,0-1-16,0 0 16,17-17-16,-17 19 15,36-19-15,-36 17 16,18-17-16,-1 18 0,0-18 16,-17 17-16,19 2 15,-19-2-15,-19-17 16,-15 17-1,-2 1-15,18-1 0,1-17 16,-18 19-16,-1-2 0,-88 18 16</inkml:trace>
  <inkml:trace contextRef="#ctx0" brushRef="#br0" timeOffset="164725.95">22683 10985 0,'0'35'250,"0"1"-234,-17-19-16,17 0 15,0 1-15,-18 0 0,18 0 16,0-1-16,-17 19 0,17-19 16,-19 1-16,19-1 15</inkml:trace>
  <inkml:trace contextRef="#ctx0" brushRef="#br0" timeOffset="165581.76">22631 11425 0,'17'36'31,"-17"-19"-15,-17 1-16,17 0 15,0 17-15,0-18 0,0 2 16,0-2 0</inkml:trace>
  <inkml:trace contextRef="#ctx0" brushRef="#br0" timeOffset="166298.06">22807 11408 0,'17'0'16,"1"-18"-16,0 36 16,0-18-1,-18 36 1,0-19-1,-18 0-15,18 1 16,-18 0-16,0 0 16,1-1-1,0 0-15,17 2 16,-18-19 0,18 17-16,18-17 31,-1 0-31,0 0 15,19-17 1,-18 17-16,-1 0 16,0 0-1</inkml:trace>
  <inkml:trace contextRef="#ctx0" brushRef="#br0" timeOffset="166775.84">23178 11408 0,'-54'17'32,"37"-17"-17,0 19 1,34-2 31,-17 0-47,17-17 15,1 18 1,-18 0-16,0 0 31,-18-1-31,1-17 16,17 17-16,-17-17 0,-2 19 0,-50 16 15,50-35 1,2 17-16,-1-17 0</inkml:trace>
  <inkml:trace contextRef="#ctx0" brushRef="#br0" timeOffset="173614.07">30251 10985 0,'0'35'78,"0"-18"-62,0 19 0,17-19-1,-17 19-15,0-18 16</inkml:trace>
  <inkml:trace contextRef="#ctx0" brushRef="#br0" timeOffset="174781.39">30092 11337 0,'35'-17'15,"-18"17"-15,2 0 16,-2 0 0,-17 17-1,0 2-15,-36 33 16,19-35-1,-18 19 1,35-19-16,-18-17 0,0 18 16,1 0-1,34-18 17,1 0-17,18 0 1,-19 0-16,0-18 15,2 18-15,-2 0 0,1 0 16,-18-18-16,17 18 0,2 0 16</inkml:trace>
  <inkml:trace contextRef="#ctx0" brushRef="#br0" timeOffset="175194.22">30374 11285 0,'18'-19'31,"0"19"-15,-18 19-1,0 16-15,0-18 16,0 19-1,0-1 1,0-18-16,0 2 16,0-2-1,0 0-15,0 1 16</inkml:trace>
  <inkml:trace contextRef="#ctx0" brushRef="#br0" timeOffset="175411.14">30322 11444 0,'17'-19'16,"0"19"-16,1-17 15,0 17 1,0 0-16</inkml:trace>
  <inkml:trace contextRef="#ctx0" brushRef="#br0" timeOffset="176504.4">30444 11285 0,'-17'-19'46,"0"19"-30,-1 0 0,0 0-1,0 0 1,-16 19 0,34-2-1,-19-17-15,2 18 16,17-1-1,-18-17 1,18 19-16,0-2 16,18 0-16,-1-17 31,-17 18-31,19-18 16,-2-18-1,0 18-15,1-17 16,0 34 31,-36 54-32,18-54-15,-18-17 16,18 18-16,-17 35 16,17-36-16,0 2 0,-17-2 15,17 1 1,0-1-1</inkml:trace>
  <inkml:trace contextRef="#ctx0" brushRef="#br0" timeOffset="176974.21">30551 11356 0,'-19'17'16,"19"0"-1,-17 18 1,17-16 0,17-2-1,2-34 16,-19-2-15,0 2-16,0-1 16,-19-16-1,2 15-15,0 19 16,-1 0-16,0 0 16,-17-17-16,18 34 15</inkml:trace>
  <inkml:trace contextRef="#ctx0" brushRef="#br0" timeOffset="182659.93">22560 11761 0,'0'-17'0,"35"17"16,18 0-1,-35 0-15,-1 17 16,19-17-16,69 0 16,-34 0-16,-35 0 15,35 0-15,-37 0 16,54 0-16,-52-17 0,-1 17 15,-18 0-15,19 0 0,-18 0 0,35-19 16,-18 19 0,-18 0-16,2 0 0,-2-17 15,0 17-15,1 0 0,0 0 0,0-18 16,16 18-16,-34-17 16,18 17-16,-18-19 0,18 19 15,-18-17-15,18 17 16,-18-17-16,17-1 0,-17 1 15,0-2 1,0 2-16,0 0 16,0-1-1,0 0-15,-17 18 0,17-18 16,-18 18-16,18-17 0,-18 17 16,18-17-16,-18-2 15,1 19-15,17-17 16,-17 17-16,-1-18 0,0 18 15,18-17-15,-18 17 0,1 0 0,-19-17 16,36-2 0,-17 19-16,-1-17 0,1 17 15,-2 0-15,19-18 0,-17 18 16,0 0-16,-18-17 16,16 17-16,2 0 15,0 0-15,-1-19 0,-18 19 16,19 0-1,0 0-15,-2 0 16,2-17-16,-1 17 0,1 0 16,0 0-16,-19 0 15,18 0-15,1 0 0,-2 0 16,-15 0-16,16 0 16,-18 0-1,19 0-15,0 0 16,-1 0-16,0 0 15,0 0 1,1 0 0,0 17-16,-2-17 15,2 0-15,-1 0 16,1 19 0,-19-19-1,19 17-15,-1-17 16,1 18-16,-2-18 15,2 17 1,0 2 0,-1-19-16,18 17 0,-18-17 15,18 35-15,-18-35 16,18 17-16,-17 19 0,0 17 16,17-35-1,0-1-15,17 0 0,-17 19 0,0-18 16,17-1-16,1 19 0,0-19 15,0 1-15,-1-1 0,0 2 16,2-19-16,16 17 0,18-17 16,-18 0-16</inkml:trace>
  <inkml:trace contextRef="#ctx0" brushRef="#br0" timeOffset="184478.02">30004 11673 0,'18'0'16,"-1"17"-1,0-17-15,1 0 16,35 0 0,-36 0-16,19 0 15,-18 0-15,18 0 0,-19 0 16,0 0-16,1 0 0,-1 0 0,2 0 16,-2 0-16,36-17 15,-35 17-15,-1 0 16,0 0-16,-17-19 0,18 19 15,0 0-15,0 0 0,-1-17 16,0 17 0,2-17-1,-2 17-15,-17-18 16,18 18-16,-18-17 31,17-2-15,-17 2-1,0 0 1,19 17 0,-19-18-1,17 18 1,-17-18 0,0 0-1,17 1 1,-17 0-1,0-2 1,0-16 0,-17 35-1,17-17-15,-17 0 16,17-2 0,-19 19-16,2-17 0,17-1 15,-18 18-15,1-17 16,-2 17-16,2-19 15,0 19 1,-1 0-16,18-17 0,-18 17 16,0 0-16,1-17 15,0 17-15,-1 0 16,-18 0 0,36-18-16,-17 18 15,0 0-15,-2 0 16,2 0-1,-1-17-15,1 17 16,0 0 0,-2 0-1,2 0-15,-1 0 16,1 17 0,-19-17-1,19 0-15,-1 0 16,0 0-1,18 18-15,-35-18 16,18 17 15,-1 0-15,0-17-16,0 19 16,1-19-1,17 17-15,-17-17 16,-2 18-16,2-1 15,17 2-15,-18-2 16,18 0 0,0 1-16,0-1 0,-17 2 15,34 33 1,-17-34-16,0 0 0,0-1 0,18 0 16,-18 2-16,36 16 15,-2-18-15</inkml:trace>
  <inkml:trace contextRef="#ctx0" brushRef="#br0" timeOffset="192168.19">24095 11020 0,'0'-18'62,"0"53"63,0-16-125,17 15 0,-17-16 16,0 35-16,0-17 0,0-19 15,0 18-15,0-18 0,-17 19 16,17 35-16,0-36 0,-17-18 16,17 36-16,0-35 15</inkml:trace>
  <inkml:trace contextRef="#ctx0" brushRef="#br0" timeOffset="192856.32">24095 11425 0,'-17'0'32,"17"19"14,0-2-46,0 0 16,0 1-16,0 0 0,0 0 16,0-1-16,-19 0 0,19 2 0,0 16 15,-17-1-15,17 2 0,0-18 16,-18 18-16,18-2 0,0 2 0,-17 70 16,17-72-1,0-15-15,0-2 0</inkml:trace>
  <inkml:trace contextRef="#ctx0" brushRef="#br0" timeOffset="193670.37">23866 12308 0,'0'17'31,"0"0"-31,0 2 16,0-2-16,0 18 15,0-16-15,0-2 16,-18 0-16,18 1 15,0 18 1,0-19-16</inkml:trace>
  <inkml:trace contextRef="#ctx0" brushRef="#br0" timeOffset="194504.46">24130 12308 0,'17'-18'0,"2"18"16,-19-17-1,-36 34 16,18-17-15,1 18 0,0-18-16,-2 17 15,2 0 1,17 2 0,0-2-16,17-17 15,2 18-15,-2-1 16,0 2-1,1-19-15,-18 17 16,17 0 0,-34 1-16,-1-1 31,1-17-31,0 19 16,-2-19-16,19 17 0,-17-17 15,-1 0-15,1 0 16</inkml:trace>
  <inkml:trace contextRef="#ctx0" brushRef="#br0" timeOffset="194849.52">24236 12325 0,'0'17'47,"0"2"-47,0-2 0,18-17 15,-18 18-15,17-1 16,0-17 0,1 0-1,0-17-15,0-1 16,-36 1 15,18-2-31,-18 2 16,0 17-1,1 0 1,0 0 0,17 17-16,-18-17 0</inkml:trace>
  <inkml:trace contextRef="#ctx0" brushRef="#br0" timeOffset="195309.01">24447 12308 0,'19'17'31,"-2"0"-15,0 2 0,-17-2-1,18-17 17,-18 18-32,17-18 0,2-18 31,-2 18-16,0 0-15,1-17 16,0 34 0,0-17-16,-1 0 31,19 0-15,-19 0-1,1 0 1,16 18-1,-15-18-15,-2-18 16,1 18-16,-1 0 16,19-17-1,-19 17-15,1-19 0,35 2 16</inkml:trace>
  <inkml:trace contextRef="#ctx0" brushRef="#br0" timeOffset="196311.26">28699 10985 0,'17'17'0,"-17"18"16,0 1-16,0-1 0,0 1 15,18 17-15,-18 175 16,0-175-16,17 1 15,-17-1-15,0 52 16,17-34-16,-17-36 0,0 1 16,0-2-16,0-16 0,0 0 0,0 53 15</inkml:trace>
  <inkml:trace contextRef="#ctx0" brushRef="#br0" timeOffset="197256.89">28504 12378 0,'36'-17'0,"-18"17"16,-1 0-1,-17 35 1,-17 1 0,-1-19-1,0 0-15,0 1 0,1-1 16,17 2-16,-17-19 0,-2 34 31,2-34-31,53 0 31,-2 0-31,-16 0 16,0 0-16,0-17 0,-1 17 0,0 0 16,1 0-16,18-17 15,-19-2-15,0 19 16,2-17-1</inkml:trace>
  <inkml:trace contextRef="#ctx0" brushRef="#br0" timeOffset="197602.84">28858 12342 0,'-19'-17'0,"38"34"0,-55-34 16,18 34 0,1-17-16,-2 19 15,19-2 1,0 1-16,0-1 16,0 2-16,19-19 15,-19 17-15,17 0 0,1-17 16,-18 18-1,0-1-15,0 2 16,0-2-16,-18 0 16,1-17-1,17 18-15,-36 0 16,19-18-16,-1 18 16,1-18-1</inkml:trace>
  <inkml:trace contextRef="#ctx0" brushRef="#br0" timeOffset="197902.09">28928 12413 0,'18'19'16,"-18"-2"-16,17 0 15,0-17 1,1 0-16,0 0 16,0-17-1,-18 0 1,-18-2 0,18 2-16,-18 17 15,0-18 1,-16 18-16,16 0 15,0 0 1,0 18-16</inkml:trace>
  <inkml:trace contextRef="#ctx0" brushRef="#br0" timeOffset="198395.77">29158 12361 0,'17'0'15,"-17"17"1,0 1 0,0-1-16,0 2 31,0-2-16,0 0 1,35-34 15,-18 17 1,2 0-17,-2 0-15,0 0 16,1 17-16,18 1 31,-19-18-15,0 0-1,1 0-15,0 0 16,0 0-16,16 0 16,-34-18-16,36 18 15,-1-17 1,-16 0-16,-2 17 15,-17-19 1,17 2-16</inkml:trace>
  <inkml:trace contextRef="#ctx0" brushRef="#br0" timeOffset="199950.59">26635 6028 0,'141'-52'16,"-89"52"-16,2-19 0,16 2 15,1-1-15,17 1 0,0-19 0,107 1 16,-107 18-16,229-54 15,-88 18 1,-123 36-16,0-19 0,0 18 16,88-35-16,0 18 15,-106 18-15,0 0 0,-35 17 0,18-19 16,-18 2-16,87-1 31,-104 18-31,-1-17 0,-17 17 16,0 0-1,-18-19-15,17 19 0,-17-17 32,0 0-1</inkml:trace>
  <inkml:trace contextRef="#ctx0" brushRef="#br0" timeOffset="200989.12">29068 5234 0,'36'0'31,"-18"0"-31,18 18 16,-19-18-16,18 0 16,-18 18-16,19-18 0,-36 18 15,17-18-15,1 0 16,35 52-1,-53-34-15,17 0 0,-17-1 16,0 36 0,0-35-16,0-1 0,-17 71 31,17-69-31,0-2 0,0 0 16,0 1-16,-17-18 0,17 18 0,0 0 15,17-1-15</inkml:trace>
  <inkml:trace contextRef="#ctx0" brushRef="#br0" timeOffset="201257.05">29775 5234 0,'0'0'0,"0"36"31,0-18-15,0 16-16,0-16 0,0 18 16,0-2-16,0 2 15,0-18-15,0 18 0,0-19 0,0 0 0,0 1 16,0 18-16,0-19 15,0 0-15</inkml:trace>
  <inkml:trace contextRef="#ctx0" brushRef="#br0" timeOffset="201713.44">30074 5376 0,'-18'-36'0,"36"72"0,-53-72 0,18 36 0,-19 0 16,18 0 0,-16 18-16,-2 0 15,18-1-15,18 0 0,-17 2 16,-2-19-16,19 17 0,-17 1 15,17-1-15,0 2 16,0-2 0,17-17-16,2 0 15,-2-17-15,1 17 0,-1 0 16,2 0-16,-2-19 16,0 19-1,1 0-15,0 19 0,0-19 16,-18 17-16,17 0 15,-17 1-15,0-1 0,17-17 16,-17 19-16,0-2 0,0 0 0,0 19 16,0-18-16,0-1 15,0 0-15,0 1 16,-17 0 0</inkml:trace>
  <inkml:trace contextRef="#ctx0" brushRef="#br0" timeOffset="202087.19">30303 5481 0,'-35'0'16,"1"19"0,15-2-16,19 0 15,-17-17-15,34 18 16,-17-1-16,19-17 16,-19 19-16,17-2 0,0 0 0,1 1 15,-1 0-15,2 0 16,-2-1-16,-17 0 15,0 1 1,-17 0-16,-2-18 0,2 18 16,-106 52-1,87-52-15,1-1 16,-1-17-16,2 19 0,16-2 16,-18-17-16,2 17 0</inkml:trace>
  <inkml:trace contextRef="#ctx0" brushRef="#br0" timeOffset="203352.34">26440 7721 0,'54'0'16,"-20"-17"-16,-15 17 0,245-88 31,-176 53-31,-17 16 0,17-15 16,89-20-16,-72 20 0,-17 15 15,18-16-15,159-35 16,-194 35-16,17 16 0,17-15 15,-52 34-15,1-18 0,34 1 16,-54-2-16,-15 19 16,33-17-1,-35 17-15,2 0 0,-19-17 16,17 17-16,1 0 0,-1-18 16,2 18-1,-2-18-15</inkml:trace>
  <inkml:trace contextRef="#ctx0" brushRef="#br0" timeOffset="203759.11">28346 6910 0,'53'18'0,"-18"-18"15,35 36 1,-52-36-16,0 17 0,17 18 16,-18-35-16,1 17 0,0 2 0,0-2 15,-1 0-15,-17 1 16,17 35-16,-17-36 0,0 2 16,0 33-1,0-35-15,0 2 0,0-2 16,0 1-1</inkml:trace>
  <inkml:trace contextRef="#ctx0" brushRef="#br0" timeOffset="204042.44">29246 6752 0,'17'34'15,"-17"20"1,0-20-16,0-15 0,0-2 15,-17 1-15,17-1 0,0 19 16,0-1-16,0-18 16,17 2-16,-17-2 0</inkml:trace>
  <inkml:trace contextRef="#ctx0" brushRef="#br0" timeOffset="204465.16">29686 6752 0,'-18'-18'0,"36"36"16,-53-18-16,18 0 0,-2 0 15,19 17-15,-17-17 16,17 17-16,-18-17 0,18 18 31,35-18-15,-16-18-16,-2 18 16,0 0-1,1-17 1,-18 34-16,18 1 15,-18 18 1,0-19-16,0 19 16,0-19-16,0 1 15,0-1-15,0 2 16,18-2-16,-1 0 16</inkml:trace>
  <inkml:trace contextRef="#ctx0" brushRef="#br0" timeOffset="204925.27">30127 6645 0,'-17'0'16,"-37"0"-1,54 19-15,-17-19 16,17 17 0,17 0-1,1 1 1,0 0-16,-18 0 16,18-18-1,-18 17-15,0 0 16,0 1-16,-18-18 0,0 18 15,0 0-15,1-18 16,0 17-16,-1 0 0,0-17 0,0 19 16,1-2-16,0-17 15,-2 18-15</inkml:trace>
  <inkml:trace contextRef="#ctx0" brushRef="#br0" timeOffset="211018.5">30110 5129 0,'-18'0'15,"18"-19"1,-18 19-1,0-17 17,1 17-1,0 0-31,-1-17 31,-18 17-15,2 0-1,15 0 1,2 17-16,-1-17 16,1 0-16,-2 0 15,2 0 1,0 17 0,-1-17-16,1 0 15,17 19 1,-19-19-16,19 17 15,-17-17-15,17 18 0,-17-18 16,-1 17 0,0 2-1,0-19-15,18 17 16,-17-17-16,0 17 16,-2 1-1,2 0 1,17 0-1,-18-18-15,18 17 0,0 0 16,-17-17-16,17 18 16,-17 18-1,17-2 1,-19 2 0,19-18-1,-17-1-15,-1 19 16,1-1-1,-2-35-15,19 17 16,0 2-16,-17-19 16,17 17-16,-17 0 0,17 1 15,-18-18-15,18 18 16,0 0-16,-18-1 0,18 0 16,0 1-16,-18-18 15,18 18-15,0 0 0,-17-1 16,17 0-16,0 2 15,0-2-15,-17 1 16,17-1-16,0 2 0,0-2 16,0 0-16,-18 1 15,18-1-15,0 2 0,-18-2 16,18 0-16,0 1 16,-18-18-16,18 36 0,-17-19 15,17 0-15,0 2 16,-17-19-16,-2 35 15,2-18 1,17 0-16,0 2 0,-18 16 16,1-35-1,17 17-15,0 2 0,-17-2 16,17 0-16,-19 1 16,19-1-16,-17 2 0,17-2 0,0 0 15,-18 1-15,18 0 16,-17-18-1,17 18-15,0-1 0,-19-17 16,19 17-16,0 2 16,-17-2-16,0 18 31,17-18-31,0 2 16,0-2-16,-18-17 0,18 18 15,0-1-15,-18 19 16,18-19-16,0 1 15,0 0-15,0 0 0,0-1 16,0 0-16,0 1 16,0 0-16,0 0 0,0-1 15,0 0-15,18 2 0,-18-2 0,0 1 16,0-1-16,0 2 0,18 15 16,-18-16-1,0-1-15,17 2 0,-17-2 0,0 0 16,0 1-16,17 18 15,-17-2 1,0-15-16,0-2 16,0 1-16,0-1 15,19 0-15,-19 2 16,0-2-16,0 1 0,0-1 0,0 2 0,0-2 16,17 0-16,-17 1 15,0 18-15,18-19 16,-18 0-16,0 1 15,0 0-15,17-18 0,-17 18 16,0 16 0,0-15-16,0-2 15,0 1-15,0-1 16,0 0-16,19-17 16,-19 19-1,0-2-15,0 1 16,0-1-16,0 2 15,0-2-15,0 0 16,17 1-16,-17 0 16,0 0-16,0-1 15,0 0-15,17 1 0,-17 35 16,18-36 0,-18 2-16,0-2 15,0 1-15,17 16 0,-17-15 16,0-2-16,0 1 0,0-1 15,0 2-15,0-2 0,0 0 16,0 1-16,0 0 0,0 0 16,0-1-16,0 0 0,0 1 15,0 0-15,0 0 0,0-1 16,19 0-16,-19 2 16,0-2-16,17-17 15,-17 18-15,0-1 0,17-17 0,1 36 16,-18-19-16,18-17 15,-18 18-15,18-1 0,-1 2 16,0-19-16,-17 17 16,71 0-16,-71 1 15,17-18-15,19 18 16,-1 0-16,-16-1 16,-2-17-16,0 0 15,18 17-15,18-17 0,-87 0 0,51 19 16,88-2-16,-175-34 0,123 69 0,-88-87 0,87 35 15,-86 0-15,104 18 0,-123-36 16,141 18-16,-159 18 0,159-18 0,-140 0 0,123 0 16,-142 0-16,89 17 0,87-17 0,-193 0 0,176 0 15,-159 0-15,107 0 0,-53 0 16,34 0-16,1 17 0,18-17 16,-19 0-1,18-17-15,-17 17 16,0 0-16,-1 0 15,0 0-15,1 0 16,0-17-16,0 17 16,-1 0-16,0 0 0,2 0 0,16-18 15,1 18 1,-19 0-16,18-17 16,-18 17-16,2-19 0,33 2 31,-34 0-31,0 17 0,-1-18 0,0 0 15,1 0-15,0 18 16,0-17-16,-1-19 16,0 19-16,-17-1 0,19 18 0,-2-34 15,1 15-15,-1 2 16,2-18-16,-19 16 0,17-15 16,0 34-16,1-36 15,-18 18-15,17-16 0,-17 16 16,19-18-16,-2-34 15,0 35 1,-17 16-16,18-15 16,-18-1-16,0 16 0,18-15 15,-18-2-15,18-34 16,-18 52-16,0 0 16,17-35-16,-17 36 0,0-1 15,0-18-15,0 2 0,0-1 0,0 16 16,17-86-1,-17 88-15,0-37 16,0 20-16,0-2 0,0 18 16,-17-35-16,17-35 15,0 71-15,0-19 16,-17 18-16,17-16 0,0 15 0,-18-69 16,18 71-1,0-37-15,0-16 16,-18 52-16,18-16 0,0-73 15,0 90 1,0-1-16,0-18 16,0 19-16,0-35 0,0 33 0,0 2 15,0 0-15,0-19 0,0 18 16,-18-70 0,18 35-16,0 36 15,0-18-15,0 16 0,0-15 0,0 16 16,-17-35-16,17 36 0,0-1 15,0 0-15,0-53 16,-17 36-16,17 18 16,0 0-16,0-19 0,0 18 15,0 1-15,0-2 0,-19 2 16,19 0-16,0-1 16,0 0-16,-17-34 0,-1 34 15,18 0 1,0 0-16,-17 1 0,17 0 15,0-2-15,-17-33 32,17 35-32,0-2 0,-19 2 0,19-1 15,0-18 1,0 19-16,0 0 16,-17-1-16,17 0 0,0 0 15,-18-16 1,18 16-16,-17 18 15,17-18-15,-19 0 0,19 1 16,-17 17-16,0-17 16,-1-2-16,0 19 15,0 0-15,18-17 0,-70 17 16,52-18-16,-16 18 16,-2 0-16,18 0 0,-35 0 15,36 0-15,-1 0 0,-18 0 16,19 0-16,-18 18 0,17-18 0,-34 17 15,34-17-15</inkml:trace>
  <inkml:trace contextRef="#ctx0" brushRef="#br0" timeOffset="212310.13">29792 9344 0,'0'18'16,"0"0"-1,18-1 16,-1-34 16,0-19-31,2 18-16,-19 1 0,0 0 16,17-1-1,-17 0-15,0-17 0,0 18 0,0-2 0,18 2 16,-18-1-16,0 1 0,0-19 15,0 19-15,0-1 16,0 1-16,0-2 31,0 55 1,0-18-17,17-1-15,19 0 16,-36 2-1,17-19 1,19 0-16,-18-19 16,-1 2-16,0 0 15,1-1-15,0 1 16,0 17-16,-18-19 16,17 19-1,0 19 1,2-2-16,-19 1 15,17-18-15,-17 17 16,0 0-16,18-17 0,-18 19 16,17-19-16,2 17 15</inkml:trace>
  <inkml:trace contextRef="#ctx0" brushRef="#br0" timeOffset="-212708.53">31079 5393 0,'19'0'16,"-2"17"-16,-17 2 16,0-2-1,17 18 1,-17-16-16,0-2 0,0 0 0,0 1 15,0-1-15,18 19 16,-18-19 0,0 1-16</inkml:trace>
  <inkml:trace contextRef="#ctx0" brushRef="#br0" timeOffset="-212113.92">31044 5569 0,'35'-17'0,"-70"34"0,89-34 15,-37 17-15,0-18 16,1 18 0,0 0-16,0 0 0,-1-17 15,0 17-15,2 0 16,-2 17-1</inkml:trace>
  <inkml:trace contextRef="#ctx0" brushRef="#br0" timeOffset="-211795.35">31079 5834 0,'53'-17'16,"1"17"0,-20 0-16,-15-19 15,-2 19 1,1 0-16,-1-17 16</inkml:trace>
  <inkml:trace contextRef="#ctx0" brushRef="#br0" timeOffset="-210624.2">31979 4776 0,'0'-18'16,"-17"18"15,-18 0-15,16 18-16,2-18 0,0 17 15,-1 2 1,36-2 0,-1-17-1,-17 17-15,17-17 0,2 18 16,16-18-1,-18 17-15,0-17 0,-17 19 16,19-19-16,-2 17 16,1 0-1,-36 1 1,-18 0 0,19-18-16,17 18 15,-35-18 1,18 0-16,-2 0 0,2 17 0,0-17 15</inkml:trace>
  <inkml:trace contextRef="#ctx0" brushRef="#br0" timeOffset="-208291.85">31308 6540 0,'-17'-18'0,"17"1"15,0 69 16,17-16-15,-17-1 0,0-18-16,19 19 15,-19-19-15,0 1 16,0 0-16</inkml:trace>
  <inkml:trace contextRef="#ctx0" brushRef="#br0" timeOffset="-208132.98">31256 6716 0,'35'-18'15,"-70"36"-15,87-36 0,-33 18 16</inkml:trace>
  <inkml:trace contextRef="#ctx0" brushRef="#br0" timeOffset="-207924.48">31274 7016 0,'34'-18'0,"-15"18"15,-2 0-15,1 0 0,-1 0 0,2-17 16,-2 17-16</inkml:trace>
  <inkml:trace contextRef="#ctx0" brushRef="#br0" timeOffset="-199084.26">31698 5358 0,'17'0'15,"-34"18"32,17-1-47,-19-17 0,2 17 16,-1 19-16,1-18 15,17-1-15,-19-17 16,19 19-16,0-2 16,-17 0-16,17 1 15,17-18 1,2 0-16,-2 0 15,1 0 1,18 0-16,-2 0 16,-16 0-16</inkml:trace>
  <inkml:trace contextRef="#ctx0" brushRef="#br0" timeOffset="-198487.04">32508 5164 0,'0'0'0,"54"0"47,-20 0-32,2 0-15,-1 0 16,-18 0 0,19 17-16,-18-17 0,-1 0 15,-17 19-15,17 15 32,-17-16-32,0 0 15,-17 0-15,0 16 16,-18 2-16,-1-1 15,19 1-15</inkml:trace>
  <inkml:trace contextRef="#ctx0" brushRef="#br0" timeOffset="-197402.27">31927 5340 0,'-19'36'32,"38"-19"-17,-19 0 1,17-17 0,1 0-1,-1 0-15,0-17 31,-17 0-15,0-1 0,-17 0-16,0 0 15,-1 1 1,1 17 0,-2 17-16</inkml:trace>
  <inkml:trace contextRef="#ctx0" brushRef="#br0" timeOffset="-197097.38">32191 5358 0,'17'0'0</inkml:trace>
  <inkml:trace contextRef="#ctx0" brushRef="#br0" timeOffset="-196627.15">32384 5252 0,'19'0'0,"-2"18"15,-17 0-15,18-18 16,-18 34 15,0-16-31,0 0 16,0 0-1,0-1 1,0 0 15,-18 2-15</inkml:trace>
  <inkml:trace contextRef="#ctx0" brushRef="#br0" timeOffset="-196281.47">32526 5270 0,'0'35'0,"18"-18"15,-18 1 1,0 0 0,0 0-16,-18-1 15,0 0 1</inkml:trace>
  <inkml:trace contextRef="#ctx0" brushRef="#br0" timeOffset="-196045.77">32650 5358 0,'34'0'16,"-15"-18"-16,-2 18 0,1-18 15,-18 1 1,-35-18 0,16 35-1,2 0-15,-18 0 16,-1 18-16</inkml:trace>
  <inkml:trace contextRef="#ctx0" brushRef="#br0" timeOffset="-194760.56">31750 6452 0,'0'-18'31,"-18"53"-15,1 1 15,0-36-31,17 17 0,-19-17 0,2 35 16,-1-35-16,18 17 15,-17 2-15,17-2 16,-19-17-1,19 18-15,-17-1 0,17 2 16,17-19 0,-17 17-16,19-17 15,-2 17 1,1-17 0,-1 0-16,2 0 15,-2 18 1</inkml:trace>
  <inkml:trace contextRef="#ctx0" brushRef="#br0" timeOffset="-190776.36">32032 6452 0,'0'34'47,"0"-15"-32,0 16 1,-17-35-16,17 17 16,0 0-1</inkml:trace>
  <inkml:trace contextRef="#ctx0" brushRef="#br0" timeOffset="-190246.44">32174 6398 0,'0'0'16,"17"0"-16,0 0 15,1 0 1,-18 18-16,0 0 16,0 0-1,-18-18-15,18 17 0,-17 0 16,0 2-1,17-2 1,0 1 15,17-18-15,0 0 0,1 0-1,0 0-15,0 0 0,-1-18 16</inkml:trace>
  <inkml:trace contextRef="#ctx0" brushRef="#br0" timeOffset="-189854.44">32474 6345 0,'-19'0'0,"2"0"0,53 0 0,-90 19 15,37-19 1,17 17-1,17-17 1,18 17-16,-16 1 16,15-18-16,-16 18 0,0-18 15,0 0-15,-1 0 0,-17 18 16,17-18-16,-17 17 16,0 0-1,-17-17-15,0 19 0,-19-2 16,36 1-16,-18-18 15,1 17-15</inkml:trace>
  <inkml:trace contextRef="#ctx0" brushRef="#br0" timeOffset="-189524.34">32826 6310 0,'36'-17'15</inkml:trace>
  <inkml:trace contextRef="#ctx0" brushRef="#br0" timeOffset="-187699.55">32174 6804 0,'0'-18'0,"17"54"31,-34-1-15,-2-18-16,19 2 16,-17-2-16,-1 1 15,18-1-15,-17 2 16,17-2 0,17-17-1,18 0 16,-16 0-15,-2 0-16,0 0 0,-17-17 16,18 17-16,0 0 0</inkml:trace>
  <inkml:trace contextRef="#ctx0" brushRef="#br0" timeOffset="-187373.38">32350 6822 0,'-18'0'0,"1"18"16,-2-1 0,38 0 30,-2-34-30,1 17 15,-18 17-15,0 2 0,0-2-16,0 1 15,0-1-15,0 2 16</inkml:trace>
  <inkml:trace contextRef="#ctx0" brushRef="#br0" timeOffset="-187107.77">32508 6874 0,'-34'19'0,"34"-2"16,0 1-1,0-1 1,17-17-16,0 0 16,1 0-1,0-17 1,-18-1 15,-18 1 0,0 17-31</inkml:trace>
  <inkml:trace contextRef="#ctx0" brushRef="#br0" timeOffset="-186634.13">32650 6681 0,'34'17'15,"-15"-17"-15,-19 18 0,35-18 16,-18 18-16,0-18 15,2 0-15,-2 18 16,1-18-16,-1 0 16,-17 17-16,19-17 15,-19 17-15,0 1 16,0 18-16,-54 34 16,37-52-1,-2 18-15,2-19 0,0 0 16,-1 18-16</inkml:trace>
  <inkml:trace contextRef="#ctx0" brushRef="#br0" timeOffset="-185692.36">30991 8128 0,'0'-19'16,"0"55"15,0-19-15,0 1-16,0 0 0,0 0 15,19 16-15,-19-16 16,0 18 0,0-19-1,0 0-15</inkml:trace>
  <inkml:trace contextRef="#ctx0" brushRef="#br0" timeOffset="-185498.53">30956 8268 0,'18'0'0,"18"-18"16,-19 18-1,0-17-15,1 17 0,-1 0 16,19 0-1</inkml:trace>
  <inkml:trace contextRef="#ctx0" brushRef="#br0" timeOffset="-185247.75">30956 8586 0,'54'-18'32,"-37"18"-32,0 0 15,1 0 1,18-18-16</inkml:trace>
  <inkml:trace contextRef="#ctx0" brushRef="#br0" timeOffset="-184027.99">31556 8145 0,'-53'71'0,"36"-54"16,17 0-1,0 1 16,17-18-31,-17 18 16,35-18 15,-35 18-31,18-18 16,0 0-16</inkml:trace>
  <inkml:trace contextRef="#ctx0" brushRef="#br0" timeOffset="-183571.87">31820 8038 0,'0'36'16,"0"-18"-16,0 35 31,0-36-31,0 1 16,-17 0-16,17 0 15</inkml:trace>
  <inkml:trace contextRef="#ctx0" brushRef="#br0" timeOffset="-183114.51">32032 8021 0,'-17'0'0,"-2"0"0,2 0 16,17 17 0,-17-17-16,17 19 15,0-2 1,17-17-1,0 18 1,2-18-16,-19 17 16,17-17-1,-17 19-15,-17-2 16,-2 0 0,2 1 15,0 0-31,-1-18 15</inkml:trace>
  <inkml:trace contextRef="#ctx0" brushRef="#br0" timeOffset="-182802.05">32103 8038 0,'0'36'0,"0"-18"15,17-18 1,1 0 0,-1 0-1,2-18 1,-38 1 31,2 17-32,-1 0 1</inkml:trace>
  <inkml:trace contextRef="#ctx0" brushRef="#br0" timeOffset="-182525.74">32315 8038 0,'35'0'32,"-18"-17"-17,0 17-15,2 0 32,-19-17-17</inkml:trace>
  <inkml:trace contextRef="#ctx0" brushRef="#br0" timeOffset="-181747.14">32684 7810 0,'54'0'0,"-54"18"0,17-1 16,-34 18 0,17-17-1,-18 0-15,1 16 16,-2-15-16,19-2 15,-17-17-15,17 18 0,-17-18 16,34 17 15,0-17-15,2 0-16,33-17 16,-35 17-1,2 0-15,-19-18 16,17 18-16,1 0 0,-1 0 15</inkml:trace>
  <inkml:trace contextRef="#ctx0" brushRef="#br0" timeOffset="-181414.56">32950 7828 0,'-18'0'16,"0"17"0,18 0 15,0 1-31,18 0 15,-18 0 1,-18-1 0,0 0-1,18 2 1,-17-19 0</inkml:trace>
  <inkml:trace contextRef="#ctx0" brushRef="#br0" timeOffset="-181118.8">33020 7862 0,'0'18'31,"18"-18"-31,-1 0 16,0 0-1,-17-18 17,-17 1-32,0 17 15,-1 0-15,18-17 0,-18 17 16,0 0-16</inkml:trace>
  <inkml:trace contextRef="#ctx0" brushRef="#br0" timeOffset="-180783.41">33055 7669 0,'71'17'16,"-54"1"-16,2-18 16,-2 0-16</inkml:trace>
  <inkml:trace contextRef="#ctx0" brushRef="#br0" timeOffset="-180538.28">33179 7704 0,'-17'458'0,"-37"-440"16,37 0-16</inkml:trace>
  <inkml:trace contextRef="#ctx0" brushRef="#br0" timeOffset="-176759.95">32208 4793 0,'-17'36'0,"17"-19"0,0 1 31,0-1-31,0 2 16,-17-19-1,17-36 32,17 1-31,-17 18-16,17-2 16,1-16-1,0 35-15,0-17 16,16 34-1,-15-17-15,-19 18 16,17-18-16,-17 17 16,0 2-16,0-2 15,-17 0-15,17 1 0,-19-18 16,19 17-16,-17-17 16,17 19-16,-17-2 0,-1 0 15,0-17-15</inkml:trace>
  <inkml:trace contextRef="#ctx0" brushRef="#br0" timeOffset="-175640.62">31908 4388 0,'-17'17'0,"17"2"16,0 15-16,17-16 16,-17-1-16,19 2 0,-2 15 15,1-34-15,-1 0 16,0 0-1,2 0-15,-2-17 16,1 0-16,-18-2 16,17-33-1,-17 35-15,0-2 0,0 2 16,0-1-16,0 1 31</inkml:trace>
  <inkml:trace contextRef="#ctx0" brushRef="#br0" timeOffset="-175193.17">32155 4353 0,'-17'0'16,"34"0"-16,-34 35 15,34-18 16,2-17-15,-2-17 0,0 17-16,1 0 31,0 0 0,-18 17-15,18-34 15,-1 17-15,-17-18-16,17 18 15,-17-17-15,19 17 16,-2-19 0,-17 38 15,0-2-16,18-17-15,-18 18 16,0-1 0,17-17-1</inkml:trace>
  <inkml:trace contextRef="#ctx0" brushRef="#br0" timeOffset="-175059.41">32474 4246 0,'-36'0'16,"36"18"0,36-18-1,-36-18-15,-54 54 0</inkml:trace>
  <inkml:trace contextRef="#ctx0" brushRef="#br0" timeOffset="-174751.26">32544 4264 0,'-18'18'16,"36"0"-1,0-18 1,-18 17-16,17-17 16,0 0 15,1 0-31,0 0 16,-18 17 15</inkml:trace>
  <inkml:trace contextRef="#ctx0" brushRef="#br0" timeOffset="-174209.35">31786 3753 0,'0'35'47,"0"-17"-32,0 34-15,0-16 16,0-18-16,0-1 15,0 19-15,0-19 16,0 18-16,17-18 16</inkml:trace>
  <inkml:trace contextRef="#ctx0" brushRef="#br0" timeOffset="-173789.53">31856 3717 0,'35'0'16,"-18"0"-16,-17 19 0,0-2 15,-17 18 1,-36 35 0,18-52-16,18 0 15,17 0-15,-19-1 16,2-17-1,34 17 1,2-17 0,-2 0-16,0 0 15,37 0-15,-20 0 16,20-17-16,-37 17 16,0 0-16</inkml:trace>
  <inkml:trace contextRef="#ctx0" brushRef="#br0" timeOffset="-173146.47">32138 3770 0,'-18'0'0,"1"0"16,0 18 0,17 0-1,-19 0-15,19-1 16,71-88-16,-123 159 31,69-88-15,0-17-1,1 17 1,-1 0 0,2 0-1,-2 0 16,0 0-15,1 0 0,0 0-16,0 0 15,-1 0-15,-17-17 16,36-1 0,-19 18-16,1-18 15,-18 0 1,17 18-1,-34-17 17,-1 34-1,36 1 0,-18 0-31,17 0 16,0 16-1,-17-16 1,0 0 0,-17 0-1,17-1 1,-17-34 15,-1-1-31</inkml:trace>
  <inkml:trace contextRef="#ctx0" brushRef="#br0" timeOffset="-172483.97">31803 3065 0,'-36'17'16,"19"1"-16,17 0 15,-18 0-15,1 52 16,17-52 0,0 16-16,0-15 15,0-2-15,17 1 0,-17-1 16,18 2-16,-1-19 15,2 0-15,-2 0 16,18 0-16,-35-19 0,18 19 16,-18-17-16,35-54 31,-35 54-31,0-19 0,-17 18 16,17 1-16,-18 0 15,0-1-15,0 0 16,1 18-16,0 0 31,17 18-31,0 0 16,0-1-1,0 0-15,17 1 0,-17 0 16,17 17-16,19 1 16,-36-19-16,18 1 15,-18-1-15,17 2 16,-17-2-16,17-17 0,-17 17 0,19 1 15</inkml:trace>
  <inkml:trace contextRef="#ctx0" brushRef="#br0" timeOffset="-171961.54">32015 3312 0,'-19'0'16,"38"70"15,-55-123-15,72 36-16,-55 53 15,38-36 1,-2 0 0,1 0-1,-1-19 1,2 19-1,-2-17 17,0 17-32,-17-18 15,18 18 1,-1 0-16,-17-17 16,0 52 46,19-35-15,-2 0-31,-17 17-1,17-17-15,1 0 16,0 19 15,-18-2-15</inkml:trace>
  <inkml:trace contextRef="#ctx0" brushRef="#br0" timeOffset="-171538.19">32332 3188 0,'18'-18'0,"-18"54"31,0-18-15,17-1-16,-17 0 15,0 19-15,0-18 16,0-1-16,0 2 15,0-2 1,-17-17-16,17 17 16,0 1-16,17-53 62,0 18-46,2 17-1,-2 0 1,1 0 0,-18 17-16,0 0 31,0 1-31,0-1 16</inkml:trace>
  <inkml:trace contextRef="#ctx0" brushRef="#br0" timeOffset="-171082.39">32579 3136 0,'0'17'15,"0"0"-15,-17 37 16,34-54-1,-17 17-15,0 0 16,0 2-16,17-2 0,1-17 16,18 0 15,-19-17-15,0 34 30,2 1-30</inkml:trace>
  <inkml:trace contextRef="#ctx0" brushRef="#br0" timeOffset="-170519.48">32050 3646 0,'36'-17'15,"-19"0"1,0 17-16,18 0 0,-16-18 0,51 1 16,1-2-16,-36 19 15,18-17-15</inkml:trace>
  <inkml:trace contextRef="#ctx0" brushRef="#br0" timeOffset="-164895.31">8360 1265 0,'-17'0'15,"0"0"1,-1 0-1,0 19 1,0-19 15</inkml:trace>
  <inkml:trace contextRef="#ctx0" brushRef="#br0" timeOffset="-164595.27">8255 1336 0,'71'0'31,"-18"-18"-15,-18 18-16,-1 0 0,2 0 0,-1 0 16,18 0-16,18-17 0,-18 17 0,18 0 15,69 0-15,37 17 16,-125-17-1,2 0-15,-18 0 0,16 0 0,1 18 16,-18-18-16,1 18 0,-2-18 16</inkml:trace>
  <inkml:trace contextRef="#ctx0" brushRef="#br0" timeOffset="-132298.48">13388 17141 0,'18'0'15,"-1"0"-15,0 0 0,19 0 0,-1 0 16,-18 0-16,54 0 0,-35 0 16,-1 0-16,18 0 0,123 0 15,-105 0-15,-1 0 16,-16 0-16,16-17 0,1 17 15,0 0-15,-19 0 0,18 0 0,1 0 16,53-19-16,-53 19 16,51 0-16,-68 0 0,16 0 15,-35-17-15,36 17 0,-18 0 0,0 0 16,-18 0-16,53 0 16,0 0-16,-35 0 15,18-18-15,-36 18 0,1 0 16,-2 0-16,73 0 15,-72 0-15,-18 0 16,2 0-16,15 0 0,-16 0 16,-1-17-16,2 17 0,33 0 15,-16 0 1,-19 0-16,0 0 0,2 0 16,-2 0-16,1 0 0,-1 0 15,0 0-15,73 0 16,-56 0-16,-16 0 0,18 0 15,-2 0-15,2 0 0,-1 0 16,-18 0-16,19 0 0,-1 0 16,1 0-16,16 0 15,19 0-15,-35 0 0,17 0 0,-18-19 16,-1 19-16,2 0 0,-1 0 16,18 0-16,-18 0 0,54 0 15,-18-17-15,-36 17 16,-1 0-16,2 0 0,-1 0 15,1 0-15,-1 0 0,1 0 0,-2 0 16,2 0-16,16-17 0,-16 17 16,-1 0-16,1 0 0,35 0 15,-19 0 1,-34 0-16,0 0 0,16 0 16,-16 0-16,0 0 0,0 0 0,87 0 31,-86 0-31,15 0 0,-16 0 15,18-18-15,-19 18 16,0 0-16,71 0 16,-52 0-16,-18 0 0,-1 0 15,19-18-15,-19 18 0,18 0 16,18 0-16,35-18 16,-52 18-16,-18 0 15,16 0-15,2 0 0,-1 0 0,-18-17 16,19 17-16,35 0 0,17-17 15,-53 17 1,1 0-16,-2 0 0,-15 0 16,16 0-16,1-18 0,-2 18 0,-16 0 15,52 0-15,-52 0 16,18-18-16,-19 18 0,18 0 0,1 0 16,-19 0-16,36 0 0,-35-18 0,-1 18 15,19 0-15,-19 0 0,1 0 16,35 0-16,-36 0 15,19 0-15,-18 0 0,-1-17 0,19 17 16,-19 0-16,1 0 0,-1 0 16,19 0-16,-19 0 0,18 0 15,18-17-15,-35 17 0,18 0 16,-19 0-16,0 0 16,1 0-16,35 0 15,-36 0-15,2 0 0,-2 0 16,1 0-16,-1-19 15,2 19-15,-2 0 0,35 0 16,-33 0-16,15 0 0,54-17 16,-70 17-1,18 0-15,-19 0 0,19 0 16,-19 0-16,18 0 0,1-18 0,16 18 16,-16 0-16,17 0 15,-1-17-15,-16 17 0,35 0 16,-54 0-16,18 0 15,1 0-15,-19 0 0,18 0 16,18 0-16,54 0 16,-90 0-16,18 0 15,-18 0-15,37 0 16,-1 0-16,-36 0 0,19 17 16,-18-17-16,-1 0 0,0 0 15,1 0-15,35 0 16,-36 0-1,2 0-15,-2 0 16,1 0-16,18 0 31,-19 0-31,0 0 0,1 0 16,35 0 15,-18 0-31,-17 0 16,0 0-1,-1 0-15,0 0 16,-69 0 31,16 0-47,-34-17 0</inkml:trace>
  <inkml:trace contextRef="#ctx0" brushRef="#br0" timeOffset="-129158.7">27464 16946 0,'18'18'15,"34"-18"1,-34 18-16,0-18 0,-1 0 16,19 0-16,-1 18 0,35-18 15,18 17-15,-34-17 16,-2 17-16,18-17 0,-16 0 16,16 0-16,1 19 0,352-19 31,-334 0-31,-20 0 0,2 0 15,0 0-15,-1 0 0,1 17 0,229-17 32,-247 0-32,-18 0 15,18 0-15,-18 0 0,1 18 0,16-18 16,-16 0-16,35 0 0,-1 0 16,-35 0-16,-18 0 15,19 0-15,-1 0 0,-16 0 0,15 0 16,2 0-16,52-18 15,-70 18-15,16 0 16,-15 0-16,-2 0 0,18 0 0,-16 0 16,15 0-16,37 0 15,-36 0 1,1 0-16,-19 0 0,0 0 0,1 0 16,0 0-16,0 0 0,16 0 15,-15 0-15,-2 0 0,18 0 16,-16 0-1,-2 0 1,0 0-16,1-17 16,-1 34-1,-17-53 142</inkml:trace>
  <inkml:trace contextRef="#ctx0" brushRef="#br0" timeOffset="-127274.55">2028 17741 0,'-17'0'0,"52"17"31,-17-17-31,17 0 0,-18 18 0,37-18 16,16 17-16,1-17 16,-19 0-16,19 17 0,211-17 31,-228 0-31,-20 0 0,2 0 15,-1 0-15,1 0 0,16 0 16,36 0 0,-69 0-16,-2 0 0,0 0 15,-17 19-15,18-19 16,0 0 0,-18 17-1,18-17-15</inkml:trace>
  <inkml:trace contextRef="#ctx0" brushRef="#br0" timeOffset="-126080.59">6579 17688 0,'36'0'31,"35"0"-16,-54 0-15,0 0 16,18 0-16,18 0 16,-17 0-16,-1 0 0,53 0 15,-17 17-15,-18-17 0,18 0 16,70 0-16,-1 0 16,-69 0-16,-1 0 0,72 0 15,-72 0-15,1 0 0,0-17 16,70 17-1,0 0-15,-1 0 0,-69 0 16,0 0-16,-1 0 0,1-18 16,0 18-16,-18 0 0,18 0 0,-2 0 15,2 0-15,123 0 16,-140 0 0,15 0-16,-33 0 0,69-18 15,-69 18-15,16 0 0,2 0 0,-1 0 16,88 0-1,-89 0-15,38 0 0,-56 0 16,20 0-16,-20 0 0,20 0 16,-20 0-16,20 0 0,-20 0 0,20 0 15,16 0-15,18 0 16,-34 0-16,34 0 16,-54 0-16,20-18 0,-18 18 15,16 0-15,54 0 0,-71-17 16,1 17-16,-1 0 15,35 0-15,-52 0 0,-1-17 0,2 17 16,-2 0-16,54 0 16,-54 0-1,0 0-15,1 0 16,0 0 0,0 0-1</inkml:trace>
  <inkml:trace contextRef="#ctx0" brushRef="#br0" timeOffset="-123573.77">23971 11973 0,'36'17'16,"-1"-17"-16,1 0 16,-19 0-16,18 0 15,-18 0-15,19 0 16,17 0-16,-35 0 0,16-17 15,54 17-15,19 0 16,-36 0-16,-19-19 0,18 19 16,54 0-16,-70 0 0,16 0 15,53-17-15,1 17 16,-53 0-16,-1 0 16,70-17-16,2 17 0,-72 0 15,1 0-15,0 0 0,-1 0 16,72 0-16,-72 0 15,1 0-15,-2 0 0,2 0 0,18 0 16,-19 0-16,0 0 0,1 0 0,124 0 16,-125 0-1,-18 0-15,-16 0 0,87 0 16,-87 0-16,17 0 0,-18 0 0,18 0 16,18-18-16,-36 18 15,1 0-15,-2 0 0,2 0 0,-1 0 16,-18 0-16,19 0 0,-18 0 15,16-18-15,2 18 0,16 0 16,-33 0-16,16-18 0,18 18 16,-18 0-16,1-17 0,-19 17 15,18 0-15,35 0 16,-34-17-16,-18 17 0,18 0 0,-19 0 16,18 0-16,-18 0 0,2 0 15,15 0-15,-16 0 0,35 0 16,0 0-16,-35 0 15,16 0-15,-15 0 0,-2 0 16,1 0-16,18 0 0,-19 0 16,0 0-16,1 0 0,0 0 0,17 0 15,0 0 1,-17 0 0,0 0-1,-1 0 1,0 0-16,2 0 15,-2 0 17,1-18-17,-1 18 1,-17-18 0,17 18-16,-17-18 15,0 1-15,19 0 16,-19-2-1,0 2-15,0-1 16,0-18 0,0 19-16,-19 17 0,-15-17 15</inkml:trace>
  <inkml:trace contextRef="#ctx0" brushRef="#br0" timeOffset="-121097.89">20972 10968 0,'-17'34'16,"17"-16"-16,0 18 15,0-2-15,0 2 0,0 16 16,-17 2-16,17-1 0,-19 87 16,19 20-16,-17-72 0,17-17 15,-18 17-15,18-18 0,-17 18 16,17-17-16,-36 158 15,36-158-15,-17-19 0,17 19 16,0-18-16,0 18 0,-18-18 0,18-1 16,0-16-16,0-1 0,0 71 15,0-54-15,0-34 16,0 18-16,0-19 16,0 0-16,0 2 0,0-2 0,0 18 15,0-18 1,0 2-1,18-19-15,-1 0 16,2 0-16,-2 0 16,18 0-16,-18-19 0,36 19 15,1 0-15,-20-17 16,90 17-16,52-17 16,-105 17-16,0 0 0,-1 0 15,89 0-15,-71 0 16,0 0-16,19 0 0,193-18 15,-71 18 1,-124 0-16,1 0 0,18 0 0,0 0 16,-19 0-16,159 0 0,-140 0 15,0 0-15,16 0 0,-16 0 16,140 0-16,19 0 16,-159 18-16,17-18 0,-1 0 15,143 0-15,-142 0 0,-18 0 16,159 17-16,-140-17 15,-1 0-15,0 0 0,-1 17 0,2-17 16,123 0-16,-142 0 0,1 19 16,264-19-1,-283 0-15,19 0 0,0 17 0,-19-17 16,1 0-16,0 0 0,17 18 0,-16-18 16,-19 0-16,17 17 15,-17-17-15,-17 0 0,17 0 0,-18 19 0,1-19 16,17 0-16,195 34 15,-213-34-15,1 0 16,0 18-16,-19-18 0,18 0 16,-16 18-16,16-18 0,54 18 0,-18-18 15,-1 17 1,-52-17-16,1 0 0,-20 0 16,20 0-16,-20 0 0,73 17 15,-72-17-15,18 0 0,176 0 31,-194 0-31,18 0 0,-18 0 0,18 0 16,-17 0-16,16 0 0,-16 0 16,16 0-16,-16 0 0,-1 0 15,1 0-15,-1 0 0,1 0 0,-2 0 16,2 0-16,-18 0 0,70 0 16,-71 0-16,0 0 0,19 0 15,-18 0-15,-1 0 0,2-17 16,33 17-16,-34 0 15,0 0-15,-1 0 0,0 0 0,19 0 16,-18 0-16,-1 0 0,107 0 16,-107 0-16,18 0 15,-16-17-15,15 17 0,-16 0 0,0 0 16,17 0-16,-18 0 0,37 0 16,16 0-1,-52-18-15,-1 18 0,2 0 16,-2 0-16,0 0 15,18-18-15,-16 18 16,-2 0-16,0 0 0,-17-18 0,18 18 16,0-34-1,0 34-15,-18-19 16,0 2-16,17 17 0,-17-18 0,0 1 0,17-19 16,-17 1-16,0 18 15,19-2-15,-19 2 0,0 0 16,0-1-16,0 0 0,0-17 0,17-36 15,-17 54 1,0-19-16,0-35 0,0 54 16,18-18-16,-18-35 15,17-72 1,0 89-16,-17 18 16,19-1-16,-19 2 0,0 16 0,17-52 15,-17 16-15,18 37 16,-18-19-16,0 19 0,17-18 0,2-72 31,-19 90-31,0-18 0,0 17 0,0-17 16,0 18-16,0-1 0,0-35 15,0 36-15,0-2 0,0 2 16,0-18-16,0 16 0,0 2 16,0 0-16,-19-18 0,19-1 15,0 19-15,-17-19 16,17 18-16,-18-16 15,18 15-15,-17-16 16,17 18-16,-19 0 16,19-2-16,-17 2 0,-18-37 15,35 37 1,-17 17-16,17-17 0,0-1 16,-19 18-16,19-36 15,-17 19-15,17 0 0,-17-1 16,17 0-16,0 0 0,-18 1 15,18-19 1,-18 19 0,18-1-16,0 1 0,0 0 15,0-2 1,0 2-16,-18 17 16,18-18-16,-17 18 15,17-17 1,-17 17-1,-19 0 1,1-19-16</inkml:trace>
  <inkml:trace contextRef="#ctx0" brushRef="#br0" timeOffset="-118239.81">10248 17864 0,'0'-18'0,"0"53"32,0 36-17,0-53-15,0 0 0,0 16 16,0-16-16,0 35 16,0 0-16,0-35 0,0 35 15,0-36 1,0 1-16,0-1 15</inkml:trace>
  <inkml:trace contextRef="#ctx0" brushRef="#br0" timeOffset="-117763.56">10231 17952 0,'-19'0'31,"2"18"-31,0-18 0,17 18 16,-18-18-16,18 17 0,-18 0 0,-17 19 15,18-18-15,-1-1 16,0 0-16,0 2 0,18-2 15,-17-17-15,17 18 0,-17-18 0,17 17 16,-19-17-16,38-17 31,-19-18-15,17 16 0,-17 2-16,17 0 0,-17-1 0,18 0 15,0 0-15,-18 1 0,18 17 16,-1-17-16,0 17 15,1 0-15,0 0 0,0 0 16,-1 0-16,0 17 16,2-17-16,-2 0 0,-17 17 15,18-17-15,18 0 16,-19 18-16,0-18 16,1 0-16,-1 0 0,2 0 15,-2 0 1</inkml:trace>
  <inkml:trace contextRef="#ctx0" brushRef="#br0" timeOffset="-113466.95">15487 8250 0,'-17'0'0,"69"0"32,-34 0-32,229-34 31,-176 16-31,51 0 15,20 0-15,87-35 32,-122 36-32,-55 17 15,-35-18-15,2 18 0,-2 0 16,0 18-16,37 18 16,-1 52-1,-36-36-15,1 1 16,16 106-16,2-71 15,18 106-15,15 70 16,-33-122-16,52 282 16,-52-284-1,87 566 1,-87-530-16,-2-17 16,2-18-1,16 1-15,-52-72 16,18-52-16,-18 16 0,18 2 15,-18-1 1,0-18-16,0 2 16,-18-2-1,-17-17 1,0 18-16,-1-1 16,-105 19-16,-282 157 15,106-34 1,-124 53-16,194-105 15,-282 157-15,-54 0 16,-52 1 0</inkml:trace>
  <inkml:trace contextRef="#ctx0" brushRef="#br0" timeOffset="-64683.13">19755 8286 0,'0'-18'0,"-17"0"15,17 54 17,-18 35-17,1 88-15,-2-107 16,19 18-16,-17-16 0,17 16 0,0-16 15,-17 16-15,17-18 0,-18 2 16,18-20-16,0 37 16,0-35-16,0-19 0,-17 18 0,17-16 0,0-2 15,0 0-15,0 1 0,0 0 16</inkml:trace>
  <inkml:trace contextRef="#ctx0" brushRef="#br0" timeOffset="-64310.85">19826 8198 0,'-230'264'62,"213"-246"-62,-36 52 0,35-52 16,18 18-16,-34-2 0,34-15 16,-19-2-16,2 1 0,-1 16 15</inkml:trace>
  <inkml:trace contextRef="#ctx0" brushRef="#br0" timeOffset="-64046.88">19474 8374 0,'17'-17'0,"18"17"16,-17 0-1,0 17-15,16-17 0,-15 18 16,16-1-16,-18-17 0,19 19 0,69 50 15,-87-50 1,0-19-16,17 34 16,0-16-16,-17 0 15,0 0-15,-1-1 16</inkml:trace>
  <inkml:trace contextRef="#ctx0" brushRef="#br0" timeOffset="-62839.77">26018 12854 0,'34'0'16,"-16"0"0,18 0-16,17-17 0,87 17 15,-69 0-15,211 0 16,-211 0-16,0 0 16,-1 0-16,1 0 0,-19 0 15,-16 0-15,-1 0 0,18 0 16,-18-17-16,-17 17 0,0 0 15,-1 0-15,19-19 0,-19 2 16,1 17 0</inkml:trace>
  <inkml:trace contextRef="#ctx0" brushRef="#br0" timeOffset="-62555.13">27023 12501 0,'35'19'16,"-18"-19"-16,19 17 16,-19 0-16,19 1 0,16 35 15,-16-17 1,-1-1-16,-18-1 0,2-15 0,-2 16 15,1 1-15,-18 16 16,-18-16-16,1-2 0,-2 2 16,2-1-16,-18 1 0,-1-1 15,2-1-15,-90 37 16,89-35-16</inkml:trace>
  <inkml:trace contextRef="#ctx0" brushRef="#br0" timeOffset="-60919.49">19262 8833 0,'53'-53'0,"-36"35"16,1-18-16,-1 19 0,2-18 15,15-18-15,37-52 16,-54 69 0,1 18-16,-18 1 0,18 0 0,0-2 15,-1-16-15,0 35 16,-17-17-16,19-2 0,-2 19 0,35 0 31,-33 19-31,-2-2 0,1 1 0,-1-1 16,19 2-16,17 33 0,-18-16 15,0-2-15,-17-16 0,17 18 16,-18-19-16,19 19 0,-1-1 16,36 53-1,-54-88-15,2 17 16,-2 2-16</inkml:trace>
  <inkml:trace contextRef="#ctx0" brushRef="#br0" timeOffset="-59326.74">19315 8762 0,'-19'0'0,"38"-17"31,-2-2-31,-17 2 16,18 0-16,18-37 15,-2 20-15,1-37 16,1 35-16,-19 1 16,1 18-16,0 0 0,0 17 0,-18-19 15,17 2-15,0 17 0,2 0 16,-2 0-16,1 17 16,-18 2-16,17-19 0,-17 17 15,17 0-15,-17 1 0,19-1 0,-2 2 16,-17-2-16,18 0 15,-18 19-15,17-18 0,2-1 16,-19 0 0,17-17-16,-17 19 15</inkml:trace>
  <inkml:trace contextRef="#ctx0" brushRef="#br0" timeOffset="-56821.15">26370 6081 0,'-230'0'15,"178"0"-15,-1 0 16,-18 0-16,1 0 0,-1 0 0,-300 0 15,249 0 1,15 0-16,-16 0 16,-1 0-16,2 0 0,-2 0 0,0 0 0,1 0 15,-124-17-15,-18 17 16,142 0-16,-283 0 16,264 0-16,2 0 15,16 0-15,-17 0 0,0 17 0,18-17 16,-18 0-16,17 17 0,1-17 15,-106 0-15,141 19 0,-19-19 16,36 0-16,1 0 0,-1 17 0,19-17 16,16 0-16,-35 0 15</inkml:trace>
  <inkml:trace contextRef="#ctx0" brushRef="#br0" timeOffset="-55970.84">21519 5993 0,'-71'53'0,"54"-35"15,0-1-15,17 0 16,0 2-16,0-2 15,34 1-15,-15-18 16,16 17-16,1-17 0</inkml:trace>
  <inkml:trace contextRef="#ctx0" brushRef="#br0" timeOffset="-55275.75">19420 6293 0,'-124'35'16,"107"-18"-16,0 2 16,-1-2-16,0 0 0,18 1 0,0 0 15,0 17 1,18-35-16,0 0 0,16 0 16,-15-17-16,16 17 0,-18-18 15,36 0-15,-18 0 16,-16 1-16,-2 17 15,0 17-15,1 1 16,-18 0-16,0 0 16,0-1-16,0 0 0,18 37 15,-18-20-15,0-15 16,18-2-16,-1 1 16,-17-1-16,17-17 15</inkml:trace>
  <inkml:trace contextRef="#ctx0" brushRef="#br0" timeOffset="-54677.84">19862 6293 0,'-18'-17'16,"0"17"-16,0 0 16,1 17-1,0-17-15,-2 35 16,19-18-16,0 2 15,0-2-15,0 0 0,0 1 16,19 0-16,-2 0 16,0-18-1,-17 17-15,36-17 16,-18-17-16,-1 17 16,-17-18-16,0 0 15,0 0-15,-17-16 31,-1 15-31,0 2 16,0 17 0,1 0-16,0 17 15,-2-17 1</inkml:trace>
  <inkml:trace contextRef="#ctx0" brushRef="#br0" timeOffset="-54110.74">20179 6328 0,'-36'53'16,"19"-18"-16,-1-17 15,18 0-15,-17-1 0,0 0 16,17 2-16,-19-2 0,19 1 15,-17 16-15</inkml:trace>
  <inkml:trace contextRef="#ctx0" brushRef="#br0" timeOffset="-53866.85">20003 6398 0,'0'-17'15,"35"34"17,-18-17-32,2 18 15,-2-18 1,0 0-16,1 18 16,-1-18-1,-34 18 1,17 16-1</inkml:trace>
  <inkml:trace contextRef="#ctx0" brushRef="#br0" timeOffset="-52951.46">19932 7492 0,'0'-18'0,"0"1"46,-36 52-30,19-35-16,17 18 16,0 17-1,0-18 1,17 2-16,-17-2 16,18 1-16,-18-1 15,0 0-15,0 2 16,0-2-16,-18 1 15,1-1-15,0 2 16,-1-19-16,0 17 16,36-53 15,17-16-15,-18 52-16,-17-19 0,18 2 15,0 0 1,0 17-16,-1 0 0,0 0 15,-17 17 1,19-17-16,-19 17 0,17-17 16,1 19-16,18-2 15,-2-17-15,-16 0 16,-1 0-16,2 0 0,-2 0 16,0 0-16,1-17 0,0-2 15,-18 2 1,0 0-1,-18 17-15,18-18 16,-18 18-16</inkml:trace>
  <inkml:trace contextRef="#ctx0" brushRef="#br0" timeOffset="-52815.82">20479 7440 0,'17'17'0,"-34"-34"0,17 51 16,0-16-16,-17 0 0,-2 17 16,2-35-16,-1 17 0,1 2 15,17-2-15,-19-17 0</inkml:trace>
  <inkml:trace contextRef="#ctx0" brushRef="#br0" timeOffset="-52704.91">20479 7510 0,'-17'0'16</inkml:trace>
  <inkml:trace contextRef="#ctx0" brushRef="#br0" timeOffset="-52119.87">20020 8726 0,'0'-17'15,"-17"70"1,17-18 0,0 1-16,-19 17 15,2 53-15,17-89 16,0 19-16,0-1 15</inkml:trace>
  <inkml:trace contextRef="#ctx0" brushRef="#br0" timeOffset="-51830.16">20196 8921 0,'-17'35'0,"17"-17"16,0 0-16,17-18 16,1 17-1,0-17 1,17-17-16,-35-1 31,-17-18-31,-1 19 16,0 0-1,0 17-15,1 17 16,0 0-16,-2 1 16,2 0-16,-1 0 0</inkml:trace>
  <inkml:trace contextRef="#ctx0" brushRef="#br0" timeOffset="-51045.38">20126 10808 0,'-18'-159'0,"1"-34"16,17 87-16,-36-106 15,36 106-15,-17 18 16,-18-106-16,35 141 16,-36-18-16,19 54 15,-19 34 1,18 1-16,-16 0 16</inkml:trace>
  <inkml:trace contextRef="#ctx0" brushRef="#br0" timeOffset="-50856.77">19967 9626 0,'-35'54'16,"17"-2"-16,0 1 0,-16 18 15,16-1-15,-18 1 0,-69 176 16,52-89-1,18-87-15,-1 0 0,19-35 16</inkml:trace>
  <inkml:trace contextRef="#ctx0" brushRef="#br0" timeOffset="-50686.22">19774 9556 0,'52'17'15,"-16"2"-15,16 33 0,54 54 16,-18 0-16,-34-53 16,-2 18-16,142 139 15,-140-156 1,-20-18-16</inkml:trace>
  <inkml:trace contextRef="#ctx0" brushRef="#br0" timeOffset="-49147.9">17180 542 0,'124'776'0,"-106"-476"16,-1-141-16,-17 0 0,17-1 15,-17-16-15,18-37 0,0 107 16,-18-35-16,18-37 16,-18-86-16,17 34 15,-17-52-15</inkml:trace>
  <inkml:trace contextRef="#ctx0" brushRef="#br0" timeOffset="-48815.61">17022 560 0,'264'-52'15,"-176"33"-15,124-33 0,88-1 16,0-35-16,34 17 16,302-88-1,-477 106 1</inkml:trace>
  <inkml:trace contextRef="#ctx0" brushRef="#br0" timeOffset="-48359.1">20708 30 0,'35'107'0,"-18"-36"16,2 17-16,33 70 16,55 196-1,-90-266-15,36 70 0,-18-70 16,-18 0-16,19-34 15,-18 34-15,35 53 0,-548-1624 0,1007 3037 16,-494-1502-16,18-16 0,-566-1678 0,1077 3389 0,-530-1711 16,1-19-16,-18 37 15,0-20-15,0-16 16,0-1-16,-18 2 0,18-2 0,-17-17 16,-36 35-16,18-17 15,-53 17-15,17-18 0,1 2 16,-18 16-16,-2-18 0,-15 0 0,-388 107 15,351-70 1,-140 16-16,123-18 16,18-16-16,-177 52 15,-104 36-15,174-54 16,142-52-16,-176 70 16,123-53-1,88-35 1,54 0-16,0-17 0,-1-18 15,18-18-15</inkml:trace>
  <inkml:trace contextRef="#ctx0" brushRef="#br0" timeOffset="-48002.9">18450 330 0,'36'107'0,"-36"-36"16,17-1-16,0 36 0,19 87 16,87 531-1,-87-583 1,-19 18-16,19-18 0,-18-1 16,16-33-16,20 140 0,-1-35 31,-53-195-31</inkml:trace>
  <inkml:trace contextRef="#ctx0" brushRef="#br0" timeOffset="-47502.7">17463 30 0,'-19'71'16,"2"-35"-16,17 17 0,-17-1 0,-1-16 16,-18 158-1,19-158-15,17-2 16,-17-16-16</inkml:trace>
  <inkml:trace contextRef="#ctx0" brushRef="#br0" timeOffset="-47314.95">17127 330 0,'36'19'16,"-1"-2"-1,18 18-15,-18-16 0,18 15 16,0-16 0,-1-1-16,36 2 0,72 15 15</inkml:trace>
  <inkml:trace contextRef="#ctx0" brushRef="#br0" timeOffset="-46716.09">19103 30 0,'-88'248'0,"71"-213"0,17-18 16,-19 37-16,19-18 0</inkml:trace>
  <inkml:trace contextRef="#ctx0" brushRef="#br0" timeOffset="-45120.66">17515 1054 0,'-17'-17'15,"17"34"48,0 1-47,0-1-1,0 0-15,0 2 16,-18-2-1,18 1 48,0-1 187,-17-17-156</inkml:trace>
  <inkml:trace contextRef="#ctx0" brushRef="#br0" timeOffset="-44378.95">19103 701 0,'0'-17'0,"17"51"16,1 20 15,-18-37-31,0 2 0</inkml:trace>
  <inkml:trace contextRef="#ctx0" brushRef="#br0" timeOffset="-44214.53">19226 1018 0,'0'19'32,"0"33"-1,0-35-16,18 2 1,-18-2-16</inkml:trace>
  <inkml:trace contextRef="#ctx0" brushRef="#br0" timeOffset="-43970.9">19315 1230 0,'35'54'63,"-159"-320"-63,301 654 47,-160-352-32,1-36-15,-18 18 0,17-1 16,2 0-16,-2 2 16,-17-2-1,17 1 1,-17-1-16,0 2 15,0-2-15,-17 18 0,17-17 16,-17 17-16</inkml:trace>
  <inkml:trace contextRef="#ctx0" brushRef="#br0" timeOffset="-43815.8">19667 2042 0,'-17'18'47,"-318"-848"-47</inkml:trace>
  <inkml:trace contextRef="#ctx0" brushRef="#br0" timeOffset="629.28">20550 9133 0,'17'0'46,"-17"-19"-46,0-86 16,0 52 0,35-106-1,-35 88-15,0-17 16,0 18-16,0-18 16,0-35-1,0 16 1,0 73-16,0-20 15,0-34 1,0 35 0,0 18-16,0 18 15,0-2 1</inkml:trace>
  <inkml:trace contextRef="#ctx0" brushRef="#br0" timeOffset="1527.01">20602 7898 0,'-18'0'16,"18"35"-1,-17-18-15,0 19 16,17-18-16,0-1 0,0 0 16,0 19-1,-19-36-15,2 18 16,17-1 15,-18 2-15,18-38 140,18-33-156,-1-1 16,-17 18-1,36-54 1,-36 71 0,0-16-16,0 16 15,17 18 16,1 0-15,0 0 0,0 0-16,16 18 15,-15-18-15,-2 34 16,35 54 0,-33-69-16,-19-2 15,17 18-15</inkml:trace>
</inkml:ink>
</file>

<file path=ppt/ink/ink10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43:40.596"/>
    </inkml:context>
    <inkml:brush xml:id="br0">
      <inkml:brushProperty name="width" value="0.05292" units="cm"/>
      <inkml:brushProperty name="height" value="0.05292" units="cm"/>
      <inkml:brushProperty name="color" value="#0070C0"/>
    </inkml:brush>
  </inkml:definitions>
  <inkml:trace contextRef="#ctx0" brushRef="#br0">755 1363 0,'-54'0'15,"37"0"1,-2 0 0,2 0-1,105-17 17,-52 17-32,17-19 0,-1 19 0,19-17 15,-18-1-15,35 1 0,0-2 16,230-33-1,-212 16-15,0 19 0,-1 0 0,2-1 0,-2 0 16,19 0-16,-19 1 0,1 0 16,0-2-16,176-16 15,-122 18-15,-91-2 16,2 19-16,-1 0 0,-16 0 16,-1 0-16,-18-17 0,71 17 15,-88 0 1,-1 0-16</inkml:trace>
  <inkml:trace contextRef="#ctx0" brushRef="#br0" timeOffset="357.99">1319 1698 0,'70'-18'31,"72"-18"-31,51-16 0,124-18 16,71-1-1,-52 0 1,-230 54-16,-1 0 16,2-2-16,-19 2 0,-18 17 15,1-18-15,0 18 0,-37 0 0,20-17 16,34 17 0,-71 0-16,2 0 0,-2 0 15,-17 17-15</inkml:trace>
  <inkml:trace contextRef="#ctx0" brushRef="#br0" timeOffset="7086.99">20933 3391 0,'-36'0'16,"19"-17"-16,0 17 16,87 0 15,72 0-15,16-18-1,-70 0-15,18 0 0,-18 18 16,106-34-16,-88 16 0,-18 18 15,-18-18-15,125 0 16,-107 18-16,-71-17 16,19 17-16,-18 0 0,-1 0 0,0 0 15,2 0-15,-2 0 0,1 0 16,16 17 0,-15-17-16,-2 0 0</inkml:trace>
  <inkml:trace contextRef="#ctx0" brushRef="#br0" timeOffset="7967.23">25960 3462 0,'53'-18'15,"18"18"1,-36 0-16,1 0 15,16-17-15,1 17 0,18 0 16,-1 0-16,1 0 0,0 0 0,-1-19 16,36 19-16,-18 0 0,17 0 0,2-17 15,105 17-15,-2-17 16,-86 17-16,-18-18 0,0 18 16,17-18-16,-16 18 0,-2 0 0,71-18 15,-105 18-15,17 0 16,-18-17-16,-16 17 0,-1 0 15,-1 0-15,1 0 0,-17 0 16,-18 0-16,-1 0 0,18 0 16,-17 0-16,0 0 15,-1 0-15</inkml:trace>
  <inkml:trace contextRef="#ctx0" brushRef="#br0" timeOffset="11149.9">13067 4662 0,'-19'0'15,"90"0"1,-54 0-1,19 0-15,35-19 0,158 19 16,-141-17 0,17 17-16,107 0 0,123-18 15,-228 18-15,-2 0 16,-17 0-16,0 0 0,-17 0 16,-1 0-16,18 0 0,-34 0 0,-1 0 15,0 0-15,-18 0 0,89 18 16,-107-18-1,1 0-15,-1 0 0,2 17 16,-2-17-16</inkml:trace>
  <inkml:trace contextRef="#ctx0" brushRef="#br0" timeOffset="11943.48">17369 4591 0,'36'17'31,"-18"-17"-31,52 0 16,-16-17-16,16 17 15,72 0-15,-37-19 0,0 19 16,2 0-16,16-17 0,-17 17 0,17-17 15,1 17-15,281-18 16,-281 18-16,18-17 0,-2 17 0,18 0 16,125 0-16,-142 0 15,35 17-15,248-17 16,-142 18-16,-141-18 16,0 0-16,123 17 0,-140-17 15,0 17-15,194-17 16,-213 0-16,-34 19 15,17-19-15,-18 0 0,-16 0 0,-1 0 16,-1 0-16,-16 0 0,-19 0 16,54 0-16,-36 0 15,-17 0-15</inkml:trace>
  <inkml:trace contextRef="#ctx0" brushRef="#br0" timeOffset="15040.48">6999 10623 0,'34'0'15,"2"0"-15,352-17 31,-265-1-31,54 18 0,-1-18 16,247 0-16</inkml:trace>
  <inkml:trace contextRef="#ctx0" brushRef="#br0" timeOffset="16591.39">5993 11875 0,'0'-17'15,"-18"53"1,0-19-16,-52 36 16,52-35-16,1-1 15,-19 18-15,19-17 0,-1 0 16,1-1-16,-2 0 0,19 2 0,-17-2 16,0 1-16,17-1 15,0 0-15,0 2 16,17-19-16,0 0 15,73 17 1,-73 1-16,18-18 16,-17 0-16,34 0 0,-34 0 0,18 0 15,-19 0-15,19 0 16,-19 0-16,1 0 16</inkml:trace>
  <inkml:trace contextRef="#ctx0" brushRef="#br0" timeOffset="16797.71">5975 11894 0,'0'0'31,"-18"34"-31,1-16 0,17 0 0,-35 34 16,17-16-16,0 16 15,1-16-15,0-1 0,-2 36 16,2-1-16,-1-34 16,1-1-16,17-18 15,17 1-15</inkml:trace>
  <inkml:trace contextRef="#ctx0" brushRef="#br0" timeOffset="17130.43">6540 12228 0,'0'18'16,"0"-1"-1,-17 36-15,-19 18 16,18-36-16,-18 1 16,19-2-16,-18 2 0,17-1 0,0 1 0,1-19 15,0 1-15,-1-1 0,18 2 16,-18-2-16</inkml:trace>
  <inkml:trace contextRef="#ctx0" brushRef="#br0" timeOffset="18179.25">7404 11770 0,'-17'-18'16,"-1"18"-16,-18 35 15,2 18 1,34-35-16,-19 18 15,2-19-15,17 18 0,-18 1 0,18-19 0,0 54 16,18-37 0,-18-15-16,17-2 15,2 1-15,-2-18 0,0 0 16,1 0-16,0 0 16,0 0-16,-18-18 0,0 1 15,0-2-15,-18 2 16,18 0-16,-36-1 15,19 0-15,0 18 16,-2 0-16,-16 0 16,18 18-16,-2-18 0,2 0 15,17 18-15,-17-18 0</inkml:trace>
  <inkml:trace contextRef="#ctx0" brushRef="#br0" timeOffset="18385.2">7545 12140 0,'35'0'0,"-35"35"16,0-18 0,0 2-16,0-2 0,0 1 0,-17 18 15,17-19-15,-18 18 0,1-17 16,-2 17-16,2 0 0,0-17 0,17 0 15,0-1-15</inkml:trace>
  <inkml:trace contextRef="#ctx0" brushRef="#br0" timeOffset="19152.93">8375 11858 0,'-54'-54'0,"37"54"16,-2 0-16,2 0 0,0 0 16,-1 19-16,1-2 15,-2 1-15,2-18 0,0 17 0,-19 54 16,18-53 0,18 0-16,0-1 15,18 0-15,0-17 0,-18 18 0,71-18 16,-54-18-1,18 18-15,-18 0 0,19-17 16,18-18-16,-37 35 0,0-18 0,1 0 16,18 1-16,-19 0 15,0 34 1,1-17-16,-18 35 16,0-17-16,-18 0 0,18 16 15,-17-16-15,0 52 16,17-34-16,-18-18 0,18 16 0,-18-15 15,18 16-15,-18 1 0,18-19 16</inkml:trace>
  <inkml:trace contextRef="#ctx0" brushRef="#br0" timeOffset="19317.27">8780 12140 0,'17'18'0,"-17"-1"0,0 0 16,-17 19-16,17-18 0,-17 18 16,17-2-16,-19 2 0,-16 16 15,35-16-15,-17-18 16,17 16-16</inkml:trace>
  <inkml:trace contextRef="#ctx0" brushRef="#br0" timeOffset="20014.11">9697 11894 0,'71'0'16,"-71"17"-16,0 18 15,-53 1 1,35-19 0,18 0-16,-17 1 15,34-18 1,18 18-1,1 0 1,-19-18-16,1 0 0,-1 17 16,2 19-1,-38 16 1,-33-16-16,33-19 16,-15 1-16,-20-1 0,20 2 15,-2-2-15,18-17 0,-16 17 16,15-17-16,2 0 0,-1 0 15,1 0 1</inkml:trace>
  <inkml:trace contextRef="#ctx0" brushRef="#br0" timeOffset="20485.43">10139 11840 0,'34'0'31,"-16"0"-31,-1 18 16,2-18-16,-2 0 0,0 0 15,1 17-15,0-17 0,0 19 0,-1-19 0,-17 17 16,17 0-16,2 1 16,-2 18-16,-17-19 15,0 0-15,0 19 0,-17-18 16,17 16-16,0-15 0,-19 33 31,19-35-31,0 2 0,0-2 16</inkml:trace>
  <inkml:trace contextRef="#ctx0" brushRef="#br0" timeOffset="20659.89">10139 12104 0,'52'0'0,"-35"0"0,19 0 0,-19 0 16,54 0-16,-35-17 0,-1 17 15,18 0-15,18 0 16,-37 0-16,37-17 0,-36 17 16,-17 0-16</inkml:trace>
  <inkml:trace contextRef="#ctx0" brushRef="#br0" timeOffset="21171">9944 12246 0,'17'36'31,"-34"-2"-31,-18 37 15,17-36-15,-17 18 0,-1 0 16,-52 70-16,53-70 16,-71 53-16,35-36 15</inkml:trace>
  <inkml:trace contextRef="#ctx0" brushRef="#br0" timeOffset="21839.12">5288 11787 0,'-195'212'15,"90"-53"-15,52-54 16,-1-16-16,20-1 0,-2 0 0,18 0 16,1 88-16,34-105 0,37 70 15,51-17 1,54-53-16,-53-54 0,105 18 16,-104-18-16,15-17 0</inkml:trace>
  <inkml:trace contextRef="#ctx0" brushRef="#br0" timeOffset="22512.76">10685 11452 0,'52'18'0,"-16"18"0,16-19 15,-16 18-15,106 123 16,-108-104-16,2-1 0,-18-1 16,-1 1-16,0 53 0,-17-53 15,-17 18-15,-54 123 16,1-71-16,18-70 15,16 1-15,-70 34 0</inkml:trace>
  <inkml:trace contextRef="#ctx0" brushRef="#br0" timeOffset="23741.08">11672 13358 0,'0'17'31,"0"0"-31,-17 1 16,17 0-16,-18 0 0,18 16 16,-34 20-16,34-37 0,-36 36 15,18 1 1,1-20-1,17-16-15,0-1 16,0 2-16,17-19 16,1 17-1,-1-17 1,2 17-16,-2-17 16,0-17-16,1 17 15,18 0-15,-19 0 16,-17-17-16</inkml:trace>
  <inkml:trace contextRef="#ctx0" brushRef="#br0" timeOffset="24081.67">12008 13498 0,'0'0'0,"0"53"47,17-17-31,-17-19-16,18-17 15,-18 18-15,18-1 16,0 2 0,-1-19-1,18-36 1,-17 1-1,0 16-15,-18 2 16,17 0-16,-17-1 16,17 0-16,-17 0 0,19 18 15,-19-17 1,35 34 0</inkml:trace>
  <inkml:trace contextRef="#ctx0" brushRef="#br0" timeOffset="24388.54">12748 13587 0,'-17'-19'0,"70"2"31,-36 17-15,1 0-16,0-17 15,17 17-15,-35 17 16,17-17-16</inkml:trace>
  <inkml:trace contextRef="#ctx0" brushRef="#br0" timeOffset="24529.42">12660 13763 0,'-17'0'0,"70"0"31,-36-17-31,1 17 16,52-19 0,-52 19-16</inkml:trace>
  <inkml:trace contextRef="#ctx0" brushRef="#br0" timeOffset="25164.19">13648 13375 0,'17'0'32,"-51"17"-32,34 1 15,-18-18-15,0 18 16,0 0-16,36-1 31,0-17-15,0 17-16,-1-17 0,0 0 0,2 18 15,-2 0-15,1-18 16,-1 18-16,-17-1 16,0 0-16,0 2 15,-35-2-15,-1 1 16,19-1-16,-36 2 15,35-2-15,1-17 0,-18 17 16</inkml:trace>
  <inkml:trace contextRef="#ctx0" brushRef="#br0" timeOffset="25640.98">16241 13322 0,'0'-18'15,"0"53"1,0-16-16,0 15 0,0-16 16,-17 35-16,17-36 0,0 1 15,-19 18-15,19-19 0,0 19 16,0-19-16,-17 1 0,17-1 0,0 2 15,0-2-15,0 18 16</inkml:trace>
  <inkml:trace contextRef="#ctx0" brushRef="#br0" timeOffset="25854.62">16612 13304 0,'0'-17'0,"0"34"0,-19 1 31,19-1-15,0 2-16,-17 33 15,17-16-15,-17-19 0,17 0 16,-18 90 0,18-90-16,0 1 0,0-1 15,0 2-15</inkml:trace>
  <inkml:trace contextRef="#ctx0" brushRef="#br0" timeOffset="26057.98">16188 13551 0,'17'0'16,"19"-17"-1,-18 17-15,-1 0 16,0 0-16,2 0 0,-2 0 16,1 0-16,88 0 15,-71 0 1</inkml:trace>
  <inkml:trace contextRef="#ctx0" brushRef="#br0" timeOffset="26340.65">16859 13463 0,'17'0'0,"0"35"31,-17-17-15,0 0-16,19-1 15,-2 0 1,1-17-1,-1 0-15,0-17 16,2 17-16,-2-35 16,-17 17-16,18 0 15,-18-34-15,0 16 16,0 19-16,0 0 0,-18-2 0,-18 2 16</inkml:trace>
  <inkml:trace contextRef="#ctx0" brushRef="#br0" timeOffset="27190.22">13631 13375 0,'17'0'16,"0"0"0,19-17 15,-36-2-31,18 19 0,-18-17 15,17 17-15,-17-18 0,0 1 16,19-2-16,-19-33 16,0 35-16,0-2 15,0-15-15,-19 16 0,2 0 16</inkml:trace>
  <inkml:trace contextRef="#ctx0" brushRef="#br0" timeOffset="28610.78">17935 13446 0,'52'0'16,"-34"-18"-16,0 18 15,-1 0-15,0 0 0,2 18 16</inkml:trace>
  <inkml:trace contextRef="#ctx0" brushRef="#br0" timeOffset="28769.76">17917 13587 0,'18'17'31,"16"-17"-16,-16 0-15,18 0 16</inkml:trace>
  <inkml:trace contextRef="#ctx0" brushRef="#br0" timeOffset="29135.8">18693 13358 0,'-18'-19'0,"36"38"0,-54-38 0,19 19 15,-18 0-15,-1 19 16,19-2 0,0 0-16,-2 1 15,19 0-15,0 0 16,19-18-16,-2 17 15,0-17-15,1 0 16,0 0 0,17 0-16,-18 17 15,1 1-15,-18 0 16,0 17-16,0-18 16,0 2-16,0-2 0,0 1 15,-18 52 1,18-35-16,0-16 15</inkml:trace>
  <inkml:trace contextRef="#ctx0" brushRef="#br0" timeOffset="30642.61">13384 15122 0,'-19'0'15,"19"34"1,0 1-16,0-16 15,0-2-15,-17 18 0,17 1 0,0 69 16,0-69-16,0-1 16,-17-18-16,17 19 0,0-1 15,0-18-15,0 2 16,0-2-16,0-70 31,0 18-15,17-18-16,-17 18 0,17-18 0,2-1 15,-2 2-15,37-54 16,-37 71-16,36-18 16,-35 35-16,34-18 0,-34 19 15,0 17-15,-1 0 16,0 17-16,-34 2 16,17-2-16,-17 18 0,-19 1 15,18-1-15,-16 1 0,-2-2 0,-16 37 16,-2-35-16,37-19 15,-2 1-15,-15 16 16,16-15-16,1-19 16,17 17-16,0 1 0,0-1 15,0 2 1,17-19-16,1 17 0,-1-17 16,0 0-16,73 17 31,-73-17-31,0 0 0,1 0 0,0 0 15,0 0-15,16 0 0,-16 0 16</inkml:trace>
  <inkml:trace contextRef="#ctx0" brushRef="#br0" timeOffset="31571.63">13755 15386 0,'0'-18'0,"-19"18"32,2 18-17,-1-18-15,18 17 0,-17-17 16,17 17-16,-19 2 16,19-2-16,0 1 15,-17-1-15,34 2 16,-17-2-1,19-17 1,-2 0 0,1-17-16,-1-2 15,-17 2-15,19-1 16,-19 1-16,17-2 16,-17 2-16,17 0 15,-17-1 1,0 53-1,18-18 17,-18 2-17,0-2-15,17-17 32,2 0-17,-2 0-15,0 0 31,1 0-31,0 18 32,0-1-17,-1 2 17,18-38 14,-17 19-30,0 0-16,-1 0 16,0-17-16,2 17 15,-2 0-15,1-18 16,-1 18-16</inkml:trace>
  <inkml:trace contextRef="#ctx0" brushRef="#br0" timeOffset="32043.59">14248 15351 0,'0'35'47,"0"-1"-32,0-15-15,0-2 16,-17 1-16,17-1 0,-19 2 16,19-2-16,-88 54 31,88-54-31,-17-17 16,17 17-16,17-34 31,2 0-16,-2-2-15,35-16 16,-33 18-16,15 0 0,-34-2 16,18 2-16,0-1 15,0 18-15,-18-17 16,17 17-16,0 17 31,-17 1-15,0-1-1,19 2 17,-2-19-32,1 0 0</inkml:trace>
  <inkml:trace contextRef="#ctx0" brushRef="#br0" timeOffset="32563.65">16012 15210 0,'-17'52'31,"-19"37"-15,36-72-16,-18 1 0,1 52 31,17-52-31,-19-1 0,19 2 16</inkml:trace>
  <inkml:trace contextRef="#ctx0" brushRef="#br0" timeOffset="32798.96">16259 15103 0,'17'-17'0,"-34"34"15,34 2 1,-17-2-16,0 18 16,-17 18-1,17-36-15,0 1 0,0 18 16,-18-19-16,18 0 0,0 19 0,0-1 15,0-18-15,0 2 16,-17 16-16,17-18 16,0 2-16</inkml:trace>
  <inkml:trace contextRef="#ctx0" brushRef="#br0" timeOffset="32979.51">15747 15474 0,'0'0'0,"53"0"15,18 0 1,-54 0 0,19 0-16,87-18 15,-105 18-15</inkml:trace>
  <inkml:trace contextRef="#ctx0" brushRef="#br0" timeOffset="33260.81">16488 15280 0,'0'0'16,"0"35"-1,0-18 1,0 2-16,17 16 31,1-18-31,0-17 16,0 0-1,-1 0 1,0-17-16,-17-1 16,19-18-1,-2 36-15,-17-17 0,18 17 16,-18-17-16,53-1 15,-36 18-15</inkml:trace>
  <inkml:trace contextRef="#ctx0" brushRef="#br0" timeOffset="34353.87">17388 15368 0,'17'-17'16,"1"34"-16,-1-17 16,2 0-16,-2 0 0,0-17 15,19 17-15,-1 0 16,18 0-16,-35 0 0,16 0 16,-15 0-16,-2-19 0,1 19 0,18 0 15,-19 0-15</inkml:trace>
  <inkml:trace contextRef="#ctx0" brushRef="#br0" timeOffset="34700.32">18128 15086 0,'0'-18'15,"-35"72"1,35-37 0,0 18-16,-36 18 15,36-36-15,0 1 0,-17 0 0,17 0 16,0-1-16,0 0 16,-17-17-16,17 19 15,17-2-15,0 1 16,2-18-1,-2 0-15,1 0 0,-1 0 16,2 0-16,15 0 0,-34-18 16,18 18-16,18 0 15,-19-17-15,0 17 0,1 0 16,0-19 0</inkml:trace>
  <inkml:trace contextRef="#ctx0" brushRef="#br0" timeOffset="34989.37">18445 15139 0,'0'-17'16,"0"69"0,-17-35-1,17 36 1,0-35-1,0 0-15,17 0 16,2-18 0,-2 0-1,1-18-15,18-18 32,-19 2-32</inkml:trace>
  <inkml:trace contextRef="#ctx0" brushRef="#br0" timeOffset="35759.75">15095 15632 0,'34'-17'16,"2"17"-16,-18 0 0,70 0 31,-52 0-31,-19 0 0,0 17 15,1-17-15</inkml:trace>
  <inkml:trace contextRef="#ctx0" brushRef="#br0" timeOffset="35938.71">15219 15827 0,'34'0'31,"1"0"-15,-16 0-1,15 17-15,-16-17 0,-18 18 16</inkml:trace>
  <inkml:trace contextRef="#ctx0" brushRef="#br0" timeOffset="36264.24">15112 16655 0,'17'-17'32,"2"17"-32,-2 0 15,18 0-15,36 0 16,-54-18-1,19 36 1</inkml:trace>
  <inkml:trace contextRef="#ctx0" brushRef="#br0" timeOffset="36454.31">15077 16832 0,'35'0'31,"18"-17"-15,1 17-1,-37-19-15,18 19 0,-18 0 0,19 0 16,-1-17-16,1 17 0,-2-17 16,2 17-16</inkml:trace>
  <inkml:trace contextRef="#ctx0" brushRef="#br0" timeOffset="38145.33">16859 16338 0,'0'-18'0,"-18"1"16,0 52 0,0-35-16,1 18 15,0 17-15,17-18 0,-19 19 0,-33 106 32,52-108-32,0 37 15,52 0 1,-33-71-16,-2 17 15,0-17-15,1 0 16,0 0-16,0-17 0,-1 17 16,-17-18-16,0 0 15,-17-17 1,-1 18-16,0 17 16,0-19-16,1 19 0,-19 0 15,36-17-15,-17 17 16,-1 17-16,1-17 0,0 19 15</inkml:trace>
  <inkml:trace contextRef="#ctx0" brushRef="#br0" timeOffset="38390.49">17352 16550 0,'-35'17'31,"35"2"-31,-17-2 0,-19 18 16,19-18-16,-71 72 16,70-54-16,0-18 15,0 2-15,-16 16 16,34-18-16,-19 0 0,19 2 15</inkml:trace>
  <inkml:trace contextRef="#ctx0" brushRef="#br0" timeOffset="38566.72">17564 16586 0,'17'0'16,"-34"34"-16,0-16 0,-1-1 15,-52 107-15,34-88 16,-18 16-16,2 1 0,16 1 16,-16-2-16,16 1 0,-16 0 15,16-18-15,-34 53 0,16-52 16</inkml:trace>
  <inkml:trace contextRef="#ctx0" brushRef="#br0" timeOffset="42292.36">16735 16074 0,'-176'105'15,"140"-69"-15,1-1 0,0 1 0,-54 210 16,72-175-16,-1 0 16,18-19-16,0 18 0,0-16 15,18 70-15,-1-54 0,2-18 16,-2-16-16,18 16 0,1-16 16,-2-1-16,90 53 15,-70-69-15,-2-2 0,1-17 16,-18 0-16,18 0 0,0-17 15,-1-2-15,2 2 0,34-37 16,-35 37-16,-18-18 0,1 18 0,-2-19 16,-15 1-16,-2-1 0,1 2 15,-1-2-15,0-16 0,-17-38 16,-17-15-16,0 52 0,-18-18 16,16 19-16,-15-1 0,-2 18 15,1-1-15,-18 1 0,-89-53 16,73 70-16,16 18 15,-1-18-15,1 18 0,-16 0 16,15 0-16,18 0 0,-16 18 0,16-18 0,-34 18 16</inkml:trace>
  <inkml:trace contextRef="#ctx0" brushRef="#br0" timeOffset="50042.61">21621 11187 0,'-18'-17'0,"0"17"0,1 0 16,0 0-16,-1 0 15,0 0-15,0 17 0,1-17 0,0 0 16,-19 19 0,18-2-16,18 0 0,0 1 15,0 0 1,18 17-1,35 0-15,-36-35 0,1 18 16,18 0 0,-19-18-16,0 17 0,1 0 15,-36 2 1,18-2-16,-17-17 0,0 18 16,-19-1-16,1 2 15,18-19-15,-54 17 16,18 0-16,35-17 0,1 0 15,-2 0-15,2 0 16,17-17 0</inkml:trace>
  <inkml:trace contextRef="#ctx0" brushRef="#br0" timeOffset="50959.63">21851 11276 0,'-71'35'0,"54"-18"0,-2 1 16,2 0-16,17 0 15,-18-18-15,18 17 0,-17 0 0,-2 19 16,19-18 0,19-1-1,-2-34 1,1 17-16,-1-18 16,-17 1-16,19-2 0,-2 19 15,-17-17-15,0 0 0,17-1 16,-17 0-1,18 36 17,-18 0-17,0-1-15,0 0 16,17-17-16,2 19 16,-2-19-1,18-19 1,-17 2-16,0 0 0,-1-1 0,-17 0 0,17 0 15,2-16-15,-19 16 0,17-18 16,-17 2-16,18-56 16,-1 56-16,-17 16 15,0 1-15,0-2 0,0 2 16,17 0-16,-34 70 31,17 16-15,0-33-1,-17 35-15,17-36 16,0-17-16,0 0 0,0-1 0,17 0 16,-17 1-16,0 0 0,17 0 15,2-1-15,-2-17 0,-17 17 0,18-17 16,-1 0-16,2 0 16,-2 0-16</inkml:trace>
  <inkml:trace contextRef="#ctx0" brushRef="#br0" timeOffset="51545.26">22415 11258 0,'0'0'0,"-18"-18"0,1 18 16,-2 0-16,2 0 16,0 18-16,-1 0 15,0 0-15,0 16 16,1-16-1,17 0 1,0 0-16,17-1 16,1-34 15,-18-1-31,18 18 0,0-18 16,16 0-1,2 18 16,-18 18-15,-18 0 0,0 0-1,0-1 1,0-52 62,17 35-47,-17-18-31,17 0 16,2 18 15,-2-17-15,-17 0-1,18 17-15,-1 0 16,2 0 0,-2 0-16</inkml:trace>
  <inkml:trace contextRef="#ctx0" brushRef="#br0" timeOffset="51927.96">22627 11258 0,'0'36'47,"17"-36"-15,0 17-17,1-17-15,-18 17 0,18 1 16,-18 0-16,0 0 15,18 16 1,-36 20-16,18-37 0,0 2 16,-18-2-16,18 0 0,-18 18 15,18-16-15,-17-19 16,17 17-16,-17-53 31,34 1-15,0 18-16,-17 0 0,18-2 15,0 2-15,0-1 0,-18 1 0,70-36 16,-16 17 0,-37 36-16,0-18 0,1 1 15,18 17-15</inkml:trace>
  <inkml:trace contextRef="#ctx0" brushRef="#br0" timeOffset="52457.75">23508 11294 0,'17'-18'31,"2"18"-15,-2-18-16,1 18 0,-1 0 0,2 0 16,-2-18-16,0 18 0</inkml:trace>
  <inkml:trace contextRef="#ctx0" brushRef="#br0" timeOffset="53183.49">24161 11028 0,'35'-34'15,"-18"34"-15,2 0 0,-2-18 16,1 18 0,-36 18 31,1-18-47,-2 17 0,-33 19 15,34-36 1,18 17-16,-18 1 15,18-1 1,18 0 0,-18 2-16,18-19 0,0 0 0,-18 17 15,34 1-15,-15-18 16,-2 17-16,1 2 16,-18-2-1,0 0-15,-18-17 16,18 18-16,-17 0 0,-2 0 15,2-18-15,0 17 0,-19 0 16,18-17 0</inkml:trace>
  <inkml:trace contextRef="#ctx0" brushRef="#br0" timeOffset="55078.65">24601 11028 0,'-52'-17'0,"35"17"15,-19 0 1,1 36 0,35-19 15,0 1-31,18-18 15,-1 17-15,0-17 16,2 0-16,-2 17 16,1-17-16,-18 19 0,17-19 15,0 17-15,2 1 0,-19-1 0,17-17 16,-17 19-16,-17 15 16,17-16-16,-19 0 15,19 0-15,-17-18 0,17 17 0,-17 0 0,-1-17 16,18 18-16,-17-18 15,-2 0 1,2-18 0,34 1-16,19-36 31,-18 35-31,-1 1 0,-17 0 16,17-2-16,2 2 0,-2 17 0,1-18 15,18-18-15,-19 19 16,0 0-16,-17-1 15,18 18-15,-18-17 16,17 17-16,-17 17 47,19 1-31,-19-1-16,17-17 31,0 0-16,1 0-15,-18-17 16,18 17 0,0 0-1,-1 0-15,0 17 32,-17 0-32,0 2 15,0-2 1,0 1-1,0-1 1,0 2 0,19-38-1,-2 2 1,1 17 0,-1-18-16,0 18 15,-17-17-15,36-2 16,-36 2-1,18 17-15,-18-17 16,17-1-16,2 18 16,-2-17-1,0-2 1,1 19 0,0 19-1,0-19 1,-18 17-1,17-17 1,0 18 0,1-18 15,0 0-15,0 0-16,-1-18 15,0 18 1,-17-17-16,19 17 15,-2-19-15,1 19 16,-1 0-16,2 0 16,-2 19-1,-17-2 1,0 1-16,0-1 16,0 0-16,17-51 46,18-20-30,-16 37-16,-2-18 16,18-1-16,-17 2 0,17-2 0,18-35 15,-35 54-15,-1-1 0,0 1 16,37-19-16,-37 19 16</inkml:trace>
  <inkml:trace contextRef="#ctx0" brushRef="#br0" timeOffset="57652.81">23103 12828 0,'0'35'31,"0"1"-15,0-19-16,0 1 16,0 35-1,0-36-15,0 1 16,0-1-16,0 2 0,0-2 15,0 0 1,0 1-16</inkml:trace>
  <inkml:trace contextRef="#ctx0" brushRef="#br0" timeOffset="58086.72">23296 12828 0,'0'-18'0,"-17"36"31,17 17-15,-18-18-16,18 2 0,0-2 15,0 1-15,0 18 16,0-19-16,0 0 16,18-17-16,-18 18 0,17-18 15,2 0-15,-2 0 16,0 0-16,1-18 16,0 18-1,-18-17-15,18 17 0,-18-17 16,-18-2-16,18 2 15,0-1-15,-18 1 16,0 17-16,18-19 0,-17 19 16,0 0-1,-2-17-15,2 34 16</inkml:trace>
  <inkml:trace contextRef="#ctx0" brushRef="#br0" timeOffset="58390.84">23525 12810 0,'19'36'16,"-2"-19"-1,-17 0 1,18 2-16,-1-2 0,2 1 15,-2-18-15,0 17 16,1-17-16,0 0 16,17-17-1,-35-1-15,17 1 0,-17-2 16,0 2 0,-17 0-16,0-19 15,-1 18-15,18 1 16,-53 17-16,36 0 15,-2 0-15,-69 35 16</inkml:trace>
  <inkml:trace contextRef="#ctx0" brushRef="#br0" timeOffset="58917.8">22715 12899 0,'-18'0'0,"-18"17"16,19 1-1,0-18 1,17 17-16,0 19 16,0-19-16,0 1 15,17 18-15,0-36 16,-17 17-16,0 0 0,18-17 0,-18 18 16,0 0-16,18 0 15,-18-1-15,0 0 16,-18 2-16,18-2 0,-18 1 15,1-1-15,17 0 0,-17-17 16,-1 19-16,0-19 0,0 17 16,1-17-16</inkml:trace>
  <inkml:trace contextRef="#ctx0" brushRef="#br0" timeOffset="59135.18">22644 12722 0,'0'36'15,"0"-19"-15,0 0 16,0 19-16,0-18 0,0 16 0,0 20 16,0 140-1,0-159-15,0 18 0,0-18 16,0 1-16,0-1 0,0 1 15,0-2-15,0 2 0</inkml:trace>
  <inkml:trace contextRef="#ctx0" brushRef="#br0" timeOffset="60018.25">24496 12880 0,'36'19'16,"-36"-2"-16,0 1 0,0-1 15,0 2-15,0-2 0,-19 18 16,2 35-16,-36 1 15,35-35-15,-16-1 0,15-1 16,-16-15-16</inkml:trace>
  <inkml:trace contextRef="#ctx0" brushRef="#br0" timeOffset="68073">25219 12758 0,'-18'0'16,"18"-18"-16,18 0 31,0 18-15,0 0-16,-1 0 0,0 18 15,2 0-15,-19-1 16,0 0-16,0 19 15,-19-18-15,2-1 0,17 0 0,-17 19 16,-1-18-16,0-1 0,0 2 0,1-2 16,-18 18-16,17-18 15,0-17-15,18 19 16,-17-19-16,52 0 31,18 0-15,-36-19-16,1 19 15,0 0-15,53-17 16,-54 17-16,18 0 16,-16-18-16,-2 18 0,0 0 15,1-17-15,18 17 16,-19-17-16</inkml:trace>
  <inkml:trace contextRef="#ctx0" brushRef="#br0" timeOffset="68498.74">25643 12722 0,'0'-18'0,"0"36"0,-18-36 16,1 36-1,-2 0 1,2 0-16,17-1 16,0 0-16,-17 1 0,17 0 15,0 0-15,0-1 0,17 0 16,-17 2-16,0-2 0,17-17 16,-17 18-16,19-18 15,-2 0-15,1 0 16,-1 0-16,0 0 0,2-35 31,-2 16-31,-34-15 16,17 16-16,0 0 15,-19-17 1,19 18-16,-17-1 16,0 18-1</inkml:trace>
  <inkml:trace contextRef="#ctx0" brushRef="#br0" timeOffset="68786.08">25819 12704 0,'0'36'16,"17"-18"-16,2 16 15,-19-16-15,17 0 16,0-18 0,-17 18-16,18-18 0,0 0 0,17 0 31,-18-18-31,2 18 0,-19-18 16,17 0-16,-17 1 15,0-18-15,-17 17 16,17 0-16,-19 18 15,2-17-15,0 17 0,-1 0 16,0 0-16,-17 17 16,-1-17-16</inkml:trace>
  <inkml:trace contextRef="#ctx0" brushRef="#br0" timeOffset="69337.87">24920 12810 0,'-19'0'0,"2"-18"0,-18 36 16,17-18-1,0 0-15,18 18 0,-17 0 16,17-1 0,0 0-16,0 2 0,0-2 0,17 1 15,-17-1-15,18 2 16,-18-2-16,18 0 0,-18 1 15,18-1-15,-18 2 0,0-2 16,0 18-16,0-17 16,0 0-16,-18-18 15,18 17-15,-18 0 0,-17 19 16,18-36 0,-2 0-16</inkml:trace>
  <inkml:trace contextRef="#ctx0" brushRef="#br0" timeOffset="69543.42">24813 12775 0,'0'71'0,"0"-37"16,0 2-16,0-1 0,0 18 0,0 1 15,0-2-15,-17 54 0,17-35 16,0-36-16,0 18 0,0-18 16,0 1-16,0-2 0,17 2 0</inkml:trace>
  <inkml:trace contextRef="#ctx0" brushRef="#br0" timeOffset="70114.82">26753 12846 0,'0'34'16,"0"-15"-1,0 16-15,0 35 16,-17-35-16,0 36 16,-1-1-16,0-51 0,0 33 0,-16 19 31,16-54-31</inkml:trace>
  <inkml:trace contextRef="#ctx0" brushRef="#br0" timeOffset="71217.46">27424 12582 0,'0'-19'16,"17"2"-16,2 17 16,-2 0-16,1 0 0,16 17 31,-34 2-31,0-2 15,0 0-15,-17 18 0,0-16 16,17-2-16,0 0 16,-18-17-16,18 18 15,0 0 1,18-18-16,-1 0 16,0 0-16,2 0 15,-2 0-15,-17 18 16,18-18-16,-1 0 0,-17 17 15,0 0 1,-17 1-16,17 0 16,-18 0-16,1-18 0,-2 17 0,2 0 15,-18 19-15,18-36 16,-2 0-16,2 18 16,0-18-16</inkml:trace>
  <inkml:trace contextRef="#ctx0" brushRef="#br0" timeOffset="71566.1">27759 12634 0,'-18'0'15,"1"17"-15,0-17 0,17 19 16,0-2-1,-18-17-15,18 17 0,18 1 0,-18 0 16,17-18 0,0 18-16,1-36 15,0 18-15,0-18 16,-1 0 0,-17-16-1,-17 15 1,-1 2-1,18-1-15,-18 18 0,0 0 16,1 0-16</inkml:trace>
  <inkml:trace contextRef="#ctx0" brushRef="#br0" timeOffset="71826.02">27971 12599 0,'17'17'16,"-17"1"-16,19-18 0,-2 17 15,0-17 1,1 0-16,0 0 0,17 0 16,-18 0-16,1-17 15,0-1 1,-18 1-16,0 0 15,0-2-15,-18 2 16,-17-18 0,18 35-16,-19 0 15,18 0-15,1 17 16,0-17-16,-19 18 0,18-18 16</inkml:trace>
  <inkml:trace contextRef="#ctx0" brushRef="#br0" timeOffset="72313.44">27160 12704 0,'-36'0'16,"72"0"0,-89 0-1,35 0-15,36 18 0,-1 35 32,0-36-32,-17 1 0,19 0 15,-2 0-15,-17-1 0,18 0 0,-18 2 16,0-2-16,17 1 15,-17-1-15,-17 2 0,17-2 0,-18 0 16,-18 18-16,19-16 16,-35 15-16,33-34 15,2 18-15,0-18 0,-1 0 16</inkml:trace>
  <inkml:trace contextRef="#ctx0" brushRef="#br0" timeOffset="72510.07">27141 12511 0,'-17'159'16,"0"-107"-1,-1 142-15,18-140 0,0-20 16,0 1-16,0 1 0,18-1 0,-1-17 15</inkml:trace>
  <inkml:trace contextRef="#ctx0" brushRef="#br0" timeOffset="72981.36">28447 12458 0,'0'34'16,"18"-34"-16,-18 19 16,0 16-16,0-18 0,0 19 0,-18 16 15,18 1-15,-18 1 0,-35 68 16,18-51-16,1-18 0,-20 53 16,18-70-16,2 34 15,16-35-15,0-18 0</inkml:trace>
  <inkml:trace contextRef="#ctx0" brushRef="#br0" timeOffset="75118.06">24867 11346 0,'193'-70'0,"-157"52"0,52 0 16,-53 18-16</inkml:trace>
  <inkml:trace contextRef="#ctx0" brushRef="#br0" timeOffset="75304.05">25184 11506 0,'124'-54'0</inkml:trace>
  <inkml:trace contextRef="#ctx0" brushRef="#br0" timeOffset="78976.83">29259 12228 0,'-18'35'16,"36"-16"15,-1-19-16,0 0 1,2 0-16,-2 0 0,1-19 16,35 19-1,-53-17-15,17 17 0,1 0 16,-1 0-16,2 0 16,-19 17-1,0 2-15,17-2 16,-17 0-16,0 1 0,0 0 0,0 0 15,0 52 1,0-35-16,0-18 0,0 19 16,0-18-16,0-1 0,0 2 15,0-2-15,0 0 0,0 18 16,0-16 0,0-2-16</inkml:trace>
  <inkml:trace contextRef="#ctx0" brushRef="#br0" timeOffset="79174.62">29293 12670 0,'19'-19'16,"-2"2"-1,1 17-15,-1-18 0,2 18 0,-2-17 16,18 0-16,1 17 0,-19-19 15,0 19-15,54-35 16,-54 35-16,2 0 16,-19-17-16</inkml:trace>
  <inkml:trace contextRef="#ctx0" brushRef="#br0" timeOffset="79680.97">29047 12458 0,'-35'-36'15,"-18"36"1,35 0-16,1 0 15,-19 18 1,36 0-16,0-1 16,0 0-16,0 2 0,17-2 15,2 1-15,-2-1 0,-17 2 0,18-2 16,18 0 0,-19 18-16,0-16 0,1 15 15,-18-16-15,0 0 16,-18 17-1,1-18-15,0 1 0,-2 0 16,2-18-16,17 18 0,-18-18 0,1 17 16,-2-17-16,-33 0 15</inkml:trace>
  <inkml:trace contextRef="#ctx0" brushRef="#br0" timeOffset="79911.09">28888 12228 0,'0'35'31,"0"106"-15,0-87-16,0 70 15,17-72-15,-17-16 16,0 52-16,19-71 0,-19 18 15,17 1-15,-17-2 0,18-15 16,-1-2-16,19 1 16</inkml:trace>
  <inkml:trace contextRef="#ctx0" brushRef="#br0" timeOffset="80482">29700 12316 0,'0'0'15,"-19"36"1,19-18-1,0-1-15,0 0 0,0 1 16,-17 0-16,17 0 0,0-1 0,0 0 16,17 19-16,-17-1 15,19-16-15,-2-2 16,1-17 0,-1 0-16,2 0 0,-2-17 15,0-2 1,1 2-16,-18-1 15,0 1-15,0-2 0,0 2 16,0-18-16,-18-1 16,1 19-1,17 0-15,-17 17 16,-2 0-16,2 0 16</inkml:trace>
  <inkml:trace contextRef="#ctx0" brushRef="#br0" timeOffset="80762.03">29876 12387 0,'0'17'16,"17"1"-16,-34-53 0,34 88 16,1-53-16,-18 18 0,18-18 15,34 17 1,-33-34-1,-2 17-15,1-18 16,-18-18 0,0 19-16,0 0 0,0-1 15,-18 0-15,18 0 16,-17 18-16,17-17 0,-19 17 0,-15 17 31,16-17-31,18 18 0,-18-18 0,0 18 16,18 0-16,-17-18 0,0 17 0</inkml:trace>
  <inkml:trace contextRef="#ctx0" brushRef="#br0" timeOffset="80966.16">30211 12387 0,'36'17'0,"-36"1"15,17 0-15,-17 0 0,17-1 0,-17 0 16,18 37-16,-18-37 16,0 36-16,-18-18 0,18 1 15,-17-1-15,0 18 0,-1-36 16,0 19-16,0-18 0,-52 70 31</inkml:trace>
  <inkml:trace contextRef="#ctx0" brushRef="#br0" timeOffset="82053.91">31181 12192 0,'-53'-17'15,"1"17"1,33 17-16,2-17 15,17 36 1,0-18 0,36 18-16,-19-19 15,1 0-15,16 19 0,-15-18 16,-2-1-16,-17 0 16,18 1-16,-18 0 0,0 0 15,-18-1-15,1 0 0,-2 2 16,2-2-16,-18 1 15,-1-1-15,19-17 0,0 19 16,-54-2-16,54-17 0,-2 0 16,2 0-16,17-17 0,-18 17 15</inkml:trace>
  <inkml:trace contextRef="#ctx0" brushRef="#br0" timeOffset="82268.05">31040 11964 0,'17'18'16,"-17"34"0,-17-16-16,17 17 15,-17 70-15,17-70 0,-18 0 16,18 17-16,-18-17 0,18 0 16,-18 70-16,18-70 15,-17 1-15,17-2 0,0 1 0,0-17 16,0-19-16,0 18 0,0-16 15,0-2-15,17-17 0,-17 17 0</inkml:trace>
  <inkml:trace contextRef="#ctx0" brushRef="#br0" timeOffset="83460.37">31552 12140 0,'17'0'0,"18"18"15,-35-1 1,19 0-16,-19 2 16,-19-2-16,19 1 0,-17 35 15,-1-18-15,18-17 0,-17 17 0,-2-18 16,-33 54 0,35-54-16,17 2 15,-19-19-15,19 17 0,-17 1 16,70-36 31,-53 1-47,18 17 0,-1 0 15,0-19-15,2 19 0,-2-17 16,1 17-16,-1 0 0,-17-17 16,19 17-16,-2-18 0</inkml:trace>
  <inkml:trace contextRef="#ctx0" brushRef="#br0" timeOffset="83776.21">31799 12246 0,'-36'17'16,"36"2"-16,0 15 15,0-16-15,0 0 16,0 0-16,0-1 15,18 0-15,0 1 16,-1-18 0,19-18-16,-19 18 15,-17-17-15,0 0 0,0-1 16,0 0-16,0 0 16,-17-35-1,17 36 1,-19-1-16,-15 36 15,16-18 17</inkml:trace>
  <inkml:trace contextRef="#ctx0" brushRef="#br0" timeOffset="83993.6">31975 12282 0,'17'17'16,"-17"18"0,0-17-1,0 0-15,0 16 0,-35 20 16,35-37 0,-17 0-16,0 2 0,17-2 15,-19-17-15,19 18 0,-17-18 0</inkml:trace>
  <inkml:trace contextRef="#ctx0" brushRef="#br0" timeOffset="84350.89">32204 12175 0,'-17'0'16,"-1"17"-16,18 2 0,-17-19 16,17 35-16,-19 18 15,19-36-15,0 1 16,19 0 0,-2-18-1,1 0-15,-1 0 16,-17-18-16,17 18 15,-17-18-15,0 1 0,19 0 16,-19-2-16,0 2 16,0-1-16,-19 1 0,19-2 15,-17 19 1,0-17-16,-1 34 16,1-17-1</inkml:trace>
  <inkml:trace contextRef="#ctx0" brushRef="#br0" timeOffset="84655.31">32328 12211 0,'0'17'0,"17"18"16,1-16-16,0-19 15,0 0 1,-1 0-16,0 0 0,1-36 31,-18 18-31,18 1 0,-18-2 16,-18 2-16,18 0 16,-18-1-1,1 18 1,0 0-16,-1 0 15,0 18-15</inkml:trace>
  <inkml:trace contextRef="#ctx0" brushRef="#br0" timeOffset="85019.19">32628 12070 0,'-36'0'15,"19"34"1,17-15-16,0-2 0,0 1 16,-18-1-16,36 0 15,-18 2-15,17-2 31,0-17-31,2 0 0,-2 0 16,1-17-16,-1 17 0,-17-19 16,19 19-16,-19-17 15,17 0-15,-17-18 16,0 16-16,0 2 16,-17 0-16,-2 17 15,-16 0 1,18 17-1,-2-17 1</inkml:trace>
  <inkml:trace contextRef="#ctx0" brushRef="#br0" timeOffset="86969.94">22273 12599 0,'-34'17'47,"-37"37"-32,54-37-15,17 0 0,-19 1 16,2 0-16,-1-18 0,1 18 16,-2 16-16,19-16 0,-17-18 15,17 18-15,-17 0 0,-1-1 16,18 0-16,0 2 0,-17-2 15,17 1-15,0-1 16,0 2-16,-19-2 0,19 0 0,0 1 16,0-1-16,0 19 0,0-19 15,0 1-15,0 18 0,0-19 0,0 19 16,0-19-16,0 18 0,0 72 16,0-73-16,0 2 15,-17-1-15,17 0 0,0 35 16,0-34-16,0-1 0,0 1 15,0 16-15,0-33 0,17 15 0,-17 2 16,54 34-16,-1-34 16,-36-19-16,18-17 0,18 0 15,-17 0-15,34 0 0,36 0 16,-18-17-16,335-71 16,-316 52-16,-2 1 15</inkml:trace>
  <inkml:trace contextRef="#ctx0" brushRef="#br0" timeOffset="87897.99">32433 11575 0,'159'-17'15,"-142"17"-15,19 0 16,-18 0-16,-1-18 0,19 18 0,-19 0 16,1 0-16,18 0 15,-19 18-15,0-18 0,1 0 16,0 17-16,-18 2 16,0-2-16,18 0 15,-18 1-15,0 0 0,17 0 16,-17 16-16,17 2 0,-17-18 0,19 16 15,-19 20-15,17-18 0,18 122 16,-16-70 0,-2-36-16,0 2 0,1-1 0,-1 0 15,-17-18-15,36 141 32,-36-157-32,0 15 0,0 1 0,0-16 15,-17 15-15,17-16 0,0 18 0,0-19 16,-36 36-16,18-1 15,1-33-15,0-2 0,-2 1 16,2-1-16,-1 2 0</inkml:trace>
  <inkml:trace contextRef="#ctx0" brushRef="#br0" timeOffset="90256.09">24691 15032 0,'-19'-34'15,"19"16"-15,0 0 16,19 18-16,15 0 15,20 0-15,-37 0 16,0 0-16,1 18 0,0 0 16,0-1-16,-1 19 15,-34-19 1,17 18-16,-36 18 0,18-18 0,-16 1 16,15-1-16,-16-17 0,18 0 15,0-1-15,-19 0 0,18 2 0,1-2 16,-2 1-16,2-18 15,0 17-15,51-17 47,-15 0-47,-2-17 0,18 17 16,-16 0-16,69-18 16,-71 1-16,0 17 0,1-19 15,18 19-15,-19 0 0,36-17 16,-35 0-16,-1 17 15,19-18-15</inkml:trace>
  <inkml:trace contextRef="#ctx0" brushRef="#br0" timeOffset="90627.92">25201 15015 0,'-34'-35'16,"-2"53"15,18-18-31,18 17 0,-17 0 0,17 2 16,0-2-16,-17 1 0,17-1 15,0 19-15,0-19 16,0 1-16,17 35 16,0-36-16,1-17 15,0 0-15,0 18 0,-1-18 16,18-18-16,1 1 15,-36 0 1,17-2-16,-17 2 0,0-1 16,-17 1-16,17 0 0,0-2 0,-18 19 15,18-17-15,-18-1 16,0 1-16,1-2 0,0 19 16,-1 0-1,-18 0-15,36 19 16,-17-19-1,17 17-15</inkml:trace>
  <inkml:trace contextRef="#ctx0" brushRef="#br0" timeOffset="90965.66">25467 15191 0,'17'19'15,"-17"-2"-15,0 0 0,0 1 16,0 0-16,-17 17 16,-2-18-16,2 2 15,17-2-15,-35 18 16,35-18-16,-17-17 16</inkml:trace>
  <inkml:trace contextRef="#ctx0" brushRef="#br0" timeOffset="91321.73">25625 14980 0,'-17'0'0,"-2"18"15,2-1-15,17 19 16,0-19-1,0 1-15,0-1 0,0 2 16,17-19-16,2 17 16,-2-17-1,1 0 1,-1-17-16,-17-2 16,0 2-16,0-1 15,0 1-15,0-2 0,0 2 16,-17 17-16,-1-35 15,1 35-15,-2 0 16,2 0 0</inkml:trace>
  <inkml:trace contextRef="#ctx0" brushRef="#br0" timeOffset="91598.24">25625 14998 0,'18'-18'0,"-1"36"31,-52-18-31,87 0 0,-52 17 16,19 19 0,-19-19-16,17-17 0,-17 18 15,18-18-15,-18 17 0,17 2 16,2-19-16,-2 0 16,18 0-16,-18-19 15,2 19-15,15-35 16,-34 18-16,0-2 15,0 2-15,18 17 16,-36-17-16,18-1 0,0 0 0,-17 0 16,0 1-1,-2 17 1,-16 0-16,35 17 16,-17-17-16</inkml:trace>
  <inkml:trace contextRef="#ctx0" brushRef="#br0" timeOffset="91935.42">26013 14944 0,'-17'18'0,"17"0"0,0 34 15,17-52-15,-17 19 16,18-2-16,16 1 16,-15-18-1,-19 17-15,17-17 0,18-17 16,-16 17-16,-19-18 16,17 1-16,0 17 15,-17-19-15,0 2 0,-17-54 31,17 54-31,-17 17 0,17-17 0,-19-1 16</inkml:trace>
  <inkml:trace contextRef="#ctx0" brushRef="#br0" timeOffset="92371.25">26912 15068 0,'53'0'16,"-35"0"-16,35-17 16,-36 17-1,2 0-15,-2 0 16,18 0 0,-18 0-16,2-19 15,-2 19 1</inkml:trace>
  <inkml:trace contextRef="#ctx0" brushRef="#br0" timeOffset="92767.11">27529 14803 0,'0'71'47,"0"-53"-47,0 0 15,0 16-15,0 54 16,0-69-1,0-2-15,0 1 0,0-1 16</inkml:trace>
  <inkml:trace contextRef="#ctx0" brushRef="#br0" timeOffset="93215.23">27919 14839 0,'0'-17'0,"-19"-2"31,-16 72 0,35-35-31,-17-18 0,17 53 16,0-18-1,0-17-15,17 0 16,-17-1-16,18-17 16,-1 0-16,2 0 15,-2 0-15,0 0 16,1-17-16,-1-1 16,-17 0-16,19 0 15,-38-16 1,19 16-1,-17 18-15,17-18 0,-18 0 16,1 18 0,0 0-1,-2 0-15,2 0 0,-1 0 16</inkml:trace>
  <inkml:trace contextRef="#ctx0" brushRef="#br0" timeOffset="93522.62">28007 14839 0,'0'35'0,"0"-70"0,0 88 16,17-35-1,0 16 1,1-16-16,0-18 0,17 18 15,-18-18-15,37 0 16,16-18 0,-52 18-16,-18-18 15,36 1-15,-19 0 16,-17-1-16,0 0 16,0 0-16,0 1 0,-17 0 15,-2-2-15,-33 2 16,16 34-1,19-17-15,-37 19 16,-16-2-16</inkml:trace>
  <inkml:trace contextRef="#ctx0" brushRef="#br0" timeOffset="94605.98">25996 16338 0,'-36'36'16,"36"-19"-16,0 0 16,-17 19-16,17-1 0,0 1 15,-18 16-15,18-33 16,0 15-16,0 20 0,0-37 16,0 0-16,18-17 0,-18 18 15,0 0-15</inkml:trace>
  <inkml:trace contextRef="#ctx0" brushRef="#br0" timeOffset="94980.27">26401 16374 0,'-17'-18'0,"-36"18"0,35 0 15,0 0-15,-34 18 0,-2 16 16,37-16 0,0 0-16,-2 0 0,2-1 15,17 0-15,0 2 16,17-19-16,19 0 16,-1-19-1,-17 19-15,0 0 0,-1-17 16,0 17-16,1 0 0,0 0 15,0 0 1,-18 17-16,17 2 0,-17-2 16,0 18-1,0 1-15,0 35 16,0-54 0,0 0-16,0 1 15,17 0-15,2 0 0,-2-18 16</inkml:trace>
  <inkml:trace contextRef="#ctx0" brushRef="#br0" timeOffset="95311.18">26701 16603 0,'18'35'31,"-18"-18"-31,0 2 15,-18-2-15,18 18 16,-36 1-16,36-2 0,-17-34 16,0 36-16,17-18 15,-18-18 1</inkml:trace>
  <inkml:trace contextRef="#ctx0" brushRef="#br0" timeOffset="95753.52">27248 16232 0,'-88'0'16,"35"18"-16,-1-1 15,37 2-15,-36-2 16,18 18-16,-1 1 16,19-19-1,53 0 1,-19-17 0,18-17-16,18 17 15,0-17 1,-35 17-16,-1-18 15,19 36 1,-36-1-16,0 0 16,0 54-1,0-18-15,-19-35 16,19-1-16,0 2 0,0-2 16,0 0-16,0 1 15,0-1-15,19-17 0,-2 19 16</inkml:trace>
  <inkml:trace contextRef="#ctx0" brushRef="#br0" timeOffset="96192.08">27529 16286 0,'-34'0'0,"-20"17"16,37-17-16,0 0 0,-1 17 15,0-17-15,0 18 0,1-18 16,17 18-16,-17-18 15,34 18 1,0-18-16,1 0 0,0 0 16,17 0-16,-18-18 15,19 18 1,-18 0-16,-1 0 31,0 18-31,-17-1 0,0 18 16,-17-17-1,17 17-15,0 1 16,-17-19-16,17 1 0,0 18 31,0-19-31,17-17 16</inkml:trace>
  <inkml:trace contextRef="#ctx0" brushRef="#br0" timeOffset="96491.34">27829 16286 0,'-34'17'0,"16"0"15,0 1-15,0-18 0,1 18 16,17 0-16,-17-18 0,17 17 0,-18 0 16,18 1-1,18 0-15,-1-18 16,18 0-1,1-36 1,-19 19-16,-17 0 0,0-1 16,0 0-16,0 0 15,17-16-15,-51 34 0,16-19 16,0 2-16,0 17 16,-16-18-16,-2 36 15,18-18 1,1 17-16,-19 2 0</inkml:trace>
  <inkml:trace contextRef="#ctx0" brushRef="#br0" timeOffset="97417.19">26243 17238 0,'158'17'0,"-70"0"16,-34-17-16,-2 0 15,18 0-15,108-17 0,-109 0 16,20-1-16,-1 1 0,-17-2 16,229-86-1,-231 88-15,55-37 16,0-16-16,-18 16 16,-53 37-16,35-35 15,-35 16-15,17 1 0,0-18 16,20-52-1,-73 86 1,35-69-16,-33 53 16,-19 17-16,17-52 0,-17 52 15,-17-53-15,-2 19 16,2 16-16,-89-123 16,70 125-1,2-2-15,16 18 0,-52-52 16,-18 35-1,-36-36-15,36 18 16,34 36-16,-51-1 16,-90-35-16,19 36 15,106 17-15,-1-19 16,-88 19-16,89 0 16,-160 0-16,72 19 15,70-2-15,0 0 16,-88 19-16,-107 70 15,159-53 1,53-1-16,-69 55 16,87-19-1,17-54-15,1 73 0,18-55 0,17 1 16,0 71 0,17-72-16,54 160 15,0-105-15,70 33 16,-106-104-16,70 17 15,-16-1-15,-37-34 0,36 18 16,-52-36-16,-1 0 16,18 0-16</inkml:trace>
  <inkml:trace contextRef="#ctx0" brushRef="#br0" timeOffset="100130.06">20756 13658 0,'141'-36'16,"-122"36"-16,16 0 16,-1-18-16,20 18 15,-1 0-15,-18-17 0,-17 17 16,0 0-16,-1 0 0,0 0 0</inkml:trace>
  <inkml:trace contextRef="#ctx0" brushRef="#br0" timeOffset="100330.19">21127 13358 0,'36'0'0,"34"17"16,-52-17-16,16 17 15,54 37-15,-34-2 16,-18 37 0,-36-54-16,-19 106 15,19-88-15,-35-1 0,18-16 16,-19 16-16,19-16 0,-18 18 16</inkml:trace>
  <inkml:trace contextRef="#ctx0" brushRef="#br0" timeOffset="103087.35">27741 16286 0,'-17'0'0,"17"17"0,-17 0 15,17 1-15,0 0 16,0 0-16,0-1 0,0 0 0,0 37 16,17-37-1,-17 0-15,35 2 16,-17-2 0,0-34-1,16 17-15,-34-19 16,19 2-16,-19 0 0,0-37 15,0 37 1,-19 0-16,2-1 0,0 0 16,-1 18-16,0-18 0,-17 18 15,18 0 1,-19 18-16,18-18 16,1 18-16</inkml:trace>
  <inkml:trace contextRef="#ctx0" brushRef="#br0" timeOffset="104015.07">27160 16955 0,'-19'0'0,"73"19"16,-1-19-1,-18 0-15,-17 0 16,0 0-16,16-19 0,-16 19 16,18 0-16,-19 0 0,54-17 15,-37-1-15,-15 18 16,-2-17-16,1 17 0,-1-19 15,2 19-15,-2 0 0</inkml:trace>
  <inkml:trace contextRef="#ctx0" brushRef="#br0" timeOffset="104709.06">28588 16426 0,'195'-52'16,"-143"34"-16,1 0 0,0 0 15,18 1-15,-19 17 0,1-17 0,53-19 16,-17 1-16,-37 35 15,36-36 1,-52 36-16,-36-17 0,17 17 16,-51 0 15,-20 17-15,20-17-16</inkml:trace>
  <inkml:trace contextRef="#ctx0" brushRef="#br0" timeOffset="105115.93">28695 16179 0,'-54'17'32,"37"2"-32,17-2 15,-36 1-15,19 18 0,-1-19 0,-35 71 16,0-17-16,35-37 15,18 2-15,-17-18 0,17 18 16,0-19-16,0 0 0,0 1 0,17 35 16,19-36-1,-18-17-15,-1 0 0,19 0 16,-19 0-16,18 0 0,36 0 16,-35-17-16,34 17 15,-18-17-15,2-2 0,-1-16 0,18 18 16,-19 0-16</inkml:trace>
  <inkml:trace contextRef="#ctx0" brushRef="#br0" timeOffset="109187.21">29876 15615 0,'0'-17'16,"0"-2"-16,-17 72 47,17-35-47,0 0 15,0 0-15,0 16 16,0-15-16,0-2 0,0 1 16,0-1-1,0 0 1,17-51 15,-17-1-15,17 16-16,-17 2 15,0 0-15,18-1 16,-18 0-16,18 18 0,-18-18 16,18 36-1,-1 0 1,-17 0-16,17-18 16,-17 17-16,0 0 15,0 2-15,19-2 16,-2-34 15,1-19-15,-1 19-1,0-19 1,2 36-16,-2 0 16,1 0-16,-1 18 15,2 0 1,-19-1-16,17 0 15,-17 2-15,0-2 32,0 1-32,17-18 0,1-18 15</inkml:trace>
  <inkml:trace contextRef="#ctx0" brushRef="#br0" timeOffset="109342.7">30299 15615 0,'18'-17'16,"-18"-2"-16,-18 55 0,36-36 31,0 17-15,-18 1-16,0 0 15,-18 17 1,18-18-16,0 2 16</inkml:trace>
  <inkml:trace contextRef="#ctx0" brushRef="#br0" timeOffset="109479.16">30299 15420 0</inkml:trace>
  <inkml:trace contextRef="#ctx0" brushRef="#br0" timeOffset="109777.26">30440 15527 0,'-17'17'15,"17"1"1,17-1-16,-17 2 0,19-2 16,-19 0-16,17-17 0,-17 18 0,17 18 15,-17-19 1,0 0 0,0 2-1,-17-2-15,0-17 16,17 18-16,-19-18 0,2 0 15,-1 0-15,1 0 16</inkml:trace>
  <inkml:trace contextRef="#ctx0" brushRef="#br0" timeOffset="110038.29">30652 15227 0,'0'-17'0,"0"51"47,17-16-47,-17 18 0,0-19 0,0 0 16,0 37-16,-17-20 0,17-15 15,0 16-15,0 18 16,0-18-16,0-18 0,0 2 15,0-2-15,-17 0 0,17 1 0,17-18 16,-17 18-16,17-18 16,-17 18-16</inkml:trace>
  <inkml:trace contextRef="#ctx0" brushRef="#br0" timeOffset="110435.99">30881 15686 0,'0'-18'31,"0"36"-31,18-54 0,-1 18 16,-17 1-16,0 0 0,19-2 0,-19 2 15,0-1-15,0 1 16,0 0-16,0-2 0,-19 19 16,19-17-1,-17 17-15,-1 17 16,1-17-16,0 19 0,17-2 16,-19 0-16,19 1 15,0-1-15,0 2 16,19-2-1,-2 0-15,0 1 16,1-18-16,-1 0 0,2 0 16,-2 0-16,18 0 15,-17 0-15,17 0 0</inkml:trace>
  <inkml:trace contextRef="#ctx0" brushRef="#br0" timeOffset="110822.06">31305 15403 0,'-18'0'0,"0"0"0,-16 0 16,15 17-16,2-17 16,17 19-16,-18-19 15,1 17-15,-2 1 0,2 18 16,17-19-16,0 0 15,0 1-15,0-1 16,17 2 0,19-19-16,-18-19 15,-1 19-15,2-17 0,-2 17 16,0-18-16,1 1 0,0 17 31,-18-17-31,18 34 16,-18 0-1,0 1 1,0-1 0,17-17-16,0 0 15,1 0 1</inkml:trace>
  <inkml:trace contextRef="#ctx0" brushRef="#br0" timeOffset="111406.97">31623 15315 0,'-36'0'0,"1"0"0,35 17 16,-19-17-16,2 19 0,0-2 0,17 1 16,-35 52-1,35-52-15,0 35 31,0-36-31,17-17 0,18 18 16,1-18 0,-1-35-1,1 18 1,-36-2-16,34-33 16,-34 33-16,36-69 15,-36 54-15,0-2 0,18 1 16,-18 18-16,0-2 0,0-16 0,17 1 15,-17 15 1,0 2-16,0-1 0,-17 53 31,-1-16-31,18-2 16,-18 0-16,18 18 0,0 1 0,-18 17 16,18-35-16,0 16 15,0-15-15,0-2 0,0 1 16,0-1-16,0 0 0,0 2 0,36-2 15,-18-17 1,16 0-16,-16-17 16,0 17-16,0-19 15,-1 19-15,0 0 16,2 0-16,-2 19 16,-17-2-1,18 1-15,-18-1 16,0 2-1,0-2-15,17-17 16</inkml:trace>
  <inkml:trace contextRef="#ctx0" brushRef="#br0" timeOffset="111565.48">32045 15156 0,'-17'-17'0,"0"17"16,-2 35-1</inkml:trace>
  <inkml:trace contextRef="#ctx0" brushRef="#br0" timeOffset="112079.32">32152 15262 0,'17'18'16,"-17"17"15,0-18-31,0 2 15,0-2-15,-17 1 16,17-1 0,17-34 31,1 17-47,-18-18 15,17 18-15,-17-17 16,17 17-16,2 0 15,16 0 1,-18 0 0,2 17-1,-2-17 1,0 0-16,1-17 16</inkml:trace>
  <inkml:trace contextRef="#ctx0" brushRef="#br0" timeOffset="112431.45">32469 15227 0,'-18'-17'15,"0"34"17,18 0-32,0 1 0,0 0 15,0 0-15,0-1 16,0 0-16,0 2 15,0 16-15,0-18 0,0 0 0,-17 2 16,17-2-16,-17 1 0,-1-1 0,0 19 0,18-19 16,-18-17-16,1 18 15,0-1-15,-2 2 0,2-19 16,34-19 0,2-16-1,-2 18-15,36-54 0,-18 54 16,0-19-16,1 1 15,-2 18-15,2-2 0,-18 2 0,16-18 16,-15 35-16,-2 0 0,1 0 31</inkml:trace>
  <inkml:trace contextRef="#ctx0" brushRef="#br0" timeOffset="112724.09">30459 16320 0,'140'-70'16,"-70"35"-16,1-1 0,17 1 0,477-177 31,-477 178-15,176-56-16,-228 73 15,35 0-15,-54 17 16,1 0-16,-1 0 0,2 0 16,-38 17-1,2 0-15</inkml:trace>
  <inkml:trace contextRef="#ctx0" brushRef="#br0" timeOffset="112928.11">30811 16356 0,'617'-229'15,"-512"193"1,-86 19 0,16 17-16,-18 0 0,2-18 15,-2 18-15</inkml:trace>
  <inkml:trace contextRef="#ctx0" brushRef="#br0" timeOffset="117187.73">30969 12828 0,'54'35'16,"-20"-18"-16,20 2 16,-20-2-16,20-17 0,-1 18 15,88 35-15,-89-53 16,2 17-16,-20-17 0,20 0 15,34 0-15,-52 0 0,16 0 16,18 0-16,-16-17 0,70 0 16,-54-2-16,-18 2 0,2-1 15,16 1-15,-16-2 0,-2 2 16,-16 0-16,52-19 0,-35 1 16,-36 35-16,54-53 15,-19 35-15,-33 1 16,-2 0-16,0-2 0,-17 2 0,18-1 15,0 1-15,-18 0 0,18-2 16,-1-16-16,-17-18 16,0 36-16,0-1 0,17-18 15,-17 19-15,0-18 0,0 17 0,0-34 16,0 33-16,18-33 16,-18 33-16,0-15 0,18 16 15,-18-18-15,0 19 0,0 0 0,18-19 16,-18 1-16,0 18 15,0-19-15,0 18 0,0 1 0,0-19 16,-18 19-16,18-1 0,0 1 0,-18-2 16,-17-50-1,0 16-15,17 35 16,-17 0-16,18 0 0,-19 1 0,18 17 16,-18-17-16,-33-19 0,-2 18 15,35 18-15,2-17 16,-2 17-16,1-17 0,-18 17 15,18-19-15,-1 19 0,1 0 0,-89 0 16,90 0 0,-2 0-16,-16 0 0,-72 19 0,70-19 15,-16 17-15,18-17 0,-2 17 16,-16-17-16,-36 18 16,70-1-16,-16 2 0,16-19 0,-17 17 15,-35 18-15,53-17 0,-1 0 16,2 16-16,-2-15 0,-16 33 15,16-16-15,1-1 16,18-18-16,-37 54 0,18-35 0,19 16 16,0-16-16,-18 105 15,35-89-15,-19 1 16,19 1-16,0-2 0,0-16 0,0 17 16,0-18-16,19 18 0,-19-18 15,17 18-15,-17-18 0,52 71 16,-33-71-1,-2-18-15,1 2 0,-1 16 0,19-18 16,-19 2-16,18-2 16,-16-17-16,-2 0 15,0 0-15,1 0 0,0 0 16</inkml:trace>
  <inkml:trace contextRef="#ctx0" brushRef="#br0" timeOffset="117964.56">31445 11716 0,'0'-34'15,"19"-20"1,-19 37-16,35-142 16,-18 106-16,0-35 0,-17 0 0,19 0 15,16-124-15,-35 107 16,17-2-16,2 2 0,-2-266 31,-17 318-31,0-70 0,0 87 16,-17 1-16,17-18 0,-19 36 15,2-1-15,17 0 16,-88 18 0,88 18-16</inkml:trace>
  <inkml:trace contextRef="#ctx0" brushRef="#br0" timeOffset="118243.65">31481 9864 0,'-17'36'0,"-36"70"16,17-53-16,1-1 0,0 19 15,-1-1-15,2-16 0,-20 16 16,18-16-16,2 15 0,-1-16 16,16 1-16,-51 68 15,52-103-15,18-2 0,-17 1 16</inkml:trace>
  <inkml:trace contextRef="#ctx0" brushRef="#br0" timeOffset="118419.47">31340 10182 0,'35'0'0,"-17"18"15,-71-36-15,158 54 0,-86-19 16,16 0-16,-18-17 0,19 19 0,87 33 15,-105-52 1,17 17-16,-18-17 0,19 19 16,-18-19-16,-1 0 15</inkml:trace>
  <inkml:trace contextRef="#ctx0" brushRef="#br0" timeOffset="119701.23">30828 9124 0,'-159'106'0,"142"-72"16,0-15-16,17-2 0,-18 1 15,18 18-15,35 16 16,-18-16-16,19-19 16,-18-17-16,-1 17 0,0-17 15,19 18-15,-18-18 0,18 0 0,16 0 16,18-18 0</inkml:trace>
  <inkml:trace contextRef="#ctx0" brushRef="#br0" timeOffset="119958.99">31269 9176 0,'0'0'0,"0"36"31,0-18-31,0-1 16,0 0-16,0 54 15,0-52-15,18 33 16,0-16 0,0-19-1,16 0 1,-16-17 0</inkml:trace>
  <inkml:trace contextRef="#ctx0" brushRef="#br0" timeOffset="120471.92">31323 9459 0,'0'0'16,"17"-17"0,18-2-1,-17 19-15,0-17 16,16 17-1,-34-18-15,19 1 16,-38 0 0,19-2-1,0 2 1,19-18 0,16-1-1,-18 36-15,0-17 16,2 17-16,-2-18 0,1 1 15,-1 17-15,-17-19 16,19 19 0,-19 19-1,0-2-15,0 1 0,17-18 16,-17 17-16,17 0 16,1 2-16,18-19 15,-19-19 1,0 19-16,1-17 15,-18 0-15,18-1 0,-18 1 16,0-2-16,-18 2 16,18 0-16,-18-1 15,1 36 1,0-18-16,-1 17 0,0-17 16,0 17-16,1 19 0,-19-1 0,1 1 15</inkml:trace>
  <inkml:trace contextRef="#ctx0" brushRef="#br0" timeOffset="120847.27">31340 9794 0,'71'-18'0,"158"-70"15,-194 52-15,-17 36 0,34-34 0,2-1 16,34 35-16,-71-89 0,54 125 0,-89-124 15,53 88-15,36-107 0,-35 55 0,17-19 16,16-70-16,-50 53 0,-2 17 16,-34-87-16,-71 16 15,35 89-15,-18 1 16,-17-1-16,-19 17 0,2 18 0,-19 1 16,1 17-16,-159 35 15,123-17-15,0 34 0,18-16 0,0 35 16,-194 140-16,264-158 15,1 18-15,35-18 0,-18 70 16,35-70-16,18 0 0,18-1 16,-1 2-16,19-1 0,16-1 15,19 1-15,-1-17 0,196 70 16,-178-89-16,17 0 0,90 2 16,-125-19-16,1 0 15,-2 0-15</inkml:trace>
</inkml:ink>
</file>

<file path=ppt/ink/ink10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46:04.268"/>
    </inkml:context>
    <inkml:brush xml:id="br0">
      <inkml:brushProperty name="width" value="0.05292" units="cm"/>
      <inkml:brushProperty name="height" value="0.05292" units="cm"/>
      <inkml:brushProperty name="color" value="#0070C0"/>
    </inkml:brush>
  </inkml:definitions>
  <inkml:trace contextRef="#ctx0" brushRef="#br0">6346 2853 0,'0'-17'31,"0"-1"-15,-18 0-16,0 0 15,0 18 1,1-17-16,0 0 0,-2-2 16,-16 2-1,18-1-15,0 18 0,-2-17 16,2 17-16,-1 0 0,1-17 15,-2 17-15,2 0 0,0 0 0,-37-19 16,37 19 0,0 0-16,-19 0 0,18 19 0,1-19 15,0 0-15,-2 17 0,-16-17 16,1 35 0,15-35-16,2 17 0,17 2 15,-18-2-15,1-17 0,-2 17 0,2 1 16,17 0-16,-35 17 15,17 0-15,0-17 0,1 0 16,0-1-16,17 19 0,-18-19 16,0 1-16,0 18 0,-16-2 15,15 20-15,19-37 0,-17 18 16,17-17-16,-18 0 0,18 16 16,0-15-16,-17 33 15,17-16-15,0-1 0,17 18 0,-17-18 16,0 1-16,18-19 15,-18 18-15,17 1 0,2-19 0,51 107 32,-52-107-32,-1-17 0,0 18 15,1-1-15,0 2 0,17-19 0,36 34 32,-54-34-32,2 0 0,-2 0 15,18 0-15,-18 0 0,2 0 0,-2-17 16,0 17-16,1-17 15,18-2-15,-19 19 0,0-17 0,2 17 16,-2-18-16,1 18 0,-1-17 16,0 17-16,2-17 0,-2-2 15,1 2-15,-1 17 16,2-18-16,-2 1 0,-17-2 0,17 2 0,1 0 16,35-89-1,-53 88 1,0-17-16,17-18 0,1 35 15,-18 1-15,0-2 0,0-15 16,0 16-16,18 1 0,-18-2 0,0 2 16,0 0-16,0-1 0,0 0 15,-18 0-15,18 1 0,0 0 0,-18-19 16,18 18-16,-17 1 0,17 0 16,-17-2-16,-2-16 0,2 18 0,-1-2 15,1 2-15,0 0 16,17-1-16,-19 0 0,2 0 0,-1 18 15,1-17-15,-2 0 0,-15 17 16,-1 0 0,16 0-16,2 0 15</inkml:trace>
  <inkml:trace contextRef="#ctx0" brushRef="#br0" timeOffset="853.43">20756 754 0,'0'-17'0,"18"69"31,-18-35-31,0 19 0,0-1 16,0-16-16,0 69 16,0-54-16,0-16 0,-18 71 31,18-54-31,0-18 0,18 0 15,-18 2 1,18-19-16</inkml:trace>
  <inkml:trace contextRef="#ctx0" brushRef="#br0" timeOffset="1219.33">21127 877 0,'0'0'0,"-17"-17"16,-2 34-1,19 2-15,0-2 16,-17 0-16,17 1 0,0 0 16,0 0-16,17-1 0,2 36 15,-2-35-15,0-18 16,1 0-16,0 17 15,0-17-15,16-17 16,-15-1-16,-19 0 0,17-34 16,-17 34-1,0 0-15,0 0 0,0 1 0,-17 0 16,17-2-16,0 2 0,-53-18 16,53 16-1,-18 19-15,0 0 0,0 19 16,1-19-16,17 17 15,-17 1-15,-2-1 16</inkml:trace>
  <inkml:trace contextRef="#ctx0" brushRef="#br0" timeOffset="1416.96">21320 896 0,'19'17'15,"-38"-34"-15,73 51 16,-37 2 15,-17-18-31,0-1 0,0 18 16,0-17-16,-17-18 0,17 18 15,-35 52 1,16-52 0,19-1-16</inkml:trace>
  <inkml:trace contextRef="#ctx0" brushRef="#br0" timeOffset="1763.32">21586 877 0,'0'-17'16,"-18"53"15,18-2-16,0-16 1,0 0-16,18-18 0,-18 18 16,34-1-1,-15-34-15,16 17 16,-18-18-16,-17 0 16,0 0-16,0 1 0,-17 0 15,17-2 1,-35-16-16,16 18 0,2-2 15,0 19 1,-1 0-16,0 0 16,0 19-16,1-2 15</inkml:trace>
  <inkml:trace contextRef="#ctx0" brushRef="#br0" timeOffset="2054.71">21674 806 0,'17'-17'0,"0"34"32,-17 2-32,36 16 31,-18-18-31,-1-17 0,2 19 16,33-19-1,-34 0-15,-18-19 0,18 19 0,-1 0 16,18-52-1,-35 33 1,-18 2-16,18 0 16,-17-1-16,0 18 15,-1-17-15,0 17 16,-34 17 0</inkml:trace>
  <inkml:trace contextRef="#ctx0" brushRef="#br0" timeOffset="2341.09">21903 754 0,'35'18'16,"-35"-1"-16,18 0 0,0 2 16,-1-2-1,0 1-15,19-18 16,-18 0-1,18 0-15,-2-18 0,1 1 16,-16-2 0,-2 2-16,-17 0 0,0-1 15,0 1 1,0-19-16,-17 36 16,-2-17-16,2 17 15,-18 0-15,-36 34 16,54-15-1,-2-2-15,2 1 0</inkml:trace>
  <inkml:trace contextRef="#ctx0" brushRef="#br0" timeOffset="3002.06">21532 1460 0,'36'17'16,"-18"-17"-16,35-17 0,-18 17 0,18-18 16,-1 0-16,1 18 15,1-35-15,16 18 0,72-37 16,139-70 0,-174 107-16,-73-18 15,20 18-15,-20-19 0,54-17 16,-34 1-16,-37 16 15,-17 18-15,17-16 0,-17 15 16,0-16-16,0 18 0,-69-160 16,33 142-16,1-1 15,-1 1-15,-52-53 16,0 18-16,35 16 0,-18 20 16,1 16-16,-230-35 15,230 53-15,0 0 16,-37 17-16,-193 71 15,212-52-15,-17-1 0,-2 18 16,-140 106-16,195-88 16,-18-18-16,16 16 0,1 2 15,-18 53-15,37-53 0,16 34 16,36-69-16,-18 16 16,17 1-16,19-17 0,-1 16 0,18 2 15,-1-20-15,19 2 0,70 18 16,-88-37-16,18 0 0,-19-17 15,1 0-15,1 18 0,-20-36 0,20 18 16,-1-17-16,-1 17 0,1-17 16,-18-2-16,36-16 0,-35 18 15</inkml:trace>
  <inkml:trace contextRef="#ctx0" brushRef="#br0" timeOffset="5142.72">22855 1106 0,'-17'0'0,"70"0"15,35 0 1,-53 0-16,1 0 15,-2 0-15,2 0 0,-1 0 16,1 0-16,-1 0 0,35 0 16,-34 0-16,-18 0 0,16-17 15,2 17-15,-18-17 0,-1 17 16</inkml:trace>
  <inkml:trace contextRef="#ctx0" brushRef="#br0" timeOffset="5389.8">23384 842 0,'18'0'16,"0"0"-16,0 0 0,-1 0 15,0 0-15,19 18 0,-1-18 16,1 17-16,-1 2 0,35 33 16,1-16-16,-54-2 0,2-16 15,-2 0-15,-17 17 0,0-18 16,0 19-16,-36 16 15,-16 19-15,-1-18 16,17-17-16,-16-1 0,35-18 16,-2 1-16,2-18 0,17 18 15,-35 0-15</inkml:trace>
  <inkml:trace contextRef="#ctx0" brushRef="#br0" timeOffset="14942.29">18692 3894 0,'36'0'15,"52"0"1,-70 0 0,70 18-16,177-1 15,-194-17 1,17 0-16,88 0 0,-88-17 15,18 17-15,0 0 0,-1-18 16,2 18-16,-2 0 0,0-18 0,302-17 16,-319 18-1,17 17-15,-17-19 16,-17 19-16,0-17 0,-1 17 16,1 0-16,176-35 15,-194 35-15,-18 0 0,18 0 16,-17-17-16,123 17 15,-89-19-15,-35 19 0,18-17 16,89-1 0,-125 1-16,18 17 15,18-19-15,-18 19 0,-17-17 16,17 17-16,-18-17 0,2 17 16,33-18-16,-35 0 0,2 18 15,16-18-15,-18 1 0,71-36 16,-69 35-1,15 1-15,-16 0 0,0 17 16,0-19-16,-1 19 0,19-17 16,-19-1-16,1 1 15,-1-2-15,0 2 16,-17-18 0,0 18-16,0-2 15,0 2-15,-17 0 0,0-1 0,-1-18 16,1 19-16,-19-19 0,-17-16 15,18 16-15,-1 19 0,-16-18 16,16 16-16,-35-33 16,2-1-16,33 36 0,-35-37 15,1 1-15,35 36 16,-18-18-16,18 18 0,-18-2 16,-1 2-16,-192-71 15,158 70-15,-71-18 16,71 19-16,-19 17 0,19-17 15,-105 17-15,122-18 16,-35 18-16,-88 18 0,-18-18 16,124 0-16,0 17 0,-18 0 15,18 1-15,-88 18 16,88-19-16,0 0 0,-90 54 16,90-52-16,-70 69 15,87-54-15,-88 72 16,89-53-16,18 0 0,-19 1 0,18-2 15,-53 89-15,17-17 16,37 52-16,35-52 16,34-72-16,18 55 15,1-55-15,-2-16 16,2 16-16,70 18 0,-36-34 16,1-1-16,17-16 0,0-2 15,88-17-15,36-17 16,-105-2-16</inkml:trace>
  <inkml:trace contextRef="#ctx0" brushRef="#br0" timeOffset="15831.08">24460 2748 0,'-88'-54'16,"71"37"-16,-54 17 16,54 0-16,-19 0 0,19 0 0,-18 0 15,-18 17-15,-89 54 16,72-18-16,-36 35 16,18 18-16,52-53 15,-17-1-15,18 1 0,18 1 16,-19 51-16,19 2 15,70 86 1,-36-140-16,18-18 16,1 18-16,17 1 0,35 16 15,371 53 1,-283-106 0,0-17-16,19-17 15,-107 0-15,17 17 0,90-36 16,-19 18-1,0-16-15,-87-2 0,70 1 16,122-70 0,-210 69-16,53-35 15,-19-17-15,-17 17 16,-17 1-16,-54 35 16,19-18-16,-19 18 0,-17-89 31,-17 36-31,0 35 0,-19-1 15,1 2-15,-1-1 0,1 0 16,-18 1-16,-70-55 0,-18 19 16,-442-105 15,495 174-31,-17 19 0,-72 0 16,89 0-16,-106 36 15,88-19-15,0 19 0,-70 34 16,18 0-16,16-16 15</inkml:trace>
  <inkml:trace contextRef="#ctx0" brushRef="#br0" timeOffset="23794.24">24567 6046 0,'17'-18'0,"1"0"16,-18 1 0,-18 0 15,1 17-31,-2 0 16,2 0-16,0 0 0,-1 0 15,0 17-15,-17-17 0,18 0 16,-1 0-16,-35 35 15,36-17-15,-2 0 16,2-1-16,17 0 16,-18 1-16,18 18 0,0-19 15,0 0-15,0 19 0,0-18 0,0 16 16,0-15-16,0 16 0,18 35 16,-1 36-16,2 0 15,-19-52 1,17 139-16,-17-122 0,0-1 15,0 1-15,17-18 0,-17 17 16,-17 124-16,34-123 16,-17-18-16,0-18 0,0 0 15,0 18-15,0-17 0,0-1 0,0 18 16,0-36-16,0 1 16,18 18-16,-18-19 0,0 0 0,18 1 15,17 18 1,-18-19-16,1 0 0,0-17 0,17 18 15,-18-18-15,2 0 0,-2 18 16,1-18-16,35 0 0,-36 0 16,1 18-16,-1-18 0,2 0 15,-2 0-15,18 0 16,-17 0-16,0-18 16</inkml:trace>
  <inkml:trace contextRef="#ctx0" brushRef="#br0" timeOffset="28614.32">20880 7386 0,'0'35'16,"0"18"0,18-35-1,-18 18-15,0-19 0,0 0 0,0 1 16,17 0-16,-17 34 15,17-16 1,-17-18 0</inkml:trace>
  <inkml:trace contextRef="#ctx0" brushRef="#br0" timeOffset="28984.91">20810 7404 0,'17'-54'0,"-17"37"0,17 17 16,1-17-16,0-1 0,0 18 0,-1-17 15,0 17-15,2 0 0,16 0 16,1 0-16,-19 17 0,0 1 16,1-18-16,-18 17 0,17 0 15,2 19-15,-19-18 0,17-1 0,-17 36 16,0-35-16,-17 18 0,17-19 16,-19 0-16,19 19 0,-17-18 0,17-1 15,-18 0-15,18 2 0,-17-2 16,17 1-16,-36 18 15</inkml:trace>
  <inkml:trace contextRef="#ctx0" brushRef="#br0" timeOffset="29525.17">21444 7281 0,'-34'17'0,"-2"1"15,106-53-15,-158 70 16,88-1 0,0-15-16,0-2 15,18 18 1,-1-35-16,-17 19 0,36 15 16,-19-16-16,1 0 15,-18 0 1,-18 16-1,1-16-15,0 0 16,-2 0 0,2-18-16,-1 17 15,1-17-15,-2 17 16</inkml:trace>
  <inkml:trace contextRef="#ctx0" brushRef="#br0" timeOffset="29974.71">21798 7386 0,'-19'0'15,"55"-17"1,-19-2-16,1 19 15,0 0-15,-18-17 0,18 17 0,-1 0 16,0 0-16</inkml:trace>
  <inkml:trace contextRef="#ctx0" brushRef="#br0" timeOffset="32089.64">22291 6840 0,'-17'-36'0,"-1"18"15,18 54 17,18 52-1,35 35-16,-36-70-15,-17-17 0,18 16 0,-1-16 0,-17-1 16,17 1-16,-17-1 0,0-1 16,19 56-1,-19-73-15,0 0 0,0 1 16,-19 0-16,19 0 0,0-1 16,-17 0-16,0 1 15,-1-18-15,1 0 16,-2 0-1,19-18-15,0 1 16,0-18-16,0-1 16,19 19-16,-19-19 15,0 19-15,17-1 0,-17-18 0,18 19 0,-18-18 16,17-18-16,0 18 16,-17 17-16,0 0 15,0 1-15,0 0 0,0-1 16,19 0-1,-19 0-15,17 36 47,-17 0-31,18 0 0,-1-18-16,2 0 15,15 0-15,-34-18 16,18 18-16,-1 0 15,2-18-15,-2 0 16,0 18 0,1-17-16,0 17 31,0 0-15,-1 0-16,-17-17 15,17 17 1,2 0-16,-2-19 15,-17 2 17,0-18-17,-17 52 48,17 1-63,0 18 31,0-2-15,17-16-1,18 0 1,1-36 15,-19 18-31,-17-18 0,18 18 16,-1-17-16,2 17 15,-2 0-15,0 0 16,1 0 0,0 0-16,0 17 31,-1-17 0,0-17-15,1 17-1,-18-17 1,18 17 0,0 0-16,-1 0 15,0 17 1,-17 0 0,0 1-1,0 0 1</inkml:trace>
  <inkml:trace contextRef="#ctx0" brushRef="#br0" timeOffset="33294.4">25202 6046 0,'17'0'63,"0"0"-48,2 18 1,-19-1 0,-19 0 15,38 1-31,-2-18 16,-17 18-1,18-18-15,-1 0 0,0 0 0,2 18 16,-2-1-1,-17 0 1,0 2 0,-36-2-1,19 1-15,-18-1 32,18-17-32,-2 0 0</inkml:trace>
  <inkml:trace contextRef="#ctx0" brushRef="#br0" timeOffset="33650.86">25572 6116 0,'0'-18'0,"18"36"31,-18 0-15,-18 0-16,18-1 0,-53 36 31,53-35-31,-17-1 0,-1-17 0,18 17 16,-36 2-16</inkml:trace>
  <inkml:trace contextRef="#ctx0" brushRef="#br0" timeOffset="34175.46">25766 5993 0,'-35'17'16,"18"1"-16,17 0 0,0 0 16,0 16-1,17-34-15,-17 18 0,52 18 16,-33-36 0,-2 0-16,36 0 15,-18-18 1,-35 0-1,17-17 1,-34 18-16,17-1 16,-17 18-16,-1-36 15,0 36-15,0 0 16,1 0 0</inkml:trace>
  <inkml:trace contextRef="#ctx0" brushRef="#br0" timeOffset="34466.99">26048 5922 0,'-17'18'0,"17"35"15,0-36 1,35 19-1,-18-36 1,2 18-16,-2-18 16,-17-18-1,17 18-15,-17-18 0,-17-17 32,17 18-32,-17 17 15,17-19-15,-19 19 16,-16 0-1</inkml:trace>
  <inkml:trace contextRef="#ctx0" brushRef="#br0" timeOffset="34651.96">26278 5957 0,'17'0'16,"0"19"-16,-51-38 0,87 55 15,-53-19-15,17-17 16,-17 36-16,0-18 16,0-1-16,0 0 0,-17 1 15,17 0-15,-19 0 16,19-1-16,-17 0 0</inkml:trace>
  <inkml:trace contextRef="#ctx0" brushRef="#br0" timeOffset="35219.62">26490 5869 0,'-19'17'31,"19"2"-15,19-2-16,-19 1 15,17-1-15,0-17 0,1 19 16,-1-19-16,2 0 0,-2 0 16,0 0-16,19-19 15,-18 2-15,-18-1 16,0 1 0,-18-2-16,0 2 15,0 17 1,1 0-1,0 0 17,51-17-17,-16 17 1,0 0-16,17-18 31,-18 36-31,2-18 0,-2 17 16,35-17-1,-33 0 1,-2 0-16,1 0 0,-18-17 16,17 17-16,2 0 0,-19-18 15,17 18-15,0-53 16,-17 36 0,0-1-16,0 0 15,-17 0-15,-19 18 31,19 18-31,-18 0 16</inkml:trace>
  <inkml:trace contextRef="#ctx0" brushRef="#br0" timeOffset="35842.11">25414 6752 0,'-19'34'15,"2"-16"1,-1 18-16,1-36 0,-19 53 15,19-36 1,17 1-16,-18-1 16,18 0-1,18 2 1,52-19 0,-52-19-16,18 19 0,-19 0 15,0-17-15,19 17 0,16-17 16,-34-1-16,0 18 15,0-36-15</inkml:trace>
  <inkml:trace contextRef="#ctx0" brushRef="#br0" timeOffset="35995.23">25607 6733 0,'0'-17'16,"0"34"-16,-17-34 16,-1 34-1,18 2-15,0-2 16,0 0-16,0 1 0,0 18 15,0-19-15,-18 19 0,18-1 16,0-18-16,0 0 0,18 19 16,-18-1-16</inkml:trace>
  <inkml:trace contextRef="#ctx0" brushRef="#br0" timeOffset="36179.61">25819 6945 0,'17'0'0,"-17"17"31,-17 2-31,17-2 16,0 1-16,-17-18 0,17 17 16,0 2-1</inkml:trace>
  <inkml:trace contextRef="#ctx0" brushRef="#br0" timeOffset="36489.15">25960 6874 0,'0'-17'0,"-18"53"47,36-19-47,0 1 31,-1-18-31,0-18 16,2 18-16,-2 0 15,1-17 1,-18-2-16,0 2 0,0 0 16,0-1-1,-18 0 1,1 18-1,17-18-15</inkml:trace>
  <inkml:trace contextRef="#ctx0" brushRef="#br0" timeOffset="36731.08">26119 6752 0,'-17'0'15,"34"0"-15,0 17 0,-17 0 16,18 1-1,-1-18-15,2 18 16,15-18 0,-16 0-1,-18-18 1,18 18-16,-36-18 16,18-16-1,-18 34 1,1 0-1,0 17 1,-2-17 0</inkml:trace>
  <inkml:trace contextRef="#ctx0" brushRef="#br0" timeOffset="36922.64">26436 6840 0,'18'17'16,"-1"0"-16,-17 2 16,0-2-16,0 1 15,0-1-15,-17 0 16,17 2-16,0-2 16</inkml:trace>
  <inkml:trace contextRef="#ctx0" brushRef="#br0" timeOffset="37550.07">26736 6664 0,'-36'17'31,"36"0"-15,0 18-16,0-16 15,36-2 17,-18-34-32,-1 17 15,-17-19 1,0 2-16,0-1 15,0 1 1,-17 0 0,-1 17-1,36-19 32,-1 2-31,0 17-16,2 0 31,-2 0-15,-17 36-1,0-19 1,0 0-16,18-17 0,-1 18 31,2-18-31,-2 0 16,0-18-16,1 1 15,0 17 1,-18-17-16,0-2 16,18 19-16,-36-17 15,18-1 1,-18 18 0</inkml:trace>
  <inkml:trace contextRef="#ctx0" brushRef="#br0" timeOffset="37819.03">27036 6610 0,'0'18'0,"18"-18"15,-1 17 1,-17 2-1,17-19-15,2-19 16,-2 2 15,-17-18-15,-36 16 0,2 19-1,16 0-15,0 0 0,-34 19 16,34-2-16</inkml:trace>
  <inkml:trace contextRef="#ctx0" brushRef="#br0" timeOffset="38922.14">25590 7916 0,'0'-18'0,"0"0"31,17 54 1,-17-2-17,0-16 1,0 0-1,0 0-15,0-1 16</inkml:trace>
  <inkml:trace contextRef="#ctx0" brushRef="#br0" timeOffset="39557.15">25431 7880 0,'35'-18'31,"-17"1"-31,0 17 0,34 0 32,-16-17-17,-2 34 1,-34 0-16,0 1 15,19-18-15,-19 53 16,0-18-16,0-17 0,0 0 16,0-1-16,0 0 15,0 2-15,0-2 0,0 1 16,-19-1-16,19 2 16,0-2-16,19-17 15</inkml:trace>
  <inkml:trace contextRef="#ctx0" brushRef="#br0" timeOffset="39901.98">25536 8074 0,'0'-17'0,"0"34"16,18-53-16,0 36 15,0 0-15,-18-17 0,34 17 16,-15-17-16,16 17 16,1-18-16,-19 18 0,0-18 0,1 18 15,-1 0 1,2 0-16,-2 0 0,0 0 16,1 0-16,0 0 15,-18 18 1,0 0-16,18-1 15,-18 0 1,-18 37 0,18-37-16,0 2 15,0-2 1,18-17-16</inkml:trace>
  <inkml:trace contextRef="#ctx0" brushRef="#br0" timeOffset="40369.58">26012 7898 0,'0'18'16,"0"-1"-16,0 0 15,0 1-15,19 0 16,-2-18-16,1 0 31,18 0-15,-36-18-16,0 0 16,0 1-1,-19 17-15,19-17 0,-17 17 16,17-18-16,-18 18 0,18-18 31,-17 18-31</inkml:trace>
  <inkml:trace contextRef="#ctx0" brushRef="#br0" timeOffset="40618.04">26119 7862 0,'17'0'16,"18"18"-1,-16 0 1,-2-18 0,0 0-1,1 0-15,0-18 32,-36 0-17,18 1-15,-18 17 16,1 0 15,0 0-15</inkml:trace>
  <inkml:trace contextRef="#ctx0" brushRef="#br0" timeOffset="40895.65">26542 7828 0,'17'0'16,"-17"17"-16,0 0 0,0 1 15,0 0-15,-17 0 16,17-1 0,-18 0-16</inkml:trace>
  <inkml:trace contextRef="#ctx0" brushRef="#br0" timeOffset="41103.82">26700 7721 0,'0'36'62,"0"-19"-46,0 1-16,0-1 15,19-17 1</inkml:trace>
  <inkml:trace contextRef="#ctx0" brushRef="#br0" timeOffset="41593.29">26895 7704 0,'-36'17'31,"55"2"0,-2-38 1,-17 2-1,0-1-16,0 1 17,17 17-17,1 17 17,0-17-17,0 18 1,-1-18-1,0 17-15,1-17 16,0-17-16,0 17 16,-1-18-1,0 18-15,2-17 16,-19-2-16,0 2 16,0-18-1,-19 35 1,2 0-16,-18 18 15,17-18 1</inkml:trace>
  <inkml:trace contextRef="#ctx0" brushRef="#br0" timeOffset="42274.33">25819 8604 0,'53'34'16,"-35"-16"-1,-18 0-15,0 0 0,0-1 16,0 19-1,-18-19-15,18 1 16,-18-18 0,0 0-16,18-18 31,18-35-15,0 18-1,-18 17-15,0 0 0,0 1 16,0 0-16,0-1 15,-18 0 1,18 0-16,-18 18 0,18-17 16,-17 34-1</inkml:trace>
  <inkml:trace contextRef="#ctx0" brushRef="#br0" timeOffset="42434.07">25995 8604 0,'17'17'16,"-34"-34"-16,34 51 0,-17-16 31,0 0-31,0 0 0,0-1 16,-17 0-16,17 2 0,-17-2 16,17 1-16,0-1 15</inkml:trace>
  <inkml:trace contextRef="#ctx0" brushRef="#br0" timeOffset="42741.44">26171 8568 0,'0'-18'16,"0"54"15,0-1-16,19-35 1,-19 17-16,17-17 16,0 0-1,1 0-15,-18-17 16,18 17-16,-18-17 16,0-1-16,-18 0 15,18 0 1,-18 18-16,18-17 15,-17 17-15</inkml:trace>
  <inkml:trace contextRef="#ctx0" brushRef="#br0" timeOffset="42990.92">26331 8516 0,'0'17'0,"17"0"15,1 1 1,-1-18-16,0 0 16,2 0-1,-2 0 1,1-18-16,-36 1 31,18 0-31,-17-2 16,-19 2 15</inkml:trace>
  <inkml:trace contextRef="#ctx0" brushRef="#br0" timeOffset="43254.23">26648 8550 0,'18'0'15,"-1"18"1,-17 0-16,-17 0 15,17-1-15,0 0 32,-18-17-32,18 18 0</inkml:trace>
  <inkml:trace contextRef="#ctx0" brushRef="#br0" timeOffset="43590.17">26895 8338 0,'-36'19'47,"36"-2"-47,0 1 15,0 16 1,19-34-16,-19 19 15,17-19-15,0-19 32,1 19-17,-18-17-15,0 0 0,0-1 16,0 1 0,-18 17-16,18-19 0,-17 2 15,0 17-15,-2 17 31</inkml:trace>
  <inkml:trace contextRef="#ctx0" brushRef="#br0" timeOffset="43853.15">26948 8321 0,'18'0'0,"-1"36"16,-17-19-1,17-17 1,1 18-16,18-18 16,-19 0-1,0-18-15,-17 1 16,19 17-16,-19-19 16,-19 2-1,19 0-15,-17-1 16,0 18 15</inkml:trace>
  <inkml:trace contextRef="#ctx0" brushRef="#br0" timeOffset="44086.14">27159 8374 0,'36'18'16,"-1"-36"-1,-18 1 1,2-19 0,-19 19-16,0-1 0,0 0 15,-19 0-15,19 1 16,0-19-16,-17 1 0,-1 1 0,-16-178 15</inkml:trace>
  <inkml:trace contextRef="#ctx0" brushRef="#br0" timeOffset="44827.48">27247 5234 0,'19'-17'0,"-2"17"0,0 0 15,1 0 1,18 52 0,-36-16-16,17-19 0,-17 19 15,0-1-15,0 18 0,17-1 0,-17 2 16,0 16-16,71 230 15,-54-229 1,2 17-16,16 0 0,-18 0 0,19 0 16,-19 1-16,18 17 0,1-18 15,-1 0-15,18 36 0,-17-36 16,16-18-16,19 106 0,-18-105 16,-18 17-16,1-17 0,52 70 15,-54-70-15,37 70 0,-54-89 16,2 1-16,16 53 15,-18-70-15,-17-2 0,19 37 16,-19-18-16,0-35 16,0-1-16,0 2 0,-19 15 15,19-16-15,-71 52 16,37-34-16,-1-18 0,-18 16 16,17-15-16,-16-2 0,16 18 15,-16-35-15,-2 36 0,-34-1 16,-89-17-16</inkml:trace>
  <inkml:trace contextRef="#ctx0" brushRef="#br0" timeOffset="45813.88">24408 5922 0,'-53'0'15,"36"18"-15,-2-18 0,2 17 0,-1-17 16,1 19-16,-2-2 0,2 0 0,17 19 16,-17-1-16,-1 18 0,1-1 15,17 2-15,-19-1 0,19-1 0,0 19 16,19-18-16,-19 18 0,0 105 16,17-106-16,-17 18 15,18-17-15,-1 106 0,-17-107 16,17 19-16,2 70 0,-2 87 15,-17-158 1,0 0-16,0 0 0,18 90 16,-1-20-16,-17-70 0,19-17 0,-2 17 15,-17-17-15,17-19 16,1 72-16,0-19 16,0-52-16,-18-17 0,17 16 0,-17-34 15,17 35-15,-17-36 16,18 19-16,0-18 0,0 18 15,-1-19 1,0-17-16,2 0 0,-2 17 0,1-17 16,70 0-1,-18 0-15,-34 0 0,16-17 16,2 17-16,-1 0 0,-1-17 16,1 17-16,177-54 15,-177 37-15,-18-2 16</inkml:trace>
  <inkml:trace contextRef="#ctx0" brushRef="#br0" timeOffset="47736.08">26419 9521 0,'17'0'32,"1"0"-1,-1-19-31,2 19 15,-2 0 17,-53 19-17,1-2 1,18 1 0,-2-18-16,2 17 15,0 2-15,-1-19 0,18 17 16,-17-17-16,34 35 15,1-18 1,-1 2-16,0-2 0,2 0 16,-2-17-16,1 18 15,-1 0-15,19 17 32,-53-18-32,17 2 15,-19-2-15,2-17 0,-18 18 16,16-1-16,2-17 0,0 17 15,-18-17 1,16 0 0</inkml:trace>
  <inkml:trace contextRef="#ctx0" brushRef="#br0" timeOffset="47962.91">26595 9750 0,'17'35'0,"-17"18"31,0-35-31,-17 16 16,0-15-16,17-2 0,-19-17 15,19 18-15,0-1 16,-17-17-16</inkml:trace>
  <inkml:trace contextRef="#ctx0" brushRef="#br0" timeOffset="48290.58">26754 9644 0,'-18'17'15,"1"2"-15,17-2 16,0 0-16,0 1 16,17 18-1,1-36-15,-1 17 16,0-17 0,2 0-16,-19-17 15,17 17-15,-17-18 0,0 0 16,-17 0-1,-2 1-15,2 0 16,0 17-16,17-19 0,-35 19 16,16-17 15</inkml:trace>
  <inkml:trace contextRef="#ctx0" brushRef="#br0" timeOffset="48539.09">26824 9609 0,'0'17'0,"0"-34"0,18 52 16,-1-18-16,2-17 15,-19 19-15,17-19 0,-17 17 16,17-17-16,1 0 16,0 0-16,0 0 15,-1-17 1,0 17-16,-17-19 15,0 2 1,0-1-16,-17 1 16,17 0-1,-17 17 1</inkml:trace>
  <inkml:trace contextRef="#ctx0" brushRef="#br0" timeOffset="48778.88">27054 9626 0,'34'18'31,"-68"-36"-31,87 36 16,-18-36-1,-18-16 1,-17 15-1,-17-16 1,17 18 0,-18 17-16,-18 0 15,19 0 1,17 17-16,-17-17 0,17 18 0</inkml:trace>
  <inkml:trace contextRef="#ctx0" brushRef="#br0" timeOffset="49766.91">27388 9573 0,'0'36'15,"0"-19"-15,0 1 0,-17-18 16,17 17-16,-17-17 0,17 19 0,-18-2 16,0 0-1,0 1 1</inkml:trace>
  <inkml:trace contextRef="#ctx0" brushRef="#br0" timeOffset="50126.1">27495 9538 0,'0'35'31,"17"-16"-31,-17-2 15,18-17 17,-1-17-32,2 17 0,-2 0 15,-17-19-15,17 2 16,-17-1-16,0 1 16,0-19-1,-17 36 1,17-17-16,-17 17 15,-2 0-15,2 0 16,-1 17 15</inkml:trace>
  <inkml:trace contextRef="#ctx0" brushRef="#br0" timeOffset="50706.49">27742 9468 0,'-18'17'32,"18"0"-32,-18 2 15,18-2 1,18 18-1,0-35 1,16-17 0,-15 17-16,-2-18 15,-17 1 1,0-2-16,0 2 16,-17 0-1,-2 17-15,2 0 16,0 17-16,-1 0 15</inkml:trace>
  <inkml:trace contextRef="#ctx0" brushRef="#br0" timeOffset="51247.89">27107 10209 0,'264'-71'15,"-105"1"-15,-106 52 16,-1-18-16,1 19 0,177-124 16,-177 106-1,0-18-15,35-35 0,0-19 16,-53 36-16,-18 19 16,19-1-16,-36 0 0,18 1 15,-36-72-15,-35 0 16,1 72-16,-89-55 0,-125 38 15,161 50-15,-19 19 16,1 0-16,-177 53 16,0 35-16,159-34 0,17-2 15,1 18-15,-1 1 0,19 0 16,17 17-16,0-18 0,-107 177 16,107-87-16,71-91 15,17-15-15,0 16 16,0-16-16,35 16 0,1-18 0,69 55 15,-34-72-15,105 35 16,1-34-16,-72-36 16,-34 0-16,17 0 0,71-36 15</inkml:trace>
  <inkml:trace contextRef="#ctx0" brushRef="#br0" timeOffset="53013.88">25695 10032 0,'19'0'16,"-2"0"-16,0 0 16,1 0-1,-70-18 17,-108 18-17,125 0-15,-18 18 16,-18-18-16,19 0 0,16 0 15,-16 0-15,16 0 0,-17 0 0,18 0 16,-1 0-16,1 0 0,-18 18 16,-18-36-1,54 18-15,0 0 0,-1 0 16</inkml:trace>
  <inkml:trace contextRef="#ctx0" brushRef="#br0" timeOffset="53286.11">24990 9680 0,'-54'17'0,"37"0"0,88-51 0,-159 86 16,52-34-16,1 17 0,0-18 0,-1 19 15,19-1-15,-36 18 0,18-18 16,35 1-16,0-19 15,-17 1-15,17 0 0,17 0 16,35 70 0,-33-71-16,-2-17 0,18 17 15,-17-17-15,0 19 16,16-19-16,2 17 0,-18-17 0,35-17 16,-36 17-16</inkml:trace>
  <inkml:trace contextRef="#ctx0" brushRef="#br0" timeOffset="59321.32">22486 9133 0,'34'-19'16,"-16"19"-16,-1-17 0,19 0 0,-19 17 15,19-18-15,70-18 16,-18 2 0,-71 16-16,2 18 0,-2-18 15,0 18-15,1-18 0,0 18 16,0-17-16</inkml:trace>
  <inkml:trace contextRef="#ctx0" brushRef="#br0" timeOffset="59561.43">22908 8762 0,'36'0'0,"-72"0"0,90 0 16,-20 0-16,-16 18 15,0-18-15,0 17 0,16 2 16,-15 15-16,-19-16 0,35 18 16,-35 16-16,0-16 15,0-19-15,0 18 0,0-17 0,-18 17 16,18-18-16,-17 19 0,-2-1 0,-15 18 16,16-35-16,0 18 15,0-19-15,1-17 0,0 17 16</inkml:trace>
  <inkml:trace contextRef="#ctx0" brushRef="#br0" timeOffset="61247.94">25360 6486 0,'35'0'16,"-16"0"-16,-2 0 0,18 0 0,1 0 0,-2 0 16,20 0-16,16-17 0,-16 17 15,15-17-15,20-1 0,17 18 0,-18-18 16,212-34-16,-107 16 16,-86 18-16,-19 1 15,0-2-15,0 2 0,70-18 16,-87-1-16,0 19 0,-18 0 15,52-37-15,-51 20 16,34-20-16,-52 20 16,-2-2-16,1 1 0,1-1 0,-1-16 0,-17 16 15,17-52-15,-18-17 16,-17 51-16,-17 1 0,17 1 16,-17-1-16,-19-18 0,1 18 0,-18 1 15,-18-19-15,0 35 0,-17-17 16,0 1-16,-17 16 0,-19 1 15,-388-53 1,372 88-16,16 0 0,-52 0 16,-1 17-16,18 1 0,0 18 15,19 16-15,-142 72 0,-106 122 16,281-139-16,19-19 16,-71 123-16,125-122 0,-37 87 15,71-88-15,-17-17 16,51 87-16,90 54 15,-53-141-15,0-19 0,-2-16 16,126 35-16,-90-37 16,19-16-16,0-18 0</inkml:trace>
  <inkml:trace contextRef="#ctx0" brushRef="#br0" timeOffset="62609.94">25942 8992 0,'106'17'0,"-52"-17"16,34 0-16,-18 0 0,-18-17 16,214-37-1,-196 37-15,18 0 0,0-19 0,0 18 16,0-16-16,90-20 0,-109 37 15,2-19-15,141-69 16,-124 51 0,-52 20-16,-2-2 0,2 18 15,-1-18-15,-18 2 0,2 16 16,-2-18-16,-17 19 0,18-18 0,-18 17 0,0-34 16,-35-19-1,-1 35-15,1 1 0,-35-1 16,-1 2-16,-17 16 0,0 0 0,-19 0 15,-122 1-15,106 34 16,-159 1-16,106 0 0,-283 88 16,300-70-16,-141 69 15,159-52-15,17-1 16,1 2-16,17-1 0,-53 52 16,88-34-16,-51 53 0,68-72 15,1 19-15,18-18 16,-1 18-16,19-1 0,17 106 15,0-122-15,17 34 0,19-35 16,-1 16-16,-16 2 0,15 0 16,1-18-16</inkml:trace>
  <inkml:trace contextRef="#ctx0" brushRef="#br0" timeOffset="67466.5">21198 7986 0,'70'0'0,"-52"0"16,-1 0-16,19-18 16,-19 18-16,1 0 0,-1 0 15,2-18-15,15 18 0,1-17 16,18-18-16,-17 35 0,-18-18 15,-1 0-15,0 18 0,2-17 16,-2 0-16,1-2 0,-1 19 0,0-17 16,-17-1-16,19 1 0,-19-19 0,17 19 15,-17-37 1,0 2-16,0 34 0,0-17 16,0 18-16,0-37 0,0 37 15,0-19-15,-17 1 16,17-18-16,-19 36 15,2-18-15,0-18 0,17 35 16,-18 0-16,1 0 16,-2 1-16,19 0 0,-17-1 0,-54-52 15,54 70 1,0-19-16,-19 2 0,18 17 16,1-18-16,-19 18 0,19-17 15,-106 17 1,87 0-16,19 0 0,-54 0 15,35 0-15,1 0 0,1 17 16,-2-17-16,18 18 0,-18-18 0,2 17 16,-54 19-1,34 17-15,20-35 0,-2 16 16,1 20-16,-1-20 0,1 20 16,35-37-16,-36 54 15,19-1-15,17-16 16,-17 16-16,17-18 15,0-16-15,17-18 16,-17 18-16,17-2 16,2 37-16,-2-54 15,1 1-15,-1 18 0,2-19 16,-19 0-16,34 1 0,-16-18 16,-1 18-16,2 0 15,-2-18-15,0 17 0,19-17 31,-18 17-31</inkml:trace>
  <inkml:trace contextRef="#ctx0" brushRef="#br0" timeOffset="69412.13">22274 7633 0,'34'0'16,"-15"17"-16,-2-17 0,1 0 0,16 0 15,-15 0-15,16-17 0,18 17 16,35 0-16,-35 0 16,53-17-16,-53-1 0,18 18 15,139-70 1,-174 52-16,16 0 0,2-17 16,-18 18-16,16-2 0,-34-16 15,17 18-15,53-71 16,-71 69-16,-17-15 0,19-2 15,-19 18-15,17-16 0,-17 16 16,0-18-16,0 2 0,0 15 0,-17-16 16,17 18-16,-36-71 15,-17 17-15,18 35 16,0 2-16,17 15 0,-17-16 16,-1 18-16,1-19 0,-1 19 0,-104-71 15,104 70 1,-16 0-16,-1 0 0,17 1 0,-16 0 15,16-1-15,1 0 0,-1 18 0,2-18 16,-2 18-16,1 0 0,-1 0 16,-33 0-16,-2 18 15,35-18-15,1 18 0,-18 17 16,18-18-16,-1 1 0,2 18 16,-37 34-16,0 53 15,35-87-15,19 17 0,0-1 16,-1 2-16,0-1 0,0-1 15,18-16-15,0 17 0,0-18 0,-17 0 16,34 18-16,1 142 16,0-161-16,0 20 15,-1-20-15,0 2 0,2-1 0,-2 1 16,18-19-16,-16 18 0,15 1 16</inkml:trace>
  <inkml:trace contextRef="#ctx0" brushRef="#br0" timeOffset="70643.12">20615 14372 0,'0'34'16,"0"-16"-16,0 18 0,-17-2 15,17-15-15,0 69 16,0 17-16,0-70 0,0 18 15,-18-17-15,18-1 0,0 1 16,0-19-16,0 18 0,0-18 0,0 19 16,0-18-16,0-1 15,18-17 1</inkml:trace>
  <inkml:trace contextRef="#ctx0" brushRef="#br0" timeOffset="71001.39">20456 14548 0,'0'-18'16,"0"1"-16,18-2 0,52 2 31,-34 17-31,-1 17 0,1 2 16,-1-2-16,1 1 0,-2 16 15,2 20-15,-18-37 0,-1 19 0,0 16 16,-17-16 0,0-1-16,-17 1 0,17-2 0,-17-15 15,-1 33-15,0-35 0,0 19 0,-16-1 16,-2 1-1,18-19-15,-16 1 0,15-18 16,2 0-16,-1 0 16,18-18-1</inkml:trace>
  <inkml:trace contextRef="#ctx0" brushRef="#br0" timeOffset="71362.34">21215 14548 0,'-35'17'0,"70"-34"0,-106 34 16,54 0-16,0-17 0,-37 36 16,37-18-16,0-1 0,-2-17 15,2 36-15,17-19 16,0 1-16,0-1 0,17 2 15,-17-2-15,19 18 0,-2-35 16,0 18-16,1 0 0,-1-1 16,2 0-16,-2 2 0,0-2 15,1 1-15,-18-1 0,0 0 16,0 2 0,-18-2-16,1-17 0,-19 18 15,1 18-15,1-36 16,-2 17-16,18-17 0,-18 0 15,19 17-15,0-17 16</inkml:trace>
  <inkml:trace contextRef="#ctx0" brushRef="#br0" timeOffset="71739.19">21691 14812 0,'-17'0'0,"70"18"32,-18-18-1,1 0-31,-19 0 0,0-18 15,1 18-15,18 0 16,-36-18-16,17 18 16</inkml:trace>
  <inkml:trace contextRef="#ctx0" brushRef="#br0" timeOffset="71966.1">21920 14653 0,'36'0'0,"-18"19"15,-1-2-15,0-17 0,-17 17 16,0 1-16,19-1 0,-19 19 16,0-19-1,-19 1-15,19 18 0,-17-19 16,17 0-16,-17 2 0,17-2 0,-18 1 15</inkml:trace>
  <inkml:trace contextRef="#ctx0" brushRef="#br0" timeOffset="73441.7">24055 13437 0,'53'0'0,"-35"0"15,-1 17-15,0 1 0,2-1 16,-19 0-16,17 2 16,-17 16-16,-17-18 15,17 2-15,0-2 16,0 0 0,0 1-1,17-18-15,1 0 0,-18 18 16,17-18-16,0 0 0,2 18 15,-2-18-15,1 17 16,-18 0-16,0 1 16,-35 18-1,16-19 1,-15 0-16,16-17 0,1 19 16,-2-19-16,2 17 0,0-17 0,-1 0 15</inkml:trace>
  <inkml:trace contextRef="#ctx0" brushRef="#br0" timeOffset="73626">24408 13613 0,'35'17'15,"-18"19"1,-17-18-16,-17-1 15,17 0-15,-17 37 16,-1-37 0,18 0-16</inkml:trace>
  <inkml:trace contextRef="#ctx0" brushRef="#br0" timeOffset="73964.06">24619 13560 0,'0'0'15,"-35"17"1,35 2-16,0-2 16,0 0-16,18 1 15,-1-18-15,2 18 16,-2-18-16,0 0 15,37-18 1,-54 0-16,0 1 16,0 0-1,0-2-15,-19 2 16,2-1 0,-1 18-16,1 0 15</inkml:trace>
  <inkml:trace contextRef="#ctx0" brushRef="#br0" timeOffset="74205.75">24814 13506 0,'17'19'16,"-52"-38"-16,53 19 0,16 36 16,-16-18-1,-18-1-15,18-17 0,0 19 16,-1-19-16,19 0 15,-19-19 1,1 19-16,-18-17 0,17 17 0,-17-18 16,19-35-1,-19 36-15,-19-1 16,2 1-16,-18-2 16,-18 38-1,35-2 1,0-17-16,0 0 0,18 18 0,-17-18 15</inkml:trace>
  <inkml:trace contextRef="#ctx0" brushRef="#br0" timeOffset="74583.09">25378 13472 0,'-18'-18'15,"1"18"-15,-2 18 0,2-1 16,17 0 0,-17 2-16,17-2 0,34 18 15,20-16 16,-37-19-31,2 0 0,-2 0 16,0 0-16,1 0 0,0-19 16,-18 2-16,18 17 0,-36-71 31,0 54-31,0-1 16,18 1-16,-17 17 0,0-19 15,-2 38 16</inkml:trace>
  <inkml:trace contextRef="#ctx0" brushRef="#br0" timeOffset="74862.28">25148 13684 0,'0'17'16,"0"18"-16,-17-17 15,17 0-15,-17-1 0,17 0 0,-19-17 16,2 19-16,-1-2 16</inkml:trace>
  <inkml:trace contextRef="#ctx0" brushRef="#br0" timeOffset="75238.14">25660 13401 0,'-36'53'31,"36"-35"-31,0-1 16,0 0-16,0 2 0,19-19 15,-2 17-15,1-17 16,-18 18-16,17-18 0,2-18 16,-2 18-1,0 0-15,1-17 16,-18-2-16,0 2 0,0 0 16,0-1-16,-18 1 15,1-2 1,0 19-16,-2 0 15,2 0-15,-1 19 16</inkml:trace>
  <inkml:trace contextRef="#ctx0" brushRef="#br0" timeOffset="75522.69">25872 13401 0,'0'0'0,"0"17"32,0 2-32,0-2 15,0 1-15,18-18 0,-18 17 0,0 0 16,34-17 0,-16 0-1,0 0-15,0 0 0,-18-17 0,17 17 16,-17-17-16,17-1 15,-17 1-15,0-2 16,0 2-16,-17 0 0,0-19 16,-1 36-1,-18 0-15,19 0 0,0 18 16,-19-18-16,18 18 0</inkml:trace>
  <inkml:trace contextRef="#ctx0" brushRef="#br0" timeOffset="79714.03">24248 14901 0,'-17'0'16,"0"-19"0,34 38 109,0-19-94,2 0-16,-2 0 1,1 0 47,-18-19-17,17 19-30,2 0-16,-2 0 16,0 0-1,19 0 1,-36-17-16,18 17 0,-1 0 16,0 17-1,-17 2 1,0-2-16,0 1 15,0-1-15,0 0 16,0 2-16,0 16 16,0-18-16,0 2 0,0-2 15,-17 18 1,17-17 0,0 0-1,0-1 1,0 0 15,0 1 47,-17-18 63</inkml:trace>
  <inkml:trace contextRef="#ctx0" brushRef="#br0" timeOffset="80120.97">24319 15165 0,'19'-17'16,"-2"17"-16,-17-18 0,17 18 15,1 0-15,0 0 0,0-18 16,-1 18-16,0 0 0,1-18 15,0 18-15,0 0 16,-1 0-16,0 0 0,2 0 16</inkml:trace>
  <inkml:trace contextRef="#ctx0" brushRef="#br0" timeOffset="80671.83">24602 15165 0,'0'17'15,"0"1"1,0 18 15,0-19-31,-18 0 0,18 2 16,-17-19-16,17 17 16,-19-17-16</inkml:trace>
  <inkml:trace contextRef="#ctx0" brushRef="#br0" timeOffset="81066.88">24955 14953 0,'17'-17'15,"-53"34"-15,19 0 0,0-17 16,17 19-16,-18-19 0,18 17 16,-18 1-1,18-1-15,0 2 16,18-2-16,-18 0 15,18-17-15,-18 18 16,0 0-16,0 0 16,-36 16-1,18-16 1,1-18-16,0 18 16,-1 0-16,0-18 0,0 17 15,1-17-15,17 17 16</inkml:trace>
  <inkml:trace contextRef="#ctx0" brushRef="#br0" timeOffset="81280.97">25007 15094 0,'19'0'16,"-19"18"-1,17-18-15,-17 18 16,-17 17-16,17-18 16,-36 54-1,18-35 1,1-36 0</inkml:trace>
  <inkml:trace contextRef="#ctx0" brushRef="#br0" timeOffset="81622">25290 15024 0,'-35'36'31,"35"-19"-15,0 0-1,0 1-15,0 0 32,0 0-17</inkml:trace>
  <inkml:trace contextRef="#ctx0" brushRef="#br0" timeOffset="82007.09">25026 15130 0,'-36'52'15,"36"-34"-15,0 0 16,17 0-16,-17-1 15,53 0 1,-18-34 0,-16 17-16,15-17 15,-16-1-15,0-18 16,0 19-16,-18 0 16,0-19-16,0 18 0,0 1 15,-18-19-15,-18-16 16,2 33-1,15 19 1,-16 19 0,18-19-16,17 17 15,-17-17-15</inkml:trace>
  <inkml:trace contextRef="#ctx0" brushRef="#br0" timeOffset="82254.25">25202 15006 0,'17'0'31,"-17"18"-31,0-1 16,0 2-16,0-2 16,0 0-16,-35 71 15,35-70 1,-18 18-16,0-19 15,18 19-15,-17-19 16</inkml:trace>
  <inkml:trace contextRef="#ctx0" brushRef="#br0" timeOffset="82594.3">25484 15006 0,'-36'18'0,"19"-1"16,17 2 0,17-2-1,1 0-15,0-17 16,0 0-1,-1 0-15,18-17 16,-17-19 0,-18 1-16,-18-1 15,18 19 1,-18 0-16,1-1 0,0 1 16,-1 17 15,18 105-16</inkml:trace>
  <inkml:trace contextRef="#ctx0" brushRef="#br0" timeOffset="82859.85">25590 14918 0,'34'35'32,"-15"-35"-17,-19 17 1,35 2-16,-18-2 15,2-17-15,33-17 32,-35 17-32,2-19 0,-2 2 15,-17 0-15,0-1 16,0-18 0,0 19-16,-17 0 31,-2 17-31,19 34 15,-17-34-15,17 19 16,17-2 0</inkml:trace>
  <inkml:trace contextRef="#ctx0" brushRef="#br0" timeOffset="83049.58">25890 14989 0,'17'-19'15,"0"2"-15,1 0 16,0-18-1,-18 16-15,18 19 16,-54-70 0,1 52-1,18 18 1,-1 18 0,-264 88-16,546-212 0,-264 124 15</inkml:trace>
  <inkml:trace contextRef="#ctx0" brushRef="#br0" timeOffset="83352.99">26454 14812 0,'-18'0'15,"1"18"-15,-2-18 16,2 18-16,-512 123 16,565-141-16,440-124 0,-494 141 31,1-17-31,17 19 16,-19-19 15,19 17 0</inkml:trace>
  <inkml:trace contextRef="#ctx0" brushRef="#br0" timeOffset="87997.39">24584 16417 0,'0'36'16,"0"-19"0,0 18-16,0 1 15,0-19-15,0 19 0,-17-1 0,17 0 16,0 1-16,-19 52 15,19-35-15,0-18 16,0 1-16,0-19 16</inkml:trace>
  <inkml:trace contextRef="#ctx0" brushRef="#br0" timeOffset="88416.11">24955 16541 0,'-36'17'31,"19"1"-15,-1 0-1,18 0-15,18 16 16,-18-16 0,34 0-1,-15 17 1,-2-35-16,-17 17 0,0 2 0,18-2 15,-18 1-15,-18-1 16,1 19-16,17-19 16,-19-17-16,19 18 0,-88 52 31,71-70-31</inkml:trace>
  <inkml:trace contextRef="#ctx0" brushRef="#br0" timeOffset="88600.26">25095 16700 0,'0'0'16,"19"34"-16,-19-15 16,0-2-16,-19 1 0,19-1 15,0 2-15,0-2 0,-17 0 16,17 18-16,0-16 0,-18 15 0,18-16 15,0 0-15,0 0 16</inkml:trace>
  <inkml:trace contextRef="#ctx0" brushRef="#br0" timeOffset="88920.59">25290 16629 0,'-35'17'16,"35"1"-16,-19 18 16,38-36-16,-19 17 15,17 19-15,18-19 16,-18-17-16,2 0 16,-2 0-16,54-17 15,-71-2 1,0-15-16,-17 34 15,-2-36-15,2 18 16,-1 18-16,18-17 0,-17 17 16,-2-17-16,2 17 0,0 0 15,-1 0 1</inkml:trace>
  <inkml:trace contextRef="#ctx0" brushRef="#br0" timeOffset="89207.71">25395 16594 0,'19'18'31,"-19"-1"-15,-19-52-16,55 87 0,-19-34 16,19-18-16,-18 18 15,-1-18-15,0 0 16,19 0-16,16-18 15,-52 0 1,0 1 0,0 0-16,-17-1 15,0 0-15,-1 18 16,0 0-16,18-18 16,-18 18-16,-16 0 15,16 18 1</inkml:trace>
  <inkml:trace contextRef="#ctx0" brushRef="#br0" timeOffset="89509.92">25766 16541 0,'-18'17'16,"18"1"-1,18 35 1,-1-36-16,2 1 16,-2-18-1,0 0-15,1 0 16,-18-18-16,18-34 31,-36 34-31,18 0 16,-18 1-16,1 0 15,0-2 1,17 2-16,-19 17 0,2 17 16,-1 2-1</inkml:trace>
  <inkml:trace contextRef="#ctx0" brushRef="#br0" timeOffset="89989.56">26083 16505 0,'-17'0'15,"17"36"-15,0-1 16,17 1-1,2-19 1,-2-17-16,0 0 0,-17 17 0,18-17 16,-1 0-16,2 0 0,-2-17 15,0 0 1,1 17-16,-18-18 16,-18-18-16,-16 2 31,15 15-31,2 19 15,-1 0 1</inkml:trace>
  <inkml:trace contextRef="#ctx0" brushRef="#br0" timeOffset="90263.65">26331 16470 0,'0'18'0,"0"-36"15,17 53-15,-17-16 0,18-2 16,-18 0-16,17 1 16,0-18-16,-17 18 15,19-18-15,-2 0 16,37-18 0,-54 0-16,0 1 15,0 0-15,0-2 16,-19-16-16,2 18 15,-1 17 1,-87 0 0,69 17-1,19 1-15,-1-18 0</inkml:trace>
  <inkml:trace contextRef="#ctx0" brushRef="#br0" timeOffset="93697.93">24514 17810 0,'17'-34'16,"19"34"-16,-1 0 31,-18 0-31,2 0 0,-2 0 16,0 0-16,1 17 0,-1 0 15,-17 19 1,-17-1-16,-1-16 0,18 15 16,-34 1-16,15-16 0,2-2 0,-1 18 15,1-17-15,-2 0 0,2-1 16,0 0-16,-1 1 15,53-18 17,-18 0-32,37-35 15,16 18 1,-35-1-16,-16 18 16,-2-18-16,18 0 15,1 1-15,-2-19 16,-16 36-16,0-17 0,0-1 0</inkml:trace>
  <inkml:trace contextRef="#ctx0" brushRef="#br0" timeOffset="94109.37">25114 17688 0,'17'0'16,"0"0"-16,-17 17 0,18-17 15,-18 17-15,0 1 0,18 0 0,-18 0 16,0-1-16,0 0 16,0 2-16,0-2 0,-18 1 0,18-1 15,0 2-15,-18-19 0,18 34 16,-17-34-16,17 18 0,17-53 31,1-1-15,0 19-16,0-54 15,-18 54-15,0-1 16,17 0-16,-17 0 0,-17 1 0,17-18 16,0 17-16,-18 0 15,0-16-15,18 15 0,-35 2 16,18 17-16,-2 0 15,2 0-15,-1 0 16,-16 36 0,34-19-16</inkml:trace>
  <inkml:trace contextRef="#ctx0" brushRef="#br0" timeOffset="94290.81">25007 17810 0,'0'19'0,"0"-38"15,0 55-15,0 18 16,0-37-16,-17 35 16,-1-16-1,18-19-15,-17 37 16,-2-37-16,19 0 16</inkml:trace>
  <inkml:trace contextRef="#ctx0" brushRef="#br0" timeOffset="94650.29">25484 17600 0,'0'0'16,"-18"34"-16,0-16 15,18 0-15,0 0 0,-17-1 16,17 0-16,0 1 0,17 0 16,-17 0-16,0-1 0,18-17 0,18 17 15,-19 2 1,0-19-16,1-19 16,-18-33 15,0 34-31,-18 18 0,1-35 15,17 18-15,-17-1 0,-1 0 16,0 0-16,0 18 16,1 0-1</inkml:trace>
  <inkml:trace contextRef="#ctx0" brushRef="#br0" timeOffset="94926.75">25572 17617 0,'18'53'0,"-18"-35"15,17-1-15,0 0 16,19 1 0,-18-18-16,-1 0 15,2 0-15,15 0 0,-16-18 16,-1 1-1,-17 0-15,0-1 16,0 0-16,-17 0 0,17 1 16,-18 0-1,18-2-15,-17 2 0</inkml:trace>
  <inkml:trace contextRef="#ctx0" brushRef="#br0" timeOffset="95422.15">26119 17581 0,'-17'0'15,"-2"0"-15,2 36 16,17-19 0,0 1-16,0 0 0,0 0 15,17-1 1,2 0-16,-2-17 16,0 0-16,1 0 0,-1 0 15,19-34-15,-36 16 16,0 0-16,0 0 15,0 1-15,0 0 0,-17-2 16,-2-16-16,2 35 16,-1-17-16,1 17 15,0-19-15,-2 38 16</inkml:trace>
  <inkml:trace contextRef="#ctx0" brushRef="#br0" timeOffset="95678.25">26348 17600 0,'35'17'16,"1"0"-1,-19-17-15,37-17 16,-54 0-1,17 17-15,-17-19 0,17 19 16,-17-17-16,0-1 0,0 1 0,0-19 16,0 19-16,0-1 15,-17-18-15,0 36 0,-19-17 16,1 0-16,16 17 16,2 17-16,-18-17 0,-1 0 15,2 17-15</inkml:trace>
  <inkml:trace contextRef="#ctx0" brushRef="#br0" timeOffset="96056.91">25414 17952 0,'-19'36'0,"2"16"16,-1-16 0,-18 16-16,19-16 15,0-2-15,-1 2 0</inkml:trace>
  <inkml:trace contextRef="#ctx0" brushRef="#br0" timeOffset="97066.46">23562 13930 0,'-19'142'0,"-16"51"16,18 19-16,-2-71 0,2 1 16,0 16-16,-19 142 15,18 0-15,1-141 0,17-54 16,17 19-16</inkml:trace>
  <inkml:trace contextRef="#ctx0" brushRef="#br0" timeOffset="97749.94">26807 12908 0,'52'0'15,"-16"0"-15,-124 0 0,193 0 0,-69 17 16,-18-17-16,-1 17 0,18-17 15,-17 18-15,53 52 0,-36-34 0,-18-1 16,19 36-16,-1-18 16,1 35-16,86 247 15,-86-211-15,-1 0 16,1 16-16,-1-16 0,1 17 0,-2-18 16,1 18-16,1-17 0,-1 17 0,1-1 15,-2 2-15,125 423 16,-70-301-1,-1-17-15,-53-123 0,-18-19 16,37 90-16,-37-2 16,0-105-16,-17-35 0,0 18 15</inkml:trace>
  <inkml:trace contextRef="#ctx0" brushRef="#br0" timeOffset="98680.96">18428 17158 0,'54'-70'0,"-20"70"15,-16 0-15,-1 0 16,2 0-16,-2 17 0,36 19 16,-35 16-16,-18-33 15,-18 15-15,18-16 0,-18 35 16,0-18-16,-16 18 0,-20 0 16,54-35-1,-17-1-15,0-17 16,17 17-16,34-34 31,-16 0-31,35-1 16,-36 18-16,1-17 0,18 17 15,-2-36-15,-15 36 16,-2-17-16,18-1 0,-18 18 16,2-18-16,-2 18 0,1-18 15</inkml:trace>
  <inkml:trace contextRef="#ctx0" brushRef="#br0" timeOffset="99029.91">19028 17017 0,'-70'17'15,"52"-17"-15,18 19 16,-18-2-16,18 1 16,0-1-16,36 36 31,-19-35-31,0-18 0,-17 17 0,18 2 16,0-2-16,0 0 15,-18 19 1,-18 16-1,0-34-15,0 0 0,18 0 16,-17-18-16,0 17 0,-1 0 0,0 2 16,0-19-16,1 17 0,-19-17 15,19 0 1</inkml:trace>
  <inkml:trace contextRef="#ctx0" brushRef="#br0" timeOffset="99242.21">19116 17282 0,'0'0'16,"18"18"0,-1-18-16,-17 17 0,0 0 15,0 1-15,0 0 16,0 0-16,0-1 0,0 0 0,0 19 15,0-18-15,0-1 0,-17 0 16,17 2-16,0-2 16,-18-17-16</inkml:trace>
  <inkml:trace contextRef="#ctx0" brushRef="#br0" timeOffset="99582.25">19434 17053 0,'-18'35'15,"0"-35"-15,18 17 0,0 0 16,18 2-16,-18-2 0,0 1 16,18-1-16,-1 2 15,0-19-15,-17 17 0,19-17 16,-2 0-16,18 0 15,-16-17-15,-2-2 16,-17 2-16,0-1 16,0 1-16,-17 17 0,17-19 15,-19 2-15,2 0 0,-18-1 16,16 1-16,2 17 16,0 0-16,-1 0 15,0 0-15,0 0 0</inkml:trace>
  <inkml:trace contextRef="#ctx0" brushRef="#br0" timeOffset="99861.05">19592 17034 0,'18'0'16,"-18"19"-16,-35-38 0,52 19 0,18 36 15,-35-18-15,19-18 0,-2 34 16,0-15-16,1-19 15,0 17-15,0-17 16,-1 0-16,0 0 16,-17-17-16,18 17 0,0 0 15,-18-19-15,0 2 0,0 0 16,0-1-16,0 1 0,-70-54 31,52 71-31,18-18 16,-18 18-16,0-18 0,1 18 15,0 18-15,-2 0 16,19 0 0</inkml:trace>
  <inkml:trace contextRef="#ctx0" brushRef="#br0" timeOffset="100085.32">20104 17000 0,'35'17'16,"-35"0"-16,0 2 0,0-2 0,-17 1 16,-1 16-16,18 2 15,-18-18-15,0 18 0,18-2 16,-17-16-1</inkml:trace>
  <inkml:trace contextRef="#ctx0" brushRef="#br0" timeOffset="100577.62">20510 16805 0,'-18'53'31,"18"-35"-31,0-1 16,18 2-16,-18-2 0,17 0 0,19 19 31,-19-36-31,1 0 16,-1 0-16,2 0 0,-19-18 15,17 0-15,-17 1 16,0 0-16,-17-2 16,-2-33-16,2 35 15,-1-2-15,1 19 0,17-17 0,-19 17 16,2-18-16,-18 18 16</inkml:trace>
  <inkml:trace contextRef="#ctx0" brushRef="#br0" timeOffset="100857.2">20756 16682 0,'-17'0'0,"34"0"0,1 18 16,-18-1-16,0 0 15,0 2-15,18-2 0,-18 1 16,18-18-16,-1 17 0,0-17 15,-17 19-15,18-19 16,18 0-16,-36-19 0,17 19 16,0-17-16,-17-1 15,0 1-15,0-36 16,-17 35 0,0 0-16,-1-17 0,0 18 15,0 17 1,1-18-1,0 36-15,17-1 16</inkml:trace>
  <inkml:trace contextRef="#ctx0" brushRef="#br0" timeOffset="101187.71">21215 16576 0,'-17'53'16,"17"-36"-16,0 1 0,0 0 16,17 0-16,0-18 15,2 0 1,-2 0-16,1-36 31,-1 36-31,-17-18 0,0 1 16,0 0-16,0-1 0,-17-18 0,17 19 15,-18 0-15,-18-37 16,2 37-16,16-2 0,-52 2 16,16 17-16,20 17 0,-37-17 0,0 19 15,-106 16-15</inkml:trace>
  <inkml:trace contextRef="#ctx0" brushRef="#br0" timeOffset="101709.42">18199 17405 0,'-53'-17'16,"18"17"-16,16 0 0,-50 17 16,-72-17-1,70 17-15,-141 19 16,159-36-16,-18 18 0,19-18 16,-89 34-16,70-15 15,54-19-15,-1 17 16,0-17-16,0 18 0,1-18 15,0 0-15</inkml:trace>
  <inkml:trace contextRef="#ctx0" brushRef="#br0" timeOffset="102002.2">17194 17370 0,'-107'106'15,"90"-53"-15,-1-18 16,1 71 0,17-88-16,52 87 15,-33-69-15,15-19 16,2 18-16,-1-16 0,1 15 15,-1-34-15,53 35 0,-52-35 16,-2 19-16,1-19 0,1 0 0,-1 0 16,1 0-16,17-19 15</inkml:trace>
  <inkml:trace contextRef="#ctx0" brushRef="#br0" timeOffset="103325.55">14088 17370 0,'-34'-18'0,"34"0"0,-18 18 15,1-17-15,-2 34 32,19 1-32,0 0 0,19 17 0,-2 1 15,18 140 1,1-105-16,-19-1 0,1 1 16,-1 0-16,19-2 0,-36-16 15,17 1-15,1-2 0,-18 18 0,0-16 16,0-18-16,-18-19 15,18 0-15,-34 18 16,15-16-16,-16-19 16,18-19-16,17 2 15,-19-54 1,38 54 0,-19-18-16,0 16 0,17 2 15,-17-18-15,18-18 0,18-35 16,-36 71-1,17-19-15,-17 18 0,0 1 0,0 0 16,0-2-16,0 2 0,0-1 0,0 1 16,0-2-1,0 2-15,0 53 47,17-19-47,-17 1 0,0-1 16,18-17-16,-18 19 0,18-2 0,0 0 15,-1 1 1,18-18 0,1 0-16,-36-18 0,17 1 15,0 17-15,-17-17 16,19-2-16,-2-16 16,1 18-16,-18-2 15,0 2 1,0 53 15,0-1 0,17-35-31,2 0 16,15 0 15,-16 0-31,-1 0 16,2 0-16,-2 0 15,-17 17-15,17-17 0,-17 19 16,18-19-16,-18 17 0,0 0 16,18 1-1,-18-1-15,0 2 16,18-2 15</inkml:trace>
  <inkml:trace contextRef="#ctx0" brushRef="#br0" timeOffset="104489.52">14671 17529 0,'0'35'31,"0"-18"-31,0 2 0,17-2 0,-17 0 15,0 37-15,0-37 16,18 18-16,-18-17 0,0 0 0,0-1 16,18 0-16,-18 2 0,0-2 0,0 1 15,18-18-15,-18 17 16,17-17 0,0 0 15,2 0-16,-2 0 1,18-17-16,-16-1 16,-19 1-1,17 17-15,-17-19 0,17 2 16,-17 0 15,18 17-31,-1 0 47,2 0-16,-2 0-31,0 0 32,1 0-32,-18 17 15,18-17-15,0 0 16,-1 0-1,0 0 1,2 0 0,-2-17-1,1-1-15,-18 0 32,17 0-17,0 1 1,2 34 15,-19 1-15</inkml:trace>
  <inkml:trace contextRef="#ctx0" brushRef="#br0" timeOffset="104963.43">15059 18164 0,'36'-18'31,"33"0"-15,-15-17-16,-18 18 16,-2-19-16,54-16 0,-17-19 15,-35 35 1,-1-16-16,1 16 0,-2-17 0,20-70 15,-20 16-15,-16-139 16,-36 158 0,1-18-16,-19-18 0,1 2 0,-18-2 0,1 18 15,-107-88-15,-1 88 16,91 70-16,-20 2 0,-17 16 16,1 18-16,-2 18 0,-403 158 15,386-106 1,18 18-16,0 0 0,0 0 15,18 2-15,-70 120 16,51-32-16,55 15 0,33-88 16,19 2-16,142 386 15,-54-405 1,1 2-16,16-21 0,89 20 16,-88-54-16,0-18 15,123 19-15,-34-53 16,-90-2-16,230-69 15,-265 54-15</inkml:trace>
  <inkml:trace contextRef="#ctx0" brushRef="#br0" timeOffset="108370.72">15942 15182 0,'34'0'0,"-16"0"16,-1 18-1,-17 0-15,0 0 16,0-1-16,0 0 15,0 2-15,-17-2 16,34 1 0,-17-1-16,19-17 15,-2 0-15,0 19 16,1-2-16,0-17 16,-18 17-16,0 1 15,-36 18 1,19-36-1,17 17-15,-17-17 0,-2 0 0,2 17 16,-1-17 0</inkml:trace>
  <inkml:trace contextRef="#ctx0" brushRef="#br0" timeOffset="108921.83">16435 15041 0,'0'36'16,"0"-19"-1,17 37 1,1-37-16,-18 0 0,0 19 31</inkml:trace>
  <inkml:trace contextRef="#ctx0" brushRef="#br0" timeOffset="109382.32">16330 15236 0,'17'-18'0,"0"18"15,1 0-15,-18-18 0,70 0 16,-34 1 0,-1 0-16,1 17 0,16-18 15,-16 0-15,-1 18 0</inkml:trace>
  <inkml:trace contextRef="#ctx0" brushRef="#br0" timeOffset="110267.02">16682 15324 0,'141'-54'16,"-106"37"-16,1 0 0,-2-19 0,2 18 16,-1-16-16,-16-2 0,15 18 15,-16-16-15,18-20 16,-36 18-16,17-33 0,-34 33 0,17-17 15,-19 18-15,2-18 0,-18 18 16,-1-1-16,1 19 0,-18-18 16,0 16-16,1 2 0,-160 34 15,158 2 1,2 16-16,-54 35 0,54-16 16,33-2-16,-33 54 0,33 53 31,38-106-31,-19 17 0,17-17 0,1-17 0,18 16 15,-19-16-15,71 52 0,-53-71 16,18 19-16,0-18 16,-1-1-16,19-17 0,70-17 15,-87 17-15,-1-18 16</inkml:trace>
  <inkml:trace contextRef="#ctx0" brushRef="#br0" timeOffset="111664.94">17599 14901 0,'53'-19'16,"-35"19"-16,-1 19 0,-17-2 15,0 1-15,0-1 0,0 0 16,0 19-16,-17-1 16,17 1-16,0-1 15,0-17-15,0 0 0,0-1 16,0 0-1,17-17-15,19 0 16,-19-17 0,1 0-16,-1 17 0,2-18 0,-2 0 15,18 0-15,-17 1 16,0 17-16,-1-17 0,0 17 0,1-19 16,0 19-1,0 19 1,-1-2-16,-17 0 0,-17-17 15,17 18-15,0 0 16,0 0-16,0-1 0,-18-17 16,18 17-1,0 1-15,18-53 32,-1 0-17,-17-18 1,0 36-16,0-37 15,0 37 1,0-2 15,36 38-15,-19-2 0,1-17-16,-1 18 0,19-1 15,-19 2 1,18 15-1,-35-16-15,0 0 16,0 17-16,-17-18 16,17 1-1,36-53 17,-19 35-32,-17-17 15,17-19 1,1 36-16,0-18 15,-18 1 1,18 17-16,-1 0 16,0 0-1,19 0-15,-18 0 16,-1 0 0,0-17-1,-17-2 1,-17-16-1,17 18 1,17 17 15,2 0-31,16 0 16,-18 17-16,2-17 16,-2 0-16,0 0 15,1 0 1,-1 0-16,2-17 15,-19-2 17,17 2-32,-53 34 31,19-17-15,-18 19-16,18-2 0</inkml:trace>
  <inkml:trace contextRef="#ctx0" brushRef="#br0" timeOffset="112029.71">18252 15429 0,'70'-35'16,"142"-106"-16,-176 106 15,16-18-15,1 0 0,-17 1 16,-1-2-16,-18 1 0,36-123 15,-53 123-15,18-18 16,-36 19-16,-18-55 0,-33 2 16,16 69-16,-1 19 0,-16-1 15,-1 18-15,-193 18 16,157 18-16,2-2 16,-88 54-16,103-34 0,2-1 0,18 18 15,-1-19-15,19 18 16,-36 72-16,52-72 0,1 1 15,35-18-15,0-1 0,0 2 0,142 139 32,-73-157-32,2-1 0,-1-17 0,72 17 15,-54-18-15,-18-17 16,1-17-16,17 17 0,0-17 0</inkml:trace>
  <inkml:trace contextRef="#ctx0" brushRef="#br0" timeOffset="112626.34">18587 15624 0,'53'53'0,"-18"-18"0,18 18 16,-18-18-16,1 1 15,16-19-15,-16 18 0,157 71 16,-157-88-16,16-1 16,72 0-16,-53 2 0,0-19 15,-1 0-15,353-36 16,-316 19-1,122-1-15,-106 1 0,1-2 16,17 2-16,-18 17 0,106-35 16,0-1-16,-122 19 15,-2 0-15,-17-2 0,19 2 0,-38-1 16,179-35 0,-213 36-16,-18-1 0,19 18 15,-18-17-15,-1-2 0,2 19 16,-19-34-1,0 16 1,-19 18 0,2-17-1</inkml:trace>
  <inkml:trace contextRef="#ctx0" brushRef="#br0" timeOffset="112935.73">21815 15360 0,'35'0'15,"1"0"-15,-19 0 0,0 17 16,1-17-16,18 17 0,-19-17 0,19 18 15,-19-1-15,37 19 16,-37 17-16,0-35 16,1 35-16,-18-1 0,-18-16 15,-16 35-15,15-37 16,-16 1-16,18 1 0,-54 35 16,53-54-16,0 19 0,1-36 15,0 17-15,17 1 0,-18-18 16</inkml:trace>
  <inkml:trace contextRef="#ctx0" brushRef="#br0" timeOffset="116314.23">28623 14389 0,'19'0'0,"-73"0"16,37 0-16,-72 35 16,54-35-16,0 18 15,-18 0-15,17-1 0,-16 0 16,-1 2-16,18-2 0,16 1 16,-15-18-16,-20 34 0,20-15 15,16-19-15,0 0 16</inkml:trace>
  <inkml:trace contextRef="#ctx0" brushRef="#br0" timeOffset="116571.73">28218 14301 0,'-18'0'0,"-35"17"31,36 1-31,-37 18 0,-16 34 15,52-52-15,18 16 16,-17-15-16,17-2 0,0 35 16,0-16-16,17-36 15,1 18-15,0-1 0,0 2 16,-1-19-16,36 17 0,18-17 16,-54 0-16,1 0 15,16 0-15,-15 0 16,16 0-16</inkml:trace>
  <inkml:trace contextRef="#ctx0" brushRef="#br0" timeOffset="119729.32">23684 13401 0,'-17'0'0,"0"0"0,-2 17 0,2-17 16,-1 19-16,1-19 0,0 17 15,-2-17-15,19 18 0,-17-18 16,-1 17-16,-18 36 16,19-53-16,17 18 15,-17-1-15,17 19 0,-18-19 0,18 1 16,0 18-16,-18-19 0,18 18 16,0 1-16,0 34 0,0-35 15,0 18-15,0 1 0,0-20 16,-18 20-16,18-2 0,18 1 0,-18 71 15,0-72-15,18 72 16,-18-71-16,0 18 0,18-19 16,-18 107-16,0-89 15,17 18-15,-17 2 0,0-2 0,17 17 16,-17 2-16,19 86 0,-19 19 16,0-107-16,17 107 15,-17-106-15,18-18 0,-18 18 16,17-18-16,-17 0 0,19 0 0,-19-17 15,17-18-15,0 70 16,1-34-16,-18-54 0</inkml:trace>
  <inkml:trace contextRef="#ctx0" brushRef="#br0" timeOffset="121874.33">27424 15870 0</inkml:trace>
  <inkml:trace contextRef="#ctx0" brushRef="#br0" timeOffset="122599.18">28200 15465 0,'52'0'32,"-33"-17"-32,-2 17 15,1 0-15,-1-19 0,54 2 16,-53 17-16,0-18 0,-1 18 16,0 0-16,1-17 0,0 17 15,0 0-15,-1-17 16,0 17-16,-17-19 15,19 19-15,-2 0 0,-17-17 16</inkml:trace>
  <inkml:trace contextRef="#ctx0" brushRef="#br0" timeOffset="122847.85">28552 15200 0,'0'-18'0,"36"18"16,18 36-1,-37-18-15,18 16 16,-18-15-16,2-2 0,-2 18 16,-17-16-16,0 15 0,0-16 15,0-1-15,-17 2 0,17 15 16,-19-16-16,-16 35 0,1 0 31,15-35-31,2-18 0</inkml:trace>
  <inkml:trace contextRef="#ctx0" brushRef="#br0" timeOffset="127153.3">29118 13648 0,'-36'0'0,"36"18"16,-18 0-1,18-1-15,-17 0 16,17 1 0,0 0-16,17 34 15,-17-33 1,18-2-16,-18 1 16,18-18-16,0 17 15,16-17 1,2-17-16,-18 17 15,-1-18-15,0 18 16,2-17-16,-2-2 16,1 2-16,-1-18 15,-17 17 1,0 0 0,0-16-1,-17 34-15,17-18 0,0 0 16,-18 18-16,1-18 15,-2 18 1,2-17-16,0 17 16,-1 0-16,0 0 15,0 17-15</inkml:trace>
  <inkml:trace contextRef="#ctx0" brushRef="#br0" timeOffset="127449.05">29752 13454 0,'0'-17'0,"-17"52"47,17-18-47,0 0 0,0 2 16,0-2-16,0 1 0,0 52 31,17-34-31,-17-18 0,0-1 16,0 0-16,0 1 15,18 0-15,-18 0 0,0-1 0</inkml:trace>
  <inkml:trace contextRef="#ctx0" brushRef="#br0" timeOffset="127870.87">29682 13754 0,'17'-18'16,"-34"36"-16,53-54 0,-19 36 0,0-17 16,18 0-1,-16 17-15,-2-18 0,0 18 16,1 0-16,-18-18 16,18 18-16,0 0 15,-1 0 1,0 0-1,-17 18-15,18-18 0,0 0 16,17 18 0,-18-18-16,2 0 15,-2-18-15,1 18 16,-1-18 0,-34 0-1,-1 1-15,1 17 16,-2-17-1,2 17 1,0 0-16</inkml:trace>
  <inkml:trace contextRef="#ctx0" brushRef="#br0" timeOffset="128094.8">30246 13472 0,'18'0'15,"-18"17"1,0 0-16,18-17 16,-18 19-16,0 16 15,0-18-15,0 2 16,0-2-16,0 0 15,17 1-15,-17 0 0,17 0 16</inkml:trace>
  <inkml:trace contextRef="#ctx0" brushRef="#br0" timeOffset="128398.92">30458 13577 0,'0'36'32,"17"-36"-17,2 17-15,-2-17 16,0 0 0,1 0-16,-18-17 15,18 0-15,0-2 16,-18 2-16,0-1 15,0 1-15,-18-19 16,18 19-16,-18 17 16,18-18-1,-35 36-15,-1-1 16</inkml:trace>
  <inkml:trace contextRef="#ctx0" brushRef="#br0" timeOffset="128993.53">29911 14036 0,'71'18'16,"-37"-18"-16,20 0 15,-37 0-15,19 0 16,35-18-16,-19 18 16,18-18-16,-34 1 0,52 0 15,-34-2-15,16-16 16,36-35 0,-53 35-16,-18-1 0,-18 19 15,19-54-15,-1 0 16,1-17-1,-2 18-15,-16-1 16,-18 36-16,-71-106 16,54 105-16,-71-16 15,34 16-15,-68-17 16,51 35-16,-70-16 16,53 34-16,-71-18 0,71 18 15,-19 0-15,19 18 0,-317 52 16,317-52-1,-19 16-15,-69 56 0,106-56 16,-89 72-16,88-53 16,18 0-16,1 18 0,-36 34 15,17 19-15,53-72 16,0 90 0,18-72-16,0-34 0,54 52 15,-37-70-15,71 35 16,0-18-16,19-18 15,-54 2-15,-1-19 16,1 0-16,-18 0 0,124 0 16</inkml:trace>
  <inkml:trace contextRef="#ctx0" brushRef="#br0" timeOffset="129434.54">30123 14177 0,'-36'71'15,"1"-18"-15,-1-18 16,2 1-16,-2-2 0,1 20 0,0-1 15,-1-18-15,-17 18 0,-87 106 16,87-107-16,17-16 16,1 17-16,0-18 0,-18-18 0,17 19 15,-35 35-15,37-54 16,16 0-16,-52 37 16,16-37-1</inkml:trace>
  <inkml:trace contextRef="#ctx0" brushRef="#br0" timeOffset="129799.35">29294 14830 0,'-35'71'31,"16"-19"-15,2-35-16,17 19 0,-17 18 15,17-20-15,0 2 16,0-18-16,17-1 0,-17 18 0,17-17 15,2 0-15,-2-1 0,1 0 16,-1 2-16,19-19 0,52 17 16,-35 1-1,-1-18-15,-16 0 0,-18 0 16,-1 0-16,19 0 0,-19-18 16,18 18-16,-16 0 15</inkml:trace>
  <inkml:trace contextRef="#ctx0" brushRef="#br0" timeOffset="142478.63">12343 7333 0,'52'0'110,"19"17"-95,177 19-15,-108-18 16,54 18-16,-70-19 16,299 71-1,-194-71-15,442 71 16,-354-34 0,18-54-1,106 0-15,-70 0 16,-19 0-16,-16 0 0,-55 0 15,-86 0 1,-71 0-16,-19 0 16</inkml:trace>
  <inkml:trace contextRef="#ctx0" brushRef="#br0" timeOffset="147805.94">11496 6152 0,'0'34'47,"0"54"-31,0 72-16,0 34 0,0-18 15,0 18 1,0 0-16,0-88 16,0 36-16,0-37 15,0-34-15,0-18 0,0-36 16,0 1-1,0-1 1,-17 2 62,17-38-47,0 2-15,0-37-16,0 2 0,0-18 16,0-54-16,0-18 15,-36-51-15,19 52 16,-19-54 0,18 72-16,18-18 0,-34-123 31,15 105-16,19 106 1,0 36-16,-17-19 16,53 36 77,34 0-93,18 0 16,35 0-16,18 0 16,37 0-16,15 0 15,36 0-15,18 0 16,-18 0-16,1 0 16,-1 0-16,36 0 15,-35 0-15,-1 0 16,0 0-16,18 0 15,0 0-15,-35 0 16,52 0-16,-88 0 16,18 0-16,-18 0 15,-17 0-15,158 0 16,-158 0 0,36 0-16,17 0 15,0 0-15,17 0 16,194 0-1,35 0 1,-35 0 0,1 0-1,-195 0 1,-17 0-16,35 0 16,-54 0-16,19 0 15,-17 0-15,-36 0 16,-37 0-16,-15 0 15,-19 0-15,-71 0 16,19 0-16,-18 0 16,-18 36 140,0-19-140,0 36-16,0-1 0,0 19 15,0-18 1,0 159-1,0-124-15,0 35 0,0-52 16,-18 17 0,18 1-16,0 16 15,0 19 1,-18-1 0,18-106-16,0 2 15,0-2-15,0 1 16,-18-1 109,1-17-110,0 17 1,-19-17-16,-35 0 16,-34 19-16,-37-19 0,-228 0 31,-53 35-31,158-35 16,54 0-1,-248 0 1,265 0-16,18 0 15,-19 0-15,-176 0 16,213 0 0,18 0-16,-38 0 15,20 0-15,-36 0 16,-176 0 0,-36 0-1,212 0-15,-212 0 16,248 0-1,-37 0-15,-86 0 16,139 0 0,54 0-16,-141 0 15,158 0 1,1 0 0,-18 0-16,-160 0 15,142 0-15,-35 0 16,-35 0-1,35 0-15,-18 0 0,-88 0 16,71 0 15,52 0-31,-34 0 16,87 0 0,0 0-16,1 0 15,-1 0-15,0 0 16,1 0-16,-1 0 15,-34 0-15,-125 0 32,177 0-32,36 0 15,-18 0 63,16 0-62,-33 0-16,-1 0 16,-71 0-1,89 0 1,-18 0-16</inkml:trace>
  <inkml:trace contextRef="#ctx0" brushRef="#br0" timeOffset="152974.68">12943 12132 0,'52'0'16,"-104"0"-16,175 0 0,-70 0 15,35 0-15,-17 0 16,34 0-1,36 0 1,-87 17-16,34-17 16,-35 0-1,52 35-15,107-35 16,-89 0 0,36 0-16,1 0 15,68 0-15,20 0 16,-38 0-16,-15 0 15,52 0-15,-18 0 16,159 0 0,-212 0-1,-52 0-15,17 0 0,-70 0 16,-18 0 0</inkml:trace>
  <inkml:trace contextRef="#ctx0" brushRef="#br0" timeOffset="155566.57">21920 12220 0,'18'0'109,"88"17"-93,-52-17-16,34 0 16,0 0-1,-18 0-15,177 0 16,-18 0-1,-105 0 1,140 0 0,-105 0-16,-35 0 15,157 0 1,-139 0-16,16 0 16,1 0-16,18 0 15,-37 0-15,19 0 16,0 0-16,35 0 15,-35 0-15,-18 0 16,35 0 0,-34 35-16,-54-35 0,36 0 15,-2 0-15,73 0 16,34 0 0,-123 0-1,-18 0-15,36 0 16,-36 0-1,18 0-15,-18 0 0,-17 0 16,0 0 0,-19 0-16,-16 0 15,-2 0-15,2 0 16,52 18 0,-53-18-1,1 0 1,-1 0-1,-18 0-15,-17 18 1297</inkml:trace>
  <inkml:trace contextRef="#ctx0" brushRef="#br0" timeOffset="157430.85">13172 11214 0,'35'0'94,"18"0"-78,211 18-1,-122-1-15,34 0 16,18-17-16,36 0 16,-18 0-16,-2 0 15,73 0-15,-71 0 16,-1 19-16,18-19 16,-34 35-16,-2-35 15,107 0 1,-159 17-16,-17-17 15,140 0 1,19 0 0,-124 0-16,-18 0 15,123 0 1,-35 0 0</inkml:trace>
  <inkml:trace contextRef="#ctx0" brushRef="#br0" timeOffset="158957.79">21868 11249 0,'35'0'140,"141"0"-124,1 0-16,122 0 16,90 17-1,51-17 17,-52 0-32,-193 0 15,17 0-15,35 0 16,-35 0-1,-2 0-15,56 0 0,-56 0 16,2 0-16,230 0 31,-230 0-31,-36 0 16,17 0-16,-52 0 0,-17 0 16,-53 0-16,17 0 15,-35 0 1,-18 0-16,-18 0 0</inkml:trace>
</inkml:ink>
</file>

<file path=ppt/ink/ink10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51:41.143"/>
    </inkml:context>
    <inkml:brush xml:id="br0">
      <inkml:brushProperty name="width" value="0.05292" units="cm"/>
      <inkml:brushProperty name="height" value="0.05292" units="cm"/>
      <inkml:brushProperty name="color" value="#0070C0"/>
    </inkml:brush>
  </inkml:definitions>
  <inkml:trace contextRef="#ctx0" brushRef="#br0">10540 3748 0,'352'18'15,"-264"-18"-15,18 0 0,-18 0 0,124 17 16,18 2-16,-1-2 15,-106 0-15,1-17 16,-19 18-16,636 52 31,-618-52-31,1 0 0,17 0 0,-17-18 16,123 34-16,105 2 16,-245-18-16,103-1 15,-103 2-15,-19-19 16,212 34-1,-159-34-15,-89 0 0,72 18 16,-89-18-16,54 0 16,-37 0-16,-16 0 0,-1 0 15,1 0-15,16 0 16,1 0-16,35 0 16,-70 0-1,18 0-15,-19 0 16,0 0-1,2 0-15,-55 0 32,19 0-32,-1-18 0,0 18 15</inkml:trace>
  <inkml:trace contextRef="#ctx0" brushRef="#br0" timeOffset="2388.1">20593 3678 0,'71'0'0,"106"17"16,-108-17-16,2 0 15,0 0-15,17 19 0,1-19 16,-1 17-16,17-17 0,178 35 16,-195-18-16,17 2 15,90-2-15,-90 0 0,71 19 16,-69-18-16,69 16 15,-88-16-15,19 0 0,51 0 16,106-1 0,-228-17-16,-1 0 0,1 0 15,16 0-15,-16 17 16,-19-34-16,37 17 16,-20 0-16,-16 0 0,18-17 15,-2-1 1,2-18-1,-1 19-15,-18 0 16,-17-1-16,19 18 0,-2-36 16,1 19-16,-18 0 15,17-19-15,0 18 16,2-16-16,16-37 16,1 35-16,16-52 0,-16 35 0,-2 1 15,-16-2-15,52-34 0,-16-18 16,-37 54-16,19-36 15,-1-2-15,-18 73 16,2-18-16,-2-35 16,0 52-16,-17 0 15,18 0-15,-18-16 0,18 34 16,-18-19-16,0 2 0,18-1 16,-18 1-1,17 17-15,-17-17 16,0-2-1,-17 19-15,-1-17 16,0 17 0,-17 0-16,-18-18 0,18 18 15,-1 0-15,1-17 16,-1 17-16,-264-71 16,248 71-16,-18-18 15,-1 0-15,0 1 0,1 0 16,-18-1-16,-54-18 0,1 2 15,70 15-15,19 19 0,-142-52 16,0 16 0,53 1-1,17 18-15,-17-2 16,89 19-16,-2-17 0,1 17 16,-70 0-16,70 0 15,-18 0-15,-51 0 31,86 0-31,18 0 0,-35 0 16,18 0-16,-18 0 0,18 0 16,-18 0-16,36 0 15,-2 0-15,2 0 0,-18 0 16,-36 0 0,54 0-16,-2 0 15,-33 17-15,16-17 16,19 0-16,-19 0 15,1 0-15,18 0 16,0 0-16,-2 0 0,2 0 0,-1 0 16,-18 19-16,-16-19 15,35 0 1,-2 0-16,-33 0 16,-1 17-16,36-17 15,-19 0-15,1 0 0,18 0 16,-19 0-16,-52 0 15,52 0 1,18 0 0,-16 18-1,16-18-15,0 0 16,0 0-16,1 34 31,0-15-15,17-2-16,0 1 15,0-1 1,-19-17-16,19 53 0,-17-17 16,-1-1-16,1 53 15,0-17 1,-2-54-16,2 71 16,-18 36-16,16-88 15,2 16-15,17-16 0,-17 35 16,-1-19-1,18 54 1,-18-88-16,18 35 16,0-36-16,0 35 15,0-16-15,0-1 16,0-16-16,0-2 16,0 18-1,-18-17 16,18 0-31,0-1 16,-17-17 0,17 17-1,0 1 1,17-18 0,1 0-16,0 18 15,34-18-15,-33 18 16,16-18-16,18 0 0,70 17 31,-53 0-31,-16-17 16,-1 19-16,-18-19 15,1 0 1</inkml:trace>
  <inkml:trace contextRef="#ctx0" brushRef="#br0" timeOffset="5336.02">8776 5900 0,'34'0'0,"-16"-17"0,18 17 15,17 0-15,18 0 0,-2 0 0,38 0 16,-19 0-16,17 0 0,2-19 0,-2 19 16,19 0-16,-1 0 15,1-17-15,0 17 0,245 0 16,-140-17-16,-17 17 16,-124 0-16,0 0 15,-17-18-15,53 18 0,-71 0 16,-1 0-16,2 0 0,-20 0 15,-15 0-15,16 0 0,-18 0 16,2 0-16,-19-17 0,17 17 16,18 0-16,-18 0 15,2 0-15,-2 0 32,-53 0 14</inkml:trace>
  <inkml:trace contextRef="#ctx0" brushRef="#br0" timeOffset="7449.04">6641 8211 0,'53'0'15,"-1"0"1,160 0 0,-17 0-1,-90 0-15,107 0 0,-89 0 16,1 0-16,140 0 15,-140 0-15,17 0 0,1-17 16,228 17-16,-88 0 16,54 17-16,-160-17 15,158 0-15,-192 0 0,-1 17 16,176-17-16,-193 0 16,158 18-16,-158-18 15,-2 0-15,-15 0 0,122 18 16,35-18-16,-193 0 15,0 0-15,53 0 16,-54-18-16,-18 18 0,2 0 16,-20 0-16,-15 0 15,16 0-15,1 0 0,-19 0 16,18-18-16,1 18 16,-19 0-1,0 0-15,1-17 16,0 17-1,0 0 1,-1 0 31</inkml:trace>
  <inkml:trace contextRef="#ctx0" brushRef="#br0" timeOffset="9567.08">6905 10310 0,'36'0'0,"-19"0"15,54 0-15,-18 0 0,18 0 16,88 17-16,-54-17 0,0 19 16,2-19-16,122 0 15,442 17 1,-354-17-1,-175 0-15,122 17 16,-18-17-16,-16 0 0,-124 18 16,-18-18-16,-17 0 0,0 0 15,122 0 1,-158 0 0,-17 0-16,0 0 15</inkml:trace>
</inkml:ink>
</file>

<file path=ppt/ink/ink10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52:04.341"/>
    </inkml:context>
    <inkml:brush xml:id="br0">
      <inkml:brushProperty name="width" value="0.05292" units="cm"/>
      <inkml:brushProperty name="height" value="0.05292" units="cm"/>
      <inkml:brushProperty name="color" value="#0070C0"/>
    </inkml:brush>
  </inkml:definitions>
  <inkml:trace contextRef="#ctx0" brushRef="#br0">1601 2557 0,'35'0'16,"1"-17"0,-2 17-1,2-17 1,-18 17-16</inkml:trace>
  <inkml:trace contextRef="#ctx0" brushRef="#br0" timeOffset="312.54">2482 2435 0,'0'17'16,"18"-17"0,0 0-16</inkml:trace>
  <inkml:trace contextRef="#ctx0" brushRef="#br0" timeOffset="755.95">3541 2416 0,'53'-17'31,"-18"17"-16</inkml:trace>
  <inkml:trace contextRef="#ctx0" brushRef="#br0" timeOffset="1129.38">4122 2416 0,'54'-17'32,"-18"17"-17,-36-18-15,17 18 16,0 0-16,1 0 0</inkml:trace>
  <inkml:trace contextRef="#ctx0" brushRef="#br0" timeOffset="1536.25">5093 2452 0,'36'0'31,"16"0"-16,-35-17 1,19 17-16,-18 0 0,-1 0 0,2 0 16</inkml:trace>
  <inkml:trace contextRef="#ctx0" brushRef="#br0" timeOffset="1900.32">6064 2435 0,'88'0'15,"-71"-19"-15,36 19 16,-18-17-16</inkml:trace>
  <inkml:trace contextRef="#ctx0" brushRef="#br0" timeOffset="2114.9">6910 2347 0,'18'0'16,"-1"0"0,19 0-16,16-19 15,-33 19-15,15 0 16</inkml:trace>
  <inkml:trace contextRef="#ctx0" brushRef="#br0" timeOffset="6463.77">6928 4533 0,'17'-34'15,"0"34"1,-17-19-16,19 19 0,-2 0 16,1-17-16,-1 17 0,107-35 15,-107 35 1,19 0-16,-18-19 0,35 19 16,-36-17-16</inkml:trace>
  <inkml:trace contextRef="#ctx0" brushRef="#br0" timeOffset="6787.33">7828 4321 0,'52'-17'15,"-34"17"1,17 0-16,0 0 16,-17-17-16</inkml:trace>
  <inkml:trace contextRef="#ctx0" brushRef="#br0" timeOffset="7201.43">8550 4392 0,'35'-17'46,"-16"17"-46,15 0 16,-16-18-16,0 18 16,0 0-16,-1 0 15,0 0-15,2 0 0,-2 0 16,1 0-16</inkml:trace>
  <inkml:trace contextRef="#ctx0" brushRef="#br0" timeOffset="8063.93">9521 4480 0,'52'-17'31,"-33"17"-15,15 0-1,-16 0-15,-1 0 16,2 0-16,-2-18 0,0 18 16,19 0-1,-18-17-15,-1 17 0</inkml:trace>
  <inkml:trace contextRef="#ctx0" brushRef="#br0" timeOffset="8401.49">10349 4499 0,'36'0'31,"-1"-19"-31,1 19 15,-2-17 1</inkml:trace>
  <inkml:trace contextRef="#ctx0" brushRef="#br0" timeOffset="8733.2">11232 4533 0,'53'0'0,"-18"0"16,-1-17-16,2 17 15,18-17-15</inkml:trace>
  <inkml:trace contextRef="#ctx0" brushRef="#br0" timeOffset="8999.74">12184 4499 0,'17'17'16,"2"-17"-16,-2-17 16,0 17-16,1 0 15,0 0-15,0 0 16,-1 0-16</inkml:trace>
  <inkml:trace contextRef="#ctx0" brushRef="#br0" timeOffset="12142.27">4229 6756 0,'283'-17'16,"-195"-2"-16,105 2 0,-105 17 15,107-35-15,-2 16 16,-104 19-16,87-17 15</inkml:trace>
  <inkml:trace contextRef="#ctx0" brushRef="#br0" timeOffset="14717.91">10120 12753 0,'-18'-17'15,"18"52"-15,0-1 0,0 73 16,0-54-16,0 87 15,0-86-15,0 16 0,0 1 16,0 70-16,18-35 16,-18-53-16,0-18 0,0 1 15,0-2-15,0-16 0,0 18 0,0-19 16,0 19-16,0-19 16</inkml:trace>
  <inkml:trace contextRef="#ctx0" brushRef="#br0" timeOffset="15043.41">10226 12895 0,'-70'34'15,"70"-16"-15,-106 123 16,88-124-16,18 19 0,-18-18 15,-16 35-15,-20 18 16,54-54 0,-17 0-16</inkml:trace>
  <inkml:trace contextRef="#ctx0" brushRef="#br0" timeOffset="15259.06">9873 13017 0,'36'18'16,"-19"-18"-16,1 18 15,18 0-15,-2-1 0,54 36 16,-52-35-16,123 52 16,-124-52-1,1-18-15,52 36 0,-54-19 16,20 0-16,-1-17 15,-18 18-15</inkml:trace>
  <inkml:trace contextRef="#ctx0" brushRef="#br0" timeOffset="16090.47">13718 12507 0,'0'88'31,"0"-54"-31,0 20 0,18-1 0,-18-1 15,0 19-15,0-1 0,0-16 0,0 16 16,0 1-16,0 0 0,0-19 16,0 18-16,0 89 15,0-123-15,0-1 16,0-18-16,0 2 0,0-2 16,0 0-16</inkml:trace>
  <inkml:trace contextRef="#ctx0" brushRef="#br0" timeOffset="16404.33">13825 12612 0,'0'0'0,"-19"17"0,2 1 15,0 35-15,-71 88 16,69-106 0,2 1-16,-35 52 0,16 0 15,1 0 1,16-69-16,19-2 0,-17 18 15,0-18-15,17 2 0,0-2 16</inkml:trace>
  <inkml:trace contextRef="#ctx0" brushRef="#br0" timeOffset="16639.34">13506 12683 0,'54'53'15,"-37"-36"1,19 1-16,-1 16 0,1-15 0,-2 16 16,2 1-16,70 52 15,-36-36-15,18-16 16,-52-2-16,34-15 15,-34-2-15</inkml:trace>
  <inkml:trace contextRef="#ctx0" brushRef="#br0" timeOffset="17200.79">16876 12488 0,'17'36'0,"-17"-19"0,0 18 16,0-16-16,0 15 0,19 20 15,-19-1-15,0-1 0,0 72 16,0 52-1,0-123-15,0 18 0,0-19 0,0 1 16,0 1-16,-19 16 0,19-35 16,0 36-16,0-54 0,-17 19 15,17-19-15,0 1 0,-18-1 16,18 2-16</inkml:trace>
  <inkml:trace contextRef="#ctx0" brushRef="#br0" timeOffset="17619.08">16929 12559 0,'-36'17'15,"19"2"1,-18 33-16,18-34 0,-2 34 0,2-16 16,-1-1-16,-52 72 15,52-73-15,-18 2 16,19 16-16,0-34 0,17 0 16,-18 17-16,18-18 15,-18 19-15,18-18 16</inkml:trace>
  <inkml:trace contextRef="#ctx0" brushRef="#br0" timeOffset="18204.57">16858 12576 0,'18'0'16,"-36"0"-16,72 19 0,-37-19 16,18 17-16,35 18 15,-52-17 1,18 0-16,34 16 0,-52-15 16,35 16-16,-18-18 15,-18 0-15,2-17 0,-2 19 0,54 33 16,-54-52-1,0 19-15,2-2 0,-2-17 16,-17 17 0,18 1-16</inkml:trace>
  <inkml:trace contextRef="#ctx0" brushRef="#br0" timeOffset="22607.24">7686 7920 0,'-17'0'16,"69"0"-1,-35-17 1,107-1-1,-88 18-15,52-18 16,-53 18-16,89-18 16,-72 18-16,55-17 0,-54 0 15,16 17-15,-33-19 0,18 19 0,68 0 16,-68-17-16,104 17 16,-104 0-1,-2-18-15,36 18 0,1 0 16,-1 0-16,-17 0 15,-37 0-15,20 0 0,-37 0 16,18 0-16,159 18 31,-176-18-31,18 17 0,-19-17 16,0 0-16,37 19 0,-37-2 16,0-17-16,19 17 15,-18 1-15,16 0 0,56 17 31,-73-18-31,0-17 0,37 36 0,-37-18 16,0-1-16,19-17 16,-1 36-16,-18-19 0,37 18 15,-37-16-15,0-19 16,19 52-16,18 18 16,-37-52-16,18 18 15,-17-19-15,0 0 16,16 37-16,2-20 15,-18-15-15,-1 16 0,0-18 0,2 36 16,-2-18-16,18 72 31,-35-90-31,19 19 0,-19 16 16,0 1-16,0-18 0,0 18 16,-19-18-16,2 18 15,17-17-15,-35 16 16,-54 72-1,54-89-15,-36 36 16,37-53-16,-73 52 0,2 0 16,-19 1-1,1 0-15,-36-1 16,106-34-16,-106 35 16,53-36-1,18-1-15,-18 2 16,-18-18-16,72-1 15,-54 2-15,54-19 16,-19 17-16,-36-17 0,-69 0 16,106 0-1,16 0-15,-86-17 0,-37-19 16,18 1-16,89-1 16,-89-52-16,88 35 15,-263-282 1,228 159-16,36 17 15,51 70-15,-16 1 16,18-88-16,17 88 16,17 0-16,142-283 15,-88 283-15,17 0 16,17 18-16,2-18 0,-2 17 0,124-53 16,18 19-16,-123 51 15</inkml:trace>
  <inkml:trace contextRef="#ctx0" brushRef="#br0" timeOffset="24741.52">12484 8061 0,'158'-53'16,"-51"36"-16,-55 17 0,19-18 15,-18 0-15,18 18 0,51-18 16,20 18-16,-1-17 16,-70 34-16,-1-17 15,53 0-15,-16 36 16,-54-18-16,-1-1 0,72 54 15,-71-18-15,70 106 16,-87-107-16,-1 18 16,-1 54-16,2-18 0,-36-53 15,-124 264 1,72-263-16,-1-1 16,-106 52-16,71-51 15,-89 34-15,72-54 16</inkml:trace>
  <inkml:trace contextRef="#ctx0" brushRef="#br0" timeOffset="25658.96">15748 8115 0,'-19'0'0,"55"-19"15,69-16 1,1 18 0,-36-2-16,20 2 0,-21 0 15,20-1-15,-1 0 16,0 0-16,18 1 0,-18 0 0,124-19 15,105 1 1,-210 35-16,86-17 0,-86 17 16,-2 17-16,88 0 15,-103 1-15,68 35 0,-70-18 16,-17 1-16,-19-2 0,19 20 16,87 140-1,-139-142-15,-19 55 0,0-55 16,-19 1-16,-50 89 15,33-72-15,-35 1 0,-17 0 16,-70 51-16,70-68 16</inkml:trace>
  <inkml:trace contextRef="#ctx0" brushRef="#br0" timeOffset="27022.59">13208 15328 0,'0'-17'16,"0"70"-1,0-36 1,0 18-16,0 18 15,0-35-15,0 0 16,0 0-16,0-1 16,0 0-16,0 1 15,17-53 17,-17 18-32,0-1 15,17-18-15,1 36 0,-18-17 16,17-19-16,2 19 15,-19-1-15,17 18 16,0-17-16,1 34 16,0-17-16,0 18 15,-1-1-15,0 2 16,-17-2-16,19 0 16,-19 1-1,35-53 16,-18 18-15,0-2-16,-17 2 0,36-18 16,-1 35-1,-35-19-15,19 19 0,-2 0 16,0 19-16,18 16 31,-35-18-31,19-17 0,-19 19 0,0 15 16,17-34-16,-17 18 15,17 0-15,-17 0 16</inkml:trace>
  <inkml:trace contextRef="#ctx0" brushRef="#br0" timeOffset="27897.79">14036 15364 0,'18'-71'16,"-18"54"-16,-18-2 15,18 2-15,-18 17 16,1 17 0,0 37-1,17-37 1,0 0-16,0 2 0,0-2 0,0 1 15,17 18-15,-17-19 16,17-17-16,1 17 0,0 1 16,0-18-16,34-18 15,-34 18 1,0-17-16,-1 17 0,0-36 16,19-16-16,-18-1 15,-1-35-15,0 52 16,-17 1-16,0-36 15,0 37-15,0-20 0,0-34 32,-17 71-32,17-2 0,0 2 15,0 0-15,-35 34 16,35 0 0,0 2-16,-17 50 15,17-15-15,-19 34 16,19-52-1,19 16-15,-19-34 0,17 17 16,-17-18-16,18 2 16,-18-2-16,17 1 0,0-1 15,2-17-15,-2 0 16,1 0-16,-1-35 16,2 35-1,-19-17-15,17-2 0,0 2 16,1 0-16,-18-1 15,18 36 17,-18-1-32,0 0 15,18 2-15,-18 16 16,0-18 0,17 0-16,-17 2 0,35 33 31,-17-52-16,0 0 1</inkml:trace>
  <inkml:trace contextRef="#ctx0" brushRef="#br0" timeOffset="28183.47">14741 15116 0,'0'71'0,"0"-35"16,0-19-16,0 0 15,0 2-15</inkml:trace>
  <inkml:trace contextRef="#ctx0" brushRef="#br0" timeOffset="28355.98">14636 14888 0,'-18'17'0</inkml:trace>
  <inkml:trace contextRef="#ctx0" brushRef="#br0" timeOffset="28907.23">14882 15099 0,'-17'0'16,"0"17"0,-1 2-16,18-2 15,-18 0-15,18 1 16,0 35-1,0-36 1,18 2 0,0-19-1,-1 0 1,19-19 0,-19 19-1,1-17 1,-1 0-1,0 34-15,2-17 16,-2 0 15,1 0-31,-1 0 0,-17 17 16,19-17-16,15 0 16,-34-17-1,36 17-15,-18-17 16,-1-1-1,-17 0 1</inkml:trace>
  <inkml:trace contextRef="#ctx0" brushRef="#br0" timeOffset="29072.29">14565 15064 0,'-35'0'16,"17"0"-1,36-36 1</inkml:trace>
  <inkml:trace contextRef="#ctx0" brushRef="#br0" timeOffset="35826.07">17600 10743 0,'-36'17'78,"18"0"-62,-18 19-1,19-18-15,0-1 0,-1 0 16,-18 37-16,-16-1 16,34-36-1,0-17-15,18 18 16,-17-18-16</inkml:trace>
  <inkml:trace contextRef="#ctx0" brushRef="#br0" timeOffset="36006.98">17581 10831 0,'-35'52'0,"18"-16"15,-2-19-15,2 19 0,-18-1 16,18 1-16,-2-2 15,-15 20-15</inkml:trace>
  <inkml:trace contextRef="#ctx0" brushRef="#br0" timeOffset="-305.37">23544 4428 0,'-54'17'16,"37"1"-16,0 18 0,-19-2 15,1 37-15,18-18 16,-2-35-16,19-1 15,0 19-15,53 33 16,1-69 0,-37 0-1,0-17-15,19-18 0,35-35 16,-19-18-16,-35 52 0,2-16 16,-19-2-16,17-52 15,-70-70 1,1 122-16,-1 20 15,35 16-15,-35 18 16,0 0-16,1 35 16,16 1-16,18-1 0,18 1 15,35 210 1,53-87 0,-69-106-16,15-18 15,2 18-15,16 18 16,2 0-16,-20-54 0,2 35 15,-1-33-15,1 15 16,-36-16 0,17-18-16,1 18 15</inkml:trace>
  <inkml:trace contextRef="#ctx0" brushRef="#br0" timeOffset="-80.49">23985 4745 0,'17'0'15,"-17"35"17,18-18-17,-18 2-15,0-2 0,0 1 16,0 35-16,0-18 0,0-18 15,0 2-15,0 15 16,17-16 0</inkml:trace>
  <inkml:trace contextRef="#ctx0" brushRef="#br0" timeOffset="306.86">24461 4533 0,'52'-53'0,"-16"53"15,-19 0-15,19 0 16,-18 0-16,-1 0 0,0 0 16,-17 19-1</inkml:trace>
  <inkml:trace contextRef="#ctx0" brushRef="#br0" timeOffset="456.62">24496 4709 0,'-18'0'16,"18"19"-1,18-19 1,18 0-16,-2-19 16,2 19-1,-142 0-15,247-17 0,-88 0 0,-18-1 16</inkml:trace>
  <inkml:trace contextRef="#ctx0" brushRef="#br0" timeOffset="825.74">25254 4287 0,'18'17'16,"-18"18"-1,0-17-15,18 17 16,-18-18-16,0 19 15,0-18-15,0-1 0,0 2 0,0-2 16,0 0-16,0 1 16,0-36 15,18-16-31,-1 15 16,-17 2-16,17-1 15,1 1-15,18-2 16,-19 2-1,0 17-15,2 17 16,-2-17-16,1 19 16,-18-2-16,0 1 0,17-18 0,-17 17 15,17 2-15,2-19 16</inkml:trace>
  <inkml:trace contextRef="#ctx0" brushRef="#br0" timeOffset="1035.75">25854 4216 0,'0'-17'0,"0"-2"16,0 55-1,0-36 1,0 17-16,0 19 16,0-1-16,0-18 15,0 1-15,0 35 0,0-36 16,0 2-16,0-2 0,0 1 15,0-1-15,18 2 0</inkml:trace>
  <inkml:trace contextRef="#ctx0" brushRef="#br0" timeOffset="1203.15">25801 4392 0,'-17'0'0,"51"-17"16,2-1-1,-18 18 1,-1 0-16,2-18 0</inkml:trace>
  <inkml:trace contextRef="#ctx0" brushRef="#br0" timeOffset="1396.86">26172 4092 0,'0'0'16,"0"17"0,0 19-1,0-1 1,17 1-16,-17-1 16,0-17-16,0 17 15,0-18-15,17 1 0,-17 0 16,0 17-16,-17 18 15</inkml:trace>
  <inkml:trace contextRef="#ctx0" brushRef="#br0" timeOffset="1733.53">24990 4992 0,'52'-36'15,"2"19"1,-1-1-16,-1 1 0,19 0 15,17-2-15,230-69 16,-266 88-16,19-17 0,-18-1 16,1 1-16,-20-2 0,1 19 15,1 0-15,17-17 0,-35 17 16,-1 0-16,0 17 16,-34 2-1,17-2-15</inkml:trace>
  <inkml:trace contextRef="#ctx0" brushRef="#br0" timeOffset="2064.74">25713 5185 0,'0'-17'0,"-53"88"31,35-54-31,1 19 16,0-19-16,-2 1 15,19 0-15,-17 0 0,-1 16 0,18-16 16,-17 0-16,17 0 0,0-1 16,17 0-16,-17 2 15,18-19-15,-1 0 16,2 0-16,15 0 0,-16 0 15,0-19-15,17 19 0,0-17 16,-17 0-16,0 17 0,-18-18 16,17 0-16,0 0 0,2-16 15,-19 16-15</inkml:trace>
  <inkml:trace contextRef="#ctx0" brushRef="#br0" timeOffset="2214.68">25837 5185 0,'0'-34'15,"-19"51"1,2 19-1,17-19-15,0 18 0,0-16 16,-17 33-16,34-16 16,-17-2-16,0 2 0,0-1 0,17 1 15,-17-1-15,19 70 16,-19-69-16,17 17 16,-34-601-16</inkml:trace>
  <inkml:trace contextRef="#ctx0" brushRef="#br0" timeOffset="2955.26">23790 7303 0,'-34'34'15,"-2"2"-15,18 18 16,1-20-16,17 1 0,-19 1 15,19 17-15,19 106 16,-19-124-16,17 1 0,37 16 16,15 1-1,-16-36-15,-35-17 16,0 0-16,17 0 0,-18-17 0,19 0 16,-18-1-16,-1 0 0,19-88 15,-36 1 1,0 52-16,-19-1 0,19-16 15,-17 18-15,-35-38 0,33 38 16,2 16-16,-18-16 16,-18 16-16,36 36 15,-2 0-15,2 18 16,17 0-16,0 0 0,-18 34 16,36 89-1,-18-88-15,17 1 0,2-2 16,-19 1-16,88 159 15,-71-159-15,0-1 0,2-16 16,16 35-16,-18-36 16,0-18-16,2 2 0,16 15 15,1-34-15,-19 18 16,0-18-16</inkml:trace>
  <inkml:trace contextRef="#ctx0" brushRef="#br0" timeOffset="3284.37">24532 7761 0,'34'-17'16,"-16"-2"-16,0 38 0,-18 16 31,0-18-31,-53 54 15,53-53-15,-17 17 16,-19 0-16,36-17 16,-18 0-16,18-1 0,-17 0 15,17 2-15,0-2 16,0 1 0,35-36-1,-18 18-15,19-36 16,-19 36-16,37-52 15,16-1-15,-35 53 16,-18-35-16</inkml:trace>
  <inkml:trace contextRef="#ctx0" brushRef="#br0" timeOffset="3507.3">25201 7427 0,'36'-19'0,"-19"19"16,1 0-16,-18-17 0,18 17 15,0 0-15,-1 17 16</inkml:trace>
  <inkml:trace contextRef="#ctx0" brushRef="#br0" timeOffset="3666.63">25166 7673 0,'35'0'31,"18"-36"-15,18 19-1,-36 0-15,35-1 16,-51 0-16,16 18 0,-18-18 16</inkml:trace>
  <inkml:trace contextRef="#ctx0" brushRef="#br0" timeOffset="4350.21">26084 7215 0,'-18'34'31,"18"2"-15,-18-36-16,18 35 15,0-18-15,0 2 16,18-2-16,-18 1 16,18-36 15,-18 1-31,17-2 0,0 19 16,-17-17-16,18 0 15,0 17 1,0 0-16,-1 0 15,0 17 1,-17 0-16,0 19 31,19-72 16,16 2-31,-18 16-16,-17 0 0,19 18 15,-2-18-15,0 18 16,1 0-16,35 0 31,-36 18-31,-17 0 16,18-18-16,-18 18 16,18-18-16</inkml:trace>
  <inkml:trace contextRef="#ctx0" brushRef="#br0" timeOffset="4628.63">26630 7267 0,'35'-70'16,"-35"52"-16,19 18 0,-73 18 31,37 0-15,17-1-16,-19 0 15,19 1-15,0 0 16,0 0-16,19-1 16,-2-17-16,1 0 15,-1 17-15,36-34 16,-35 17-16,0 0 15</inkml:trace>
  <inkml:trace contextRef="#ctx0" brushRef="#br0" timeOffset="4990.86">27053 7127 0,'0'-19'16,"-17"2"-1,-18 34-15,18 2 31,-2-19-31,2 17 0,17 0 16,-18 19-16,1-36 16,17 18-16,0-1 15,17-17-15,1 0 16,-1 0 0,2 0-16,-19-17 0,17 17 15,0-18-15,18 18 16,-16-18-1,-2 18-15,0 18 16,1-18 0,0 0-1,0 0 1,-1 0-16,0 0 16,1 0-16,0-18 0,17 0 15,-18 18-15,2-17 0</inkml:trace>
  <inkml:trace contextRef="#ctx0" brushRef="#br0" timeOffset="6545.72">12132 9489 0,'17'0'0,"-70"0"47,35 0-47,-18 0 0,2 19 16,-161-2-1,126 1-15,-109-1 0,-122 36 16,90-18-1,-109 36 1,214-53-16,-1 17 0,0-18 16,-282 71-1,282-69-15,18-19 0,0 17 16,18 1-16,-72-1 0,89 2 16,-18-19-16,19 17 0,-72-17 15,88 17-15,-16-17 0,16 0 16,-34 18-16,35-18 0,18 0 15,-19 17-15,18-17 0,-16 0 16,15 0-16,2 0 0,-1 19 0,1-19 16,-2 0-16,2 0 0,-35 0 15,33 17 1,2-17-16,0 0 16,-1 0-16,0 0 15,0 0-15,1 0 16,0 0-1,-2 0 17,2 0-17,-1 0 1,1 0-16,0 0 16,-2 0-1,2 17 1,-1-17-1,72-17 1,-37 17 0</inkml:trace>
  <inkml:trace contextRef="#ctx0" brushRef="#br0" timeOffset="7856.39">14724 9579 0,'53'-19'16,"-18"19"-16,1 0 15,17 0-15,87-17 0,-33 17 16,86-35-16,-69 35 0,-1-19 15,335-15 1,-122 16-16,-160 0 0,0 18 16,2 0-16,-38-18 0,37 18 0,-36 0 15,-1 0-15,2 0 0,-1 0 16,-17 0-16,-1-17 0,213 17 16,-231 0-16,-17 0 15,-17 0-15,-1 0 0,1 0 0,-18 0 16,18 0-16,-36 17 15,-1-17-15,-15 0 0,-2 0 0,1 0 0,-1 0 16,2 0-16,-2 0 16,-17-17-16,-36 17 31,19 0-31,-1 0 0,-18-17 0,2 17 16,-54-18-16,17 18 15</inkml:trace>
  <inkml:trace contextRef="#ctx0" brushRef="#br0" timeOffset="8940.28">13277 7955 0,'-17'-18'0,"-1"18"0,1-17 16,0 17-16,-2 0 0,2-17 16,-1 17-16,-70-18 15,35 18 1,36 0-16,-19 18 0,18-18 16,-52 34-16,-1 20 0,36-20 15,-18 37 1,-52 124-1,86-143-15,-16 1 0,35 0 16,-17 1-16,17-2 0,-17 72 16,17-71-16,0-1 0,34 55 15,-16-55-15,18 1 0,-19 0 0,36-1 16,158 107 0,-140-140-16,-1 15 0,18-16 15,54 18-15,16-19 16,-87-17-16,53 0 15,-53 0-15,-19 0 0,1-17 0,0-1 16,53-18-16,18-52 16,-90 52-1,73-140-15,-90 106 16,35-72-16,-33 20 16,-19 68-16,0 1 0,-71-158 15,18 141 1,-18-1-16,37 35 15,16 19-15,-18-1 16,2 1-16,-20 0 0,37 17 16,-2-19-16,2 19 0,-18 0 0,18 0 15,-2 19-15</inkml:trace>
  <inkml:trace contextRef="#ctx0" brushRef="#br0" timeOffset="11241.72">24090 10125 0,'0'-36'0,"-17"54"31,17 0-15,-19 17-16,2 36 0,0-37 16,17 2-16,0 18 0,0-20 15,0-16-15,0 18 0,0 16 16,17-34-16,-17 0 0,17-1 16,2 0-16,-19 2 0,35-19 15,-18 0-15,2 0 0,-2 0 16,0-19-16,71-86 15,-52 17-15,-36 35 0,18-1 16,-18 2-16,0-18 0,0 16 16,-18 1-16,0-35 0,18 53 15,-18 18-15,-34-54 16,34 54-16,0 17 16,1 0-16,17 17 15,-17 18-15,17-18 0,0 19 16,0-1-16,0 18 0,34 159 15,-16-141 1,18 34-16,-19-51 0,0-20 16,1 20-16,0-20 0,0 2 15,-1 16-15,0-33 0,2-2 16,-19 1-16,17-1 0,1-17 0,-18 19 16,17-19-16,0 17 15,2-17-15,-2 0 0,-17-17 0</inkml:trace>
  <inkml:trace contextRef="#ctx0" brushRef="#br0" timeOffset="11641.83">24778 10425 0,'35'-36'0,"-16"19"15,-2 17 1,0 0-16,1 0 16,-36 35-1,18-17-15,0 0 0,0 16 16,0-16-1,0 0 1,18 0-16,-18 16 16,17-15-16,-17-2 15,0 1-15,-17-1 16,17 0-16,-18 2 16,1-2-16,0 1 15,17-36 16,0 1-31</inkml:trace>
  <inkml:trace contextRef="#ctx0" brushRef="#br0" timeOffset="11807.44">25078 10248 0,'52'-35'0,"-104"70"16,123-70-16,-54 35 15,1 0-15,-1 18 16,-34-1-16,17 0 16,-35 37-1</inkml:trace>
  <inkml:trace contextRef="#ctx0" brushRef="#br0" timeOffset="11946.67">25042 10531 0,'0'0'16,"19"0"-1,16 0-15,-1-18 16,2 0-16,-1 0 16,-16 1-16,15 0 0,142-37 31</inkml:trace>
  <inkml:trace contextRef="#ctx0" brushRef="#br0" timeOffset="12370.92">26277 9877 0,'19'-17'0,"-2"17"16,0 0-1,1 17-15,-18 2 16,0-2 0,0 1-16,0-1 0,0 19 15,0-19 1,17-17-16,-17 18 0,0-1 15,19-17-15,-19 19 0,17-2 16,-17 18 0,0-17-1,0 0-15,0-1 0,-17-17 16,-2 36-16,2-36 16,17 17-16,-18-17 15</inkml:trace>
  <inkml:trace contextRef="#ctx0" brushRef="#br0" timeOffset="12618.95">26648 9808 0,'0'0'15,"-35"17"1,16 35-1,2-33-15,17-2 0,0 1 16,-17 18-16,17-19 0,0 18 16,0-18-16,0 2 0,17-2 15,-17 0-15,36 37 16,-36-37-16,17-17 0,-17 17 16,18-17-16,-1 0 0,2 0 15,-2 0-15,18-17 16</inkml:trace>
  <inkml:trace contextRef="#ctx0" brushRef="#br0" timeOffset="12977.25">26984 9877 0,'0'36'31,"-19"-1"1,19-16-32,0-2 15,0 0 1,36-34 15,-36 0-15,17 17-16,1-19 15,-1 19 1,2 0 0,-2 0-1,0 0-15,-17 19 0,18-19 16,0 0 0,0 0-1</inkml:trace>
  <inkml:trace contextRef="#ctx0" brushRef="#br0" timeOffset="13143.48">27336 9789 0,'17'-34'0,"-17"16"16,-105 194-16,193-300 0,-35 72 31,-53 87-15,0-18-1,0 2-15,0-2 16,0 1-16,0-1 15,0 0-15,0 2 0</inkml:trace>
  <inkml:trace contextRef="#ctx0" brushRef="#br0" timeOffset="13287.68">27336 9931 0,'17'-35'15,"2"35"1,-2-19-16</inkml:trace>
  <inkml:trace contextRef="#ctx0" brushRef="#br0" timeOffset="13471.94">27618 9613 0,'18'-17'0,"-18"52"31,0-18-15,0 2-16,0-2 15,0 0-15,17 1 0,-17 0 0,0 17 16,0-18-16,0 2 0,17-2 16,-17 18-16</inkml:trace>
  <inkml:trace contextRef="#ctx0" brushRef="#br0" timeOffset="13873.13">27794 9349 0,'35'18'0,"-16"-18"16,-2 17-16,0 0 0,54 71 16,-54-69-16,37 69 15,-37-53-15,0 1 16,-17 16-16,19 1 16,-38 0-16,19-35 15,-17 16-15,0 2 0</inkml:trace>
  <inkml:trace contextRef="#ctx0" brushRef="#br0" timeOffset="14175.93">26313 10901 0,'88'-70'15,"-53"52"-15,18 0 0,18 0 0,17-16 16,0 15-16,89-52 0,-1 19 16,-71 16-1,90-34-15,-107 35 16,0 18-16,0-19 0,36 1 0,-36-1 15,-53 36-15,-17 0 16,0 0-16,-1 0 0,-34 53 31</inkml:trace>
  <inkml:trace contextRef="#ctx0" brushRef="#br0" timeOffset="14689.92">27248 11024 0,'-71'71'0,"36"-18"16,-1 0-16,19-35 16,0 35-16,17-36 0,0 71 31,17-53-31,18-16 16,-17-19-16,0 17 0,34-17 15,-34 0-15,34-17 16,-16-2-16,-18 2 0,18 17 0,-2-54 15,37-51 1,-71 70-16,0-1 16,17 19-16,-17 0 0,0-19 15,0 18-15,0 1 0,0 0 16,-17 51 15,17 1-31,0 18 0,0-17 16,0 16-16,0 55 15,0-55-15,0 1 0,0 53 16,0 106 0,-17-124-16,17-52 15,0-2-15,-19-16 0</inkml:trace>
</inkml:ink>
</file>

<file path=ppt/ink/ink10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52:59.974"/>
    </inkml:context>
    <inkml:brush xml:id="br0">
      <inkml:brushProperty name="width" value="0.05292" units="cm"/>
      <inkml:brushProperty name="height" value="0.05292" units="cm"/>
      <inkml:brushProperty name="color" value="#0070C0"/>
    </inkml:brush>
  </inkml:definitions>
  <inkml:trace contextRef="#ctx0" brushRef="#br0">4268 2703 0,'18'53'31,"-18"-35"-31,0-1 16,-18 2-16,18 15 0,-17 20 16,-19 51-1,19-52-15,-1-18 16,18-18-16,-17 2 0,17-2 15,0 1-15</inkml:trace>
  <inkml:trace contextRef="#ctx0" brushRef="#br0" timeOffset="259.2">4534 3108 0,'17'19'16,"-34"-2"-16,17 1 16,-19 18-1,2-19-15,-1 18 0,1-18 16,-19 2-16,19 15 15,-18 2-15</inkml:trace>
  <inkml:trace contextRef="#ctx0" brushRef="#br0" timeOffset="822.46">4992 2810 0,'0'-19'0,"0"55"16,0-1-16,0-18 15,0 36-15,-18-17 16,18-18-16,0-1 0,0 36 16,-18 18-1,18-54-15,0 1 0,-17-18 16,17 17-16</inkml:trace>
  <inkml:trace contextRef="#ctx0" brushRef="#br0" timeOffset="1188.45">5327 3108 0,'17'36'32,"-17"-1"-17,-17 36 1,0-54-16,-2 2 15,2 15-15,-1-16 32,18 0-32</inkml:trace>
  <inkml:trace contextRef="#ctx0" brushRef="#br0" timeOffset="1796.69">5732 2791 0,'0'88'15,"0"-69"1,0 33-16,-17 37 31,17-54-31,0 18 16,-17-36-16,17 1 0,0-1 0</inkml:trace>
  <inkml:trace contextRef="#ctx0" brushRef="#br0" timeOffset="2062.55">6068 3108 0,'18'36'0,"-18"-18"15,0 52-15,-36-35 16,36 1-16,-18-19 0,18 1 16,-17 0-16,0 17 15,-2-18-15,2 2 16</inkml:trace>
  <inkml:trace contextRef="#ctx0" brushRef="#br0" timeOffset="2510.92">6508 2862 0,'0'17'16,"18"2"-16,-18-2 0,0 0 16,0 1-16,0 88 31,0-88-31,-18 35 0,18-36 15,0 1-15</inkml:trace>
  <inkml:trace contextRef="#ctx0" brushRef="#br0" timeOffset="2784.46">6862 3039 0,'17'17'0,"-17"1"16,0 35 0,0-36-1,0 1-15,0 18 16,-17 16-1,-19-16 1,-16 52 0,33-71-16</inkml:trace>
  <inkml:trace contextRef="#ctx0" brushRef="#br0" timeOffset="11447.97">7355 2986 0,'17'-18'16,"2"18"-16,-2 0 0,18 0 15,-16 0-15,-2 18 16,0-18-16,-17 17 0,18 0 15,-18 2-15,-18-19 16,18 52-16,-17-35 0,17 2 16,-17 16-16,-2-18 0,2 2 0,-1-2 15,1 0-15,-2 1 0,2-1 16,0 2-16,-1-2 16,18 0-16,-17-17 15,34 18 1,-17 0-16,71 0 31,-54-18-31,1 0 0,18-18 16,-19 18-16,36 0 15,-1-18-15,-34 18 0,0 0 16,17-18-16,-18 18 0</inkml:trace>
  <inkml:trace contextRef="#ctx0" brushRef="#br0" timeOffset="11770.89">7955 3179 0,'35'0'31,"-35"36"-15,0-19-16,0 18 16,0-16-16,-18 33 0,1-34 15,-18 53 1,17-54-1,18 1 1</inkml:trace>
  <inkml:trace contextRef="#ctx0" brushRef="#br0" timeOffset="12278.43">8290 3039 0,'0'-19'0,"18"19"0,0 0 16,-1 0-16,0 0 0,2 0 16,-2 0-16,1 0 15,16 36-15,-34-18 16,0-1-16,0 0 15,-34 37 1,34-18-16,0-19 0,-18 0 0,1 1 16,17-1-16,0 2 15,17-2 1,1-34 0,-1 17-16,19 0 15,-19 0-15,1 0 0,-1-19 16,2 19-16,15 0 0,2-17 15,-18 17-15,-1 0 0,0 0 16</inkml:trace>
  <inkml:trace contextRef="#ctx0" brushRef="#br0" timeOffset="12474.51">8855 3144 0,'17'18'15,"1"-18"1,-18 17-16,17 19 16,-17-1-16,0-18 15,-17 36 1,-1-17-16,18-1 16,-17-18-16,17 2 15</inkml:trace>
  <inkml:trace contextRef="#ctx0" brushRef="#br0" timeOffset="13753.86">9155 2932 0,'17'-17'16,"1"17"-16,-1 0 16,2 0-16,-2 0 15,0 17 1,1 1-16,-18 0 16,0 0-16,0-1 0,0 0 0,-18 2 15,18-2-15,-17 18 16,0-18-16,17 2 0,-19-19 15,19 17-15,0 1 0,-17-1 16,17 2 0,17-19-1,2 0 1,50 0-16,-50 0 16,-2 0-16,18 0 0,-17 0 0,0 0 15,16-19-15,-15 19 0,-2 0 0,18 0 16,-18-17-16,2 17 15</inkml:trace>
  <inkml:trace contextRef="#ctx0" brushRef="#br0" timeOffset="13934.14">9790 3074 0,'0'17'0,"17"-17"15,-17 17-15,53 37 16,-53-37-16,18 2 0,-18-2 15,0 54 1,0-54-16,0 18 0,-18-17 16,1 0-16,-19 35 0,19-36 15,-1 1-15,0-1 0,0 0 16</inkml:trace>
  <inkml:trace contextRef="#ctx0" brushRef="#br0" timeOffset="15083.99">10442 2915 0,'18'-17'15,"0"-2"-15,-1 19 0,0 0 16,2 0-16,16 0 16,18 36-1,-53-19 1,0 1-16,0 0 15,-19 0-15,19-1 0,-17 0 0,0 2 0,-1-2 16,18 1-16,-17-1 0,-2 0 16,2 2-16,17-2 15,17 1 1,2-18 0,-2 0-16,1 0 0,-1 0 15,0 17-15,2-17 0,-2 0 16,1 19-16,-1-19 0,19 17 31,-36 18-15,-17-35-16,-2 17 15,2-17-15,-18 19 16,16-19-16,2 0 16</inkml:trace>
  <inkml:trace contextRef="#ctx0" brushRef="#br0" timeOffset="15353.16">10988 3162 0,'19'17'16,"-2"2"-16,-17-2 16,0 0-16,0 18 15,-17-16-15,17-2 16,-19 0-16,2 19 16,0-18-16</inkml:trace>
  <inkml:trace contextRef="#ctx0" brushRef="#br0" timeOffset="15852.7">11342 2932 0,'17'0'0,"0"0"15,2 18 1,-19 0 0,-19 0-16,19-1 15,-17-17 1,17 17-16,0 2 31,17-19-31,-17 17 0,19-17 16,-19 18-16,35-1 15,-18 0-15,2 2 16,-2-2-16,-17 1 16,-36 18-1,36-19-15,-17-17 16,-18 35-16,16-35 0,19 17 16,-17-17-16,-18 19 0,18-19 15</inkml:trace>
  <inkml:trace contextRef="#ctx0" brushRef="#br0" timeOffset="16082.37">11676 3162 0,'19'0'0,"-2"0"16,-17 17-16,18 2 15,-18-2-15,0 0 0,0 1 16,0 35 0,-18-18-1,18-17 1</inkml:trace>
  <inkml:trace contextRef="#ctx0" brushRef="#br0" timeOffset="16620.48">12012 2968 0,'88'35'0,"-88"-18"32,0 2-32,0 16 31,0-18-16,18-17-15,-1 17 16,2 2-16,-2-2 16,-17 1-16,17-18 15,-17 36 1,-17-2 0,0-16-1,-2-1-15</inkml:trace>
  <inkml:trace contextRef="#ctx0" brushRef="#br0" timeOffset="16839.25">12542 3198 0,'17'0'0,"-34"0"0,51 0 15,-34 17-15,18-17 0,-18 17 16,0 1-16,0-1 16,-18 36-1,1-35 1,17 0-16</inkml:trace>
  <inkml:trace contextRef="#ctx0" brushRef="#br0" timeOffset="17240.43">13194 2950 0,'-54'36'31,"54"-19"-31,-17-17 0,17 17 0,-17-17 16,-1 19-16,-18 16 31,19-18-31,17 0 15,0 2 1,17-19-16,19 17 16,-18-17-1,-1 0-15,0 0 0,54-17 16,-52 17-16,-2 0 0,0-19 16,1 19-16,-1 0 15,2-17-15,-19 0 16</inkml:trace>
  <inkml:trace contextRef="#ctx0" brushRef="#br0" timeOffset="17458.4">13282 2915 0,'-18'17'0,"18"1"16,0 18-16,0-19 0,0 19 15,0-19-15,0 18 16,0 1-16,0-19 0,0 1 16,0 18-16,0 33 15,-17-33 1,17-19-16,0 1 0,-17-18 16,-2 18-16</inkml:trace>
  <inkml:trace contextRef="#ctx0" brushRef="#br0" timeOffset="19048.65">14375 2810 0,'19'0'0,"-2"0"16,0 0-16,1 0 0,18 0 16,-19 0-16,54 0 0,87 0 31,-140 0-31,18-19 0,-2 19 15,-16 0-15,52 0 16,-51 0-16,16 0 16,-18-17-1</inkml:trace>
  <inkml:trace contextRef="#ctx0" brushRef="#br0" timeOffset="19324.72">14746 2632 0,'70'0'0,"-34"18"15,16 0-15,-33 0 16,16-1-16,18 19 15,18 52 1,-54-53-16,-34 18 16,17-18-16,-19-17 15,-52 53-15,54-54 16,-71 54-16,53-54 0</inkml:trace>
  <inkml:trace contextRef="#ctx0" brushRef="#br0" timeOffset="20359.89">16475 2491 0,'17'-17'16,"-17"53"-16,0-19 16,0 0-16,0 1 0,0 0 15,0 52 1,0-52-16,0 0 0,0-1 15,0 0-15,0 2 16,0-2 0,18-53 15,-1 2-15,2-2-16,-19 18 0,17 1 15,18-18-15,-17 17 0,0 0 16,-1 1-16,0 0 0,1 17 15,0 0-15,0 0 16,-1 17-16,0 0 16,-17 1-16,19-18 15,-19 18-15,0 0 16,17-1-16,-17 0 0,18 1 16,-18 0-16,17 0 15,2-1 1</inkml:trace>
  <inkml:trace contextRef="#ctx0" brushRef="#br0" timeOffset="20687.68">17234 2527 0,'0'-17'15,"17"17"1,0 0-16,1 0 0,0-19 16,17 19-16,-18 0 0,1 0 15,0 0-15,0 19 16</inkml:trace>
  <inkml:trace contextRef="#ctx0" brushRef="#br0" timeOffset="20847.31">17286 2686 0,'18'17'15,"17"-17"1,-18-17-16,1 17 16,0 0-16,17 0 0,-18-18 15</inkml:trace>
  <inkml:trace contextRef="#ctx0" brushRef="#br0" timeOffset="25301.49">18150 2403 0,'0'-17'0,"18"34"16,-18 0-16,0 2 0,0-2 0,0 1 15,0-1-15,0 2 16,0-2-16,0 0 0,0 1 16,0 0-16,0 0 0,0-1 15</inkml:trace>
  <inkml:trace contextRef="#ctx0" brushRef="#br0" timeOffset="25465.64">18574 2368 0,'17'0'0,"0"18"0,-51-36 0,68 53 16,-15-18-1,-19 19-15,0-1 0,-19-16 16,19 15-16,0 72 16,0-88-1</inkml:trace>
  <inkml:trace contextRef="#ctx0" brushRef="#br0" timeOffset="27595.6">1394 5279 0,'-18'17'16,"18"1"-16,-18-18 0,18 17 0,0 2 16,-18 103-1,18-104-15,0 18 16,0-19-16,0 18 0,0-17 0,0 17 15,36 36 1,-1-54-16,-18 2 16,19-19-16,-1 0 15,1 0-15,52-54 32,-53 37-32,-18-19 0,2 19 0,-2-1 15,-17-18-15,0 2 0,17-2 16,-17 1-16,-17-1 0,17 1 0,-36-53 15,1-18 1,18 88-16,0 1 0,-19-36 16,18 53-16,-18-35 15,19 18-15,0 17 16,-1 34 0,18-16-16,18 35 15,-18-36-15,17 37 16,19 34-16,-36-35 0,35-18 15,-18 53-15,71 70 16,-88-122 0,19-18-16,-2 18 0,-17-19 0,17 0 15,1 1-15,0 18 16,0-19-16,-18 0 0,17 1 16,0-18-1</inkml:trace>
  <inkml:trace contextRef="#ctx0" brushRef="#br0" timeOffset="27853.32">2223 5490 0,'0'36'16,"0"-2"-16,0 2 0,0-1 16,0-18-16,17 161 15,-17-161 1,0 18-16,0-17 0,0 0 0,0-1 16,0 0-16,0 2 0,0-2 15,0 1-15</inkml:trace>
  <inkml:trace contextRef="#ctx0" brushRef="#br0" timeOffset="29538.73">1640 9088 0,'-17'36'16,"17"-1"-1,-17-18-15,-2 107 16,19-70-16,0 34 16,0-54-16,0 2 15,0-1-15,0 1 0,19-1 0,15 53 16,-16-71 0,-1 2-16,19-19 15,-19 0-15,1 0 0,18 0 16,-19 0-16,0-19 0,2 2 0,16-1 15,35-87 1,-52 69-16,-18-17 0,17 1 16,-17-36-16,0 34 0,0 1 15,-17 0-15,-1 1 0,-18-19 16,2 0-16,16 35 16,1 19-16,-2 0 0,2-1 0,0 1 15,-1-2-15,0 19 0,0 0 16,1 0-1,0 19-15,-2-2 0,19 1 16,-17-1-16,17 19 0,0-1 0,17 123 16,2-51-1,-2-55-15,0 1 0,1 1 16,0-2-16,-18 1 0,88 230 31,-70-249-31,-18-16 0,17 18 16,-17-19-16,0 0 0,17 2 15,-17-2-15,0 1 0,19-1 16,-2 0-16,1-17 16</inkml:trace>
  <inkml:trace contextRef="#ctx0" brushRef="#br0" timeOffset="30056.85">2258 9742 0,'17'-19'16,"0"19"0,2 0-16,-2 0 15,-17 19-15,18-19 0,-18 17 0,17 0 16,-17 19-1,0-18-15,-17-1 0,17 0 16,-35 19 0,16-18-16,19-1 0,-17-17 0,17 17 15,-17 2-15,17-2 16,-18-17 0,36 18-1,16-18 1,-15 0-16,-2 0 0,1 0 15,-1 0-15,2 0 0,-2 0 0,0 0 16,1 0-16,0-18 16,0 18-16,-1 0 15,-17 18 1</inkml:trace>
  <inkml:trace contextRef="#ctx0" brushRef="#br0" timeOffset="31418">1658 14010 0,'0'17'0,"0"0"16,0 2-16,-18-2 0,18 1 0,18 18 15,-18-19-15,0 18 0,0 18 16,17-36-16,-17 1 16,19 0-16,-2 17 0,0-18 0,1 2 15,0-19-15,0 17 0,-1-17 16,0-17-16,2 17 15,16-19-15,-1-15 0,-15 16 16,16-35-16,-35-18 16,0 37-16,0-20 0,-18-16 15,1 16-15,-2 20 0,-50-72 16,50 70-16,-15 2 0,-37-37 16,54 35-16,-19 19 0,1-1 15,-1 1-15,1-2 16,18 19-16,-19 19 15,19-2-15,17 1 16,0 35 0,17-18-16,0 1 0,2 16 0,-2 1 15,1-18-15,-1 18 0,19 0 16,-19-18-16,18 18 0,36 89 16,-53-108-16,17 20 0,-18-20 15,2 2-15,-2-1 0,1 1 16,-1-1-16,-17-18 0,17 2 0,2 15 15,-2 2 1,-17-18-16,18-18 0,-18 17 0,17-17 16,-17 17-16,19-17 0</inkml:trace>
  <inkml:trace contextRef="#ctx0" brushRef="#br0" timeOffset="32102.79">2292 14256 0,'54'-17'15,"-108"34"-15,125-34 16,-35 34 0,-19 19 15,-17-1-15,18 1-1,0-36-15,0 17 16,-18 1-16,17-1 0,0-17 0,1 19 15,-18-2-15,18 0 0,-18 1 16,0-1-16,18 2 0,-18-2 0,0 0 16,-18 1-16,-18 52 15,19-51-15,0 16 0,-1-18 16,0 0-16,0-17 0,1 19 16,0-19-16,-2 17 0,-52-34 15,54-2 1</inkml:trace>
  <inkml:trace contextRef="#ctx0" brushRef="#br0" timeOffset="32778.29">2822 9335 0,'36'-17'0,"-19"17"15,0 0-15,1 0 0,0 0 16,0 0-16,16-18 0,-15 18 0,-2 0 15,18 0-15,-16 0 0,-19 18 16,17-18-16</inkml:trace>
  <inkml:trace contextRef="#ctx0" brushRef="#br0" timeOffset="32977.8">2875 9547 0,'17'17'31,"1"-17"-31,0-17 16,17 17-16,18 0 31,-35 0-31,-1 0 16,2 0-16</inkml:trace>
  <inkml:trace contextRef="#ctx0" brushRef="#br0" timeOffset="33808.28">3880 9194 0,'0'-18'15,"18"54"-15,-18-18 16,0 35 0,0-36-16,0 1 0,0 18 15,0-19-15,0 0 0,18-17 16,-18 18-16,0-1 0,0 2 15,0-2-15,18-70 47,-18 1-31,0 33-16,0 2 16,17-18-16,-17-1 0,0 19 0,0-37 15,17 37-15,-17 0 0,0-1 16,0 0-16,0 0 0,18 1 15,-18 0-15,18 17 16,0 0-16,-1 17 16,-17 0-16,17 1 15,-17 0-15,19 0 0,-19-1 16,17 18-16,-17-17 16,18 0-16,-18-1 15,0 0-15,17-17 0,2 0 31,-2-17-31,0 0 16,-17-1-16,18 0 0,-1 0 16,-17 1-16,19 0 15,-2 17-15,-17-18 0,17 18 32,1 18-32,0-1 0,-18 0 15,18 1-15,-18 0 16,0 0-16,17-1 0,-17 0 15,17 37 1,2-37 0,-2-17-16,1 19 0,-1-19 15,0 0-15,2 0 0,-2 0 16</inkml:trace>
  <inkml:trace contextRef="#ctx0" brushRef="#br0" timeOffset="34214.65">4798 9406 0,'17'-52'0,"-17"33"0,0 2 15,-17-1-15,17 1 16,-18 17 0,-18 0-1,19 17 1,0 1-16,-1 18 15,18-19-15,0 0 16,0 1-16,52 35 31,-33-36-31,-2-17 0,1 0 16,16 18 0,-15-18-16,-2-18 0,1 18 0</inkml:trace>
  <inkml:trace contextRef="#ctx0" brushRef="#br0" timeOffset="34857.94">5451 8930 0,'0'53'31,"0"-36"-31,0 1 0,-19-1 16,19 19-16,0-19 0,-17 19 0,17-1 15,0 0-15,0 1 0,-17-2 0,17 20 16,0-37-16,0 19 15,0-19-15,0 1 16,0-1-16,0-52 47,-18 18-47,0 0 0,0 17 0,18-19 16,-17 2-16,-54-1 15,54 18 1,0 0-16,-2 0 0,-16 18 0,18-18 15,-2 17-15,-15 19 0,34-19 16,-18-17-16,18 18 0,0 35 16,0-36-1,18-17-15,-1 0 0,0 18 0,2-18 16,-2 0-16,18 0 0,1 0 16,-1-18-16,1 18 0,-2-17 15,142-54 1,-157 54-16,16 17 0,1-36 15,-19 36-15,18 0 32,-18 19-17,-17-2 1,0 0-16,0 1 0,0-1 16,0 2-16,0-2 15</inkml:trace>
  <inkml:trace contextRef="#ctx0" brushRef="#br0" timeOffset="35850.66">6120 9335 0,'-34'0'16,"-2"0"-16,1 19 16,35-2-16,-17-17 0,-2 17 15,-16 37 1,35-37-16,18 18 15,-1-17 17,2-18-32,33-18 15,-34 0 1,0 1 0,-1 0-16,0-2 0,-17 2 15,18 17 1,-18-18-16,18 1 31,-18 52-15,0-18-1,18 2 1,-1-2 0,0-17 15,2 0-31,-2-17 0,1 17 15,-1 0-15,0 0 16,-17-19-16,19 19 0,-2 0 16,1 0-16,-1 0 15,2 0-15,-19 19 16,17-19-16,-17 17 16,0 0-1,17 1 1,-17 0-1,18-18 1,0 18 0,0-18-1,-1-18 1,18 0 0,-17-17-1,-18 18-15</inkml:trace>
  <inkml:trace contextRef="#ctx0" brushRef="#br0" timeOffset="35997.31">5962 9176 0,'0'18'15</inkml:trace>
  <inkml:trace contextRef="#ctx0" brushRef="#br0" timeOffset="36596.89">7179 9264 0,'35'0'16,"-17"19"-1,0-19-15,-1 0 0,0 0 16,19 0-16,-1 0 0,-18 0 16,2 0-16,33 0 15,-33 0-15</inkml:trace>
  <inkml:trace contextRef="#ctx0" brushRef="#br0" timeOffset="36742.08">7232 9547 0,'18'17'16,"-1"-17"-1,0 0-15,19 0 16,-18 0-16</inkml:trace>
  <inkml:trace contextRef="#ctx0" brushRef="#br0" timeOffset="49055.86">13194 2332 0,'17'-17'15,"2"53"16,-38 16-15,19-16-16,0 52 16,0-71-16,0 1 15,0 0-15,0 0 0</inkml:trace>
  <inkml:trace contextRef="#ctx0" brushRef="#br0" timeOffset="49215.74">13476 2474 0,'-17'53'15</inkml:trace>
  <inkml:trace contextRef="#ctx0" brushRef="#br0" timeOffset="53874.84">4163 3003 0</inkml:trace>
  <inkml:trace contextRef="#ctx0" brushRef="#br0" timeOffset="55883.23">13406 3127 0</inkml:trace>
  <inkml:trace contextRef="#ctx0" brushRef="#br0" timeOffset="56474.05">11430 3215 0</inkml:trace>
  <inkml:trace contextRef="#ctx0" brushRef="#br0" timeOffset="56809.57">10830 3215 0</inkml:trace>
  <inkml:trace contextRef="#ctx0" brushRef="#br0" timeOffset="58715.27">8484 3479 0,'35'0'0,"-16"0"0,15 0 31,2 0-31,16-17 16,-34 17-1,0-18-15,0 18 0,-1 0 16,0-17 0,2 17-16,-19-19 0,35 2 31,-18 0-31,2-1 15,-19 0-15,17 0 16,-17 1-16,17-19 31,-17 19-31,0-1 0,0 1 16,0 0-16,0-2 0,0 2 16,-17 17-16,17-18 0,0 1 15,-17-36 1,-2 35-16,19 1 0,-17-2 15,17 2-15,0 0 0,-18 17 16,18-18-16,-70-88 31,52 106-31,18-18 16,-18 1-16,0 0 0,1-2 16,0 2-16,-19-18 15,1 35 1,18-19-16,-2 19 15,2-17-15,-1 17 0,1 0 16,-2 0-16,2 0 16,-18 0-16,18 0 0,-2 0 0,-33 0 31,34 0-31,0 0 0,1 17 16,0-17-16,-2 0 0,2 19 15,17-2-15,-18-17 0,1 18 16,0-1-16,-2 2 0,-16 86 15,18-70-15,17 1 16,-19-2-16,19 2 0,0-1 16,0 1-16,0-1 0,19 70 15,-2-69-15,18 35 16,-16-37-16,15-15 0,-16-2 16,-1 1-16,19-1 0,-19 0 0</inkml:trace>
  <inkml:trace contextRef="#ctx0" brushRef="#br0" timeOffset="67503.39">3880 5384 0,'-17'0'16,"52"-17"-1,18 17 1,-18-17 0,-17 17-16,17 0 0,-18 0 0,2 0 15,33 0-15,-33 0 16,-2 0-16,0 0 0,1 0 15</inkml:trace>
  <inkml:trace contextRef="#ctx0" brushRef="#br0" timeOffset="67671.55">4022 5543 0,'-18'17'15,"0"-17"-15,54 0 47,-19 0-47,-17 18 0,53-18 16,1 18-1</inkml:trace>
  <inkml:trace contextRef="#ctx0" brushRef="#br0" timeOffset="70124.45">8448 9054 0,'0'-19'16,"-34"38"-1,34-2-15,-18 0 16,1 71-16,-2-34 16,2-20-16,17 2 15,0-1-15,0-16 0,0 15 0,0-16 16,36 70-1,-19-70-15,1 0 16,-1-18-16,0 0 0,-17 17 16,19-34-16,-2 17 15,-17-18 1,0 0 0,-17 0-16,17 1 15,-19 0-15,19-2 0,-17 19 16,0 0-16,17-17 0,-35-1 15</inkml:trace>
  <inkml:trace contextRef="#ctx0" brushRef="#br0" timeOffset="70419.47">8043 8930 0,'-105'370'0,"87"-194"31,36-122-31,-18-1 0,17-18 0,0-1 0,-17 2 15,18-1-15,0-16 0,0 15 0,-1-16 16,0 0-16,19 0 0,35-1 16,-19-17-1</inkml:trace>
  <inkml:trace contextRef="#ctx0" brushRef="#br0" timeOffset="70746.71">8819 8824 0,'53'52'15,"-35"-16"-15,18-1 0,-143-158 0,231 299 16,-107-122-16,1-2 0,-18 1 0,18 18 16,-54 158-16,2-158 15,15 17-15,-16-18 0,-18 1 0,1 0 16,-1-1-16,-1-18 0</inkml:trace>
  <inkml:trace contextRef="#ctx0" brushRef="#br0" timeOffset="71766.92">9524 9406 0,'71'0'32,"-52"0"-32,15 0 0,-16 0 15,-1 0-15,36 0 0,-35 0 16,18 0-16,-19 0 0,0 0 15,19 0-15,-1 0 16</inkml:trace>
  <inkml:trace contextRef="#ctx0" brushRef="#br0" timeOffset="71958.92">9683 9564 0,'-17'19'0,"53"-2"31,-19-17-15,0 0-16,1 0 0,18 0 15,-19 0-15,71-17 16,-52 17-16,16 0 0,-33 0 16,15 0-16</inkml:trace>
  <inkml:trace contextRef="#ctx0" brushRef="#br0" timeOffset="72376.53">10954 9194 0,'88'18'16,"-52"0"-16,-19-1 15,-17 0-15,0 2 0,0 16 16,-17 1-16,-2-2 0,-33 37 16,-19 17-1,54-71-15,17 2 0,-19-2 16,2 1-16,0-1 15,17 0-15,17 2 16,0-19-16,37 0 16,-37-19-1,0 19-15,19 0 0,-18 0 16,52-17-16,36 0 16,-106-1-1,18 18-15,0-17 16,-18-2-16,-18 2 15</inkml:trace>
  <inkml:trace contextRef="#ctx0" brushRef="#br0" timeOffset="72687.5">10707 9142 0,'-53'70'0,"18"1"0,123-212 0,-212 317 15,107-123-15,-1-1 16,1 72-16,17-107 15,0 19-15,17 35 0,1-36 16,16-18-16,-15 2 0,16-2 16,18 18-16,-18-35 0,-18 0 15,19 18-15,-1-36 0,1 18 16</inkml:trace>
  <inkml:trace contextRef="#ctx0" brushRef="#br0" timeOffset="73124.25">11324 9054 0,'71'122'0,"-36"-51"0,1-18 15,-19-18-15,0 53 16,1-52-16,-18-1 0,-18 1 16,18-2-16,-17 2 0,0-1 15,-37 36-15,18-35 16,2-2-16,-20 2 0,2-18 15</inkml:trace>
  <inkml:trace contextRef="#ctx0" brushRef="#br0" timeOffset="73708.47">10707 8559 0,'17'17'32,"1"-17"-32,-18 19 0,0-2 15,17 18-15,2 18 16,-2-35 0,-17 0-16,17 0 0,1 16 15,0-16 1,0-18 15,-1-18-31,0 1 0,2-18 16,-2 17-16,1-17 0,-1 18 15,-17-2-15,36-33 16,-36 33-16,0 2 0,0 0 0,17-1 16</inkml:trace>
  <inkml:trace contextRef="#ctx0" brushRef="#br0" timeOffset="74475.05">8326 8295 0,'-36'0'16,"18"0"-16,18 17 0,-17-17 15,0 18-15,17-1 16,0 2-16,-19-2 15,19 0-15,0 1 0,0 0 16,19 0-16,-2 16 16,-17-15-16,17-2 0,1-17 15,-18 18-15,18-18 0,0 0 0,-1 0 16,19 0-16,-19 0 16,1 0-16,-1 0 0,0-18 15,2 1-15,-19-2 0,0 2 16,0 0-16,17-1 0,-34-18 15,17 2 1,0 15-16,-19 2 0,19-1 16,0 1-16,-17 17 0,17-17 0,-17-2 15,-1 19 1,1 0-16,-2 0 16,2 19-16,0-19 15</inkml:trace>
  <inkml:trace contextRef="#ctx0" brushRef="#br0" timeOffset="74919.64">8608 8171 0,'18'0'31,"-1"17"-31,-17 2 0,0 16 16,0-18 0,0 2-16,0-2 0,0 0 0,0 37 15,0-37 1,0 0-16,0 1 16,0 0-16,0 0 15,17-18 16,37-18-15,-37 18 0,19 0-1,-19 0-15,1 0 16,-1 18 0,-17-1-1,0 0-15,-17-17 0,17 19 16,-18-19-16,18 17 15,-17 1-15,-2-18 16,2 0 0</inkml:trace>
  <inkml:trace contextRef="#ctx0" brushRef="#br0" timeOffset="75433.86">8996 8383 0,'0'35'31,"0"1"-15,0-19-1,-18 0 1,0 2-16,-16-2 16,34 1-1,-36-18 1,36 17-16,-18-17 16,53 0 15,-16 0-16,-2-17-15,0 17 0,1-18 0,0 18 16,0-17-16,-1 17 0,18-19 16,-17 2-16,0 17 0,-1-17 15,0 17-15,-17-18 16,19 36 31,-19-1-32,0 0-15,17-17 16,1 0 0,-1 19-16,2-38 15,-2 19-15,0 0 16</inkml:trace>
  <inkml:trace contextRef="#ctx0" brushRef="#br0" timeOffset="79418.77">5432 5155 0,'19'0'15,"-38"35"-15,19-17 16,-17 17-16,17-18 15,0 19 1,-17-18-16,17-1 16,0 2-16,0-2 15,-18 0-15,18 1 16,0-1 0,35-52 15,-35 18-31,17 0 15,19-19-15,-36 18 0,18 18 16,-1-17-16,0-2 0,37-15 16,-37 34-1,2-18-15,-2 18 0,0 0 16,1 18-16,-1-18 0,19 53 16,-36-36-1,0 1-15,0 18 16,0-19-16,0 0 0,0 1 15,0-1-15,0 2 0,-17-2 16,17 0 0,0 1-16,0 0 0</inkml:trace>
  <inkml:trace contextRef="#ctx0" brushRef="#br0" timeOffset="79643.58">6191 5155 0,'0'17'31,"0"19"-15,0-18-16,0-1 0,-17 0 15,17 2-15,0-2 0,0 1 0,0-1 16,-18 2-16,18-2 0,0 0 0,0 1 15,-18 18 1,18-19-16</inkml:trace>
  <inkml:trace contextRef="#ctx0" brushRef="#br0" timeOffset="79827.45">6103 5296 0,'17'0'31,"37"0"-15,-37 0-16,19 0 16</inkml:trace>
  <inkml:trace contextRef="#ctx0" brushRef="#br0" timeOffset="80051.52">6632 5084 0,'0'0'15,"0"18"1,0 18 0,0-19-16,0 0 0,0 1 0,0 0 15,0 0-15,0-1 0,0 0 16,0 19-16,0-18 0,0-1 0,0 2 15,0-2-15,0 0 0,0 18 16,0-16-16,-17 15 16,17-16-1</inkml:trace>
  <inkml:trace contextRef="#ctx0" brushRef="#br0" timeOffset="81148.61">5327 5878 0,'53'0'0,"-35"0"16,-1 0-16,19-18 0,69 18 15,-51 0 1,-2 0-16,18 0 0,1 0 0,0 0 15,70 0-15,-53 0 16,-17 0-16,17 0 0,300 0 31,-318 0-31,1 0 0,0 0 0,-1 18 16,1-18-16,-19 0 0,-16 0 16,17 0-16,53-18 0,-89 18 15,0 0-15,19 0 16,-18 0-16,-1 0 0,0 0 15</inkml:trace>
  <inkml:trace contextRef="#ctx0" brushRef="#br0" timeOffset="82083.17">6156 6336 0,'18'0'0,"-18"-17"16,17 17-1,-17-17 79,-17 34 78,-1 0-156,0 2-16,0-19 0,1 17 0,-36 18 15,35-16 1,1-2-16,0 0 0,-19 1 15,36-1-15,-35 2 16,35-2-16,-19-17 16,19 17-16,0 1 15,19 0 1,16-18 0,35 0-1,-16 0-15,-20-18 0,2 18 16,35 0-16,-36-18 15,-18 18-15,19 0 0,16 0 16,1-17-16,-35 17 16,0 0-16,0-17 0,-1 17 15,0 0 1</inkml:trace>
  <inkml:trace contextRef="#ctx0" brushRef="#br0" timeOffset="82331.73">6279 6336 0,'-17'36'16,"17"-18"-16,0-1 0,0 19 15,-18 16-15,1 89 16,-2-105-16,2 52 15,17-53-15,-17 1 0,17-1 16,0-18-16,0 19 16,0-19-16,-18 1 0,18 0 0,0 17 31,0-70-15</inkml:trace>
  <inkml:trace contextRef="#ctx0" brushRef="#br0" timeOffset="82851.37">5115 5050 0,'-35'34'0,"-53"108"16,52-89-1,-34 106-15,35-89 0,-1 36 16,-35 87-16,37-86 0,-2-2 15,18-17-15,18 1 0,-17 105 16,34 0 0,19-106-16,-18-17 0,52 88 15,-18-107-15,2 18 0,16-34 0,54 52 16,18-53 0,-73-35-16,-16 0 0,18 0 0,105-35 15,-88-1-15</inkml:trace>
  <inkml:trace contextRef="#ctx0" brushRef="#br0" timeOffset="83357.85">6738 4908 0,'106'35'0,"-71"-18"0,18 19 0,53 52 16,-53-34-16,0 16 0,-1-18 15,2 38-15,34 50 16,0 37-16,-52-106 15,-2 17-15,2 88 0,-18-88 16,-18 0-16,0-18 0,-18 1 0,0 88 16,-34-18-1,16-70-15,-18 17 0,-15-18 16,50-35-16,-51 18 31,70-87-31,0 15 16</inkml:trace>
  <inkml:trace contextRef="#ctx0" brushRef="#br0" timeOffset="83680.52">8079 5648 0,'52'-17'0,"-16"17"0,-1 0 16,-18 0 0,19 0-16,-19 0 0,1 0 15</inkml:trace>
  <inkml:trace contextRef="#ctx0" brushRef="#br0" timeOffset="83875.86">8043 5878 0,'17'0'15,"2"0"-15,-2 0 0,1 0 16,18 0-16,-2 0 16,-16 0-16,-1-18 0,19 18 0,-1 0 15,-17-17-15,17 17 16,-18 0-16,2 0 0</inkml:trace>
  <inkml:trace contextRef="#ctx0" brushRef="#br0" timeOffset="84535.82">9860 5208 0,'0'-18'16,"0"71"15,0-36-31,0 2 16,0-2-16,0 1 0,0 18 0,0 16 15,0-35-15,0 36 16,0-35-16,-17 0 0,17 0 15,0-1-15,0 0 0,0 1 16,0 0-16,0 0 16</inkml:trace>
  <inkml:trace contextRef="#ctx0" brushRef="#br0" timeOffset="84790.52">10107 5260 0,'17'-17'16,"1"53"15,-18-1-15,0-18-16,18 36 15,-18-35-15,0-1 16,0 19-16,0-19 0,0 1 15,0 0-15,0 0 0,0 16 16,18-16 0</inkml:trace>
  <inkml:trace contextRef="#ctx0" brushRef="#br0" timeOffset="85047.83">10619 5226 0,'0'0'0,"17"34"47,-34-34-47,17 19 15,0-2-15,0 1 0,0 18 16,-19-2-16,19-16 0,0-1 15,0 2-15,0 51 16,0-52 0,0-1-1</inkml:trace>
  <inkml:trace contextRef="#ctx0" brushRef="#br0" timeOffset="85258.69">10442 5455 0,'36'-17'16,"-19"17"-16,0 0 16,2 0-16,-2 0 0,18-19 0,-18 19 15,2 0-15,-2 0 16,54-17-16,-54 17 15,37 0-15,-37 0 0</inkml:trace>
  <inkml:trace contextRef="#ctx0" brushRef="#br0" timeOffset="85687.01">11288 5084 0,'-17'54'31,"17"-37"-31,0 0 0,0 19 16,-35 123-1,35-124-15,0 1 16,0-2-16,-18-16 0,18 18 0,0-19 16,0 0-16,0 1 0,0 0 15,0 17-15</inkml:trace>
  <inkml:trace contextRef="#ctx0" brushRef="#br0" timeOffset="86456.84">9666 5948 0,'36'0'16,"-19"0"0,0 0-16,19 0 0,-1 0 0,124 0 15,-89 0 1,18 0-16,0 0 0,124 0 16,-124 0-16,19 0 0,-36-17 0,17 17 15,-18 0-15,18 0 0,142 0 16,-89 0-1,-89-17-15,-16 17 0,16 0 16,-16 0-16,-19 0 0,1 0 16,18 0-1,-72 17 17,18-17-32,-16 17 0</inkml:trace>
  <inkml:trace contextRef="#ctx0" brushRef="#br0" timeOffset="86932.63">10619 6336 0,'-19'36'15,"-15"-18"1,16-1-16,-18 19 0,2-1 15,16-18-15,0 2 16,0-2-16,1 0 16,17 1-16,0 0 15,17 0 1,1-18-16,52 17 16,1-17-1,-35 0-15,-19 0 0,18 0 16,1 0-16,-1 0 0,-18 0 15,107-35 1,-107 35-16,2 0 0,-2 0 16,-17-18-16,18 18 15,-18-18-15</inkml:trace>
  <inkml:trace contextRef="#ctx0" brushRef="#br0" timeOffset="87166.48">10654 6355 0,'-54'105'0,"54"-87"16,0 18-16,-17 34 0,17 53 15,-17-87 1,17 16-16,-18 72 15,1-89-15,17-17 16,0 17-16,-19-18 0,19 19 16,-17-18-16,17-1 15</inkml:trace>
  <inkml:trace contextRef="#ctx0" brushRef="#br0" timeOffset="87682.53">12294 5648 0,'53'0'0,"-106"0"0,142 0 15,-72 0-15,1 0 0,16 0 16,-15-17-16,16 17 0,-18 0 0,19 0 16,35 17-16,-54-17 15,18 0-15,-17 0 16</inkml:trace>
  <inkml:trace contextRef="#ctx0" brushRef="#br0" timeOffset="87882.61">12452 5878 0,'19'0'15,"-2"18"-15,1-18 16,-1 0-16,2 0 16,-2 0-16,0 0 0,37 0 0,-37 0 15,0 0-15,37-18 16,-37 18-16,0 0 0,2 0 15,-2 0-15,1-18 0</inkml:trace>
  <inkml:trace contextRef="#ctx0" brushRef="#br0" timeOffset="88565.79">13423 5402 0,'0'70'31,"0"-52"-16,0 0-15,0 0 0,0-1 16,-17 18-16,17-17 16,0 17-16,0-18 0,0 2 0,0-2 15,0 1-15,0-1 16,0 2-16</inkml:trace>
  <inkml:trace contextRef="#ctx0" brushRef="#br0" timeOffset="89051.66">13740 5455 0,'18'0'0,"0"0"15,-54 0-15,90 0 0,-37 0 16,0 17-1,-17 19-15,-17-18 16,17-1-16,-17 0 0,-1 1 16,0 0-16,0 0 0,1-18 15,17 17-15,-35 19 16,17-19 0,36 1-1,17-18 16,-18 0-31,1 0 0,0 0 16,0 0-16,35-18 16,-36 18-16,1 0 0,-1 0 15,2 0-15</inkml:trace>
  <inkml:trace contextRef="#ctx0" brushRef="#br0" timeOffset="89302.14">14375 5543 0,'-52'53'16,"35"-35"-16,-37 16 0,18 2 16,2-18-16,-2 18 0,1-2 0,0-16 15,-18 18-15,-18 16 16,37-16-16,-2-19 0,1 19 0,-1-19 15,19 1-15,-1-1 0,0-17 0,0 17 16,1 2-16,-18-2 16,17 1-16,18-1 15,-18-17-15,18 19 0</inkml:trace>
  <inkml:trace contextRef="#ctx0" brushRef="#br0" timeOffset="89761.69">14182 6126 0,'-54'34'31,"37"-34"-31,0 18 0,-1-18 15,0 18-15,0 0 0,-16-1 16,15 0-16,2-17 0,17 18 16,-18 0-16,18 0 15,18-1 1,-18 0-16,17-17 0,2 0 16,-2 0-16,18 19 0,1-38 15,-2 19-15,-16 0 0,18 0 16,-19 0-16,0-17 15,19 17-15,-1-17 0,-16-1 0</inkml:trace>
  <inkml:trace contextRef="#ctx0" brushRef="#br0" timeOffset="89951.82">14358 6072 0,'-18'18'15,"1"-18"-15,17 17 16,0 2-16,-17 15 0,17-16 15,0 18-15,0-19 0,0 18 16,0 18-16,0 0 16,0-35-16,17-1 0,-17 19 15,0-19-15,17 1 0,1-1 16,-18 2-16,53-19 16</inkml:trace>
  <inkml:trace contextRef="#ctx0" brushRef="#br0" timeOffset="90252.12">15187 5367 0,'124'-17'0,"-89"17"15</inkml:trace>
  <inkml:trace contextRef="#ctx0" brushRef="#br0" timeOffset="90446.68">15099 5614 0,'35'0'16,"-17"0"0,0-18-16,34 18 15,-34 0-15,17 0 0,-18-18 16</inkml:trace>
  <inkml:trace contextRef="#ctx0" brushRef="#br0" timeOffset="91467.95">15963 5243 0,'17'0'15,"37"17"1,-37-17-16,0 0 0,-17 19 15,19-2-15,-19 1 16,-19-1 0,2 2-16,0-2 15,-1-17-15,18 17 16,18 1 0,-1-18-1,0 17-15,2-17 0,-2 19 0,1-2 16,18 18-1,-36-17-15,0 0 16,0-1-16,0 0 0,-19 1 16,2 0-16,-18 0 0,-1-1 15,19-17-15,-37 17 0,2 2 0,-72 16 16,90-18 0,-20-17-16,18 0 0,-16 0 15,-18 0-15</inkml:trace>
  <inkml:trace contextRef="#ctx0" brushRef="#br0" timeOffset="93526.58">5698 3391 0,'-19'53'0,"19"-35"0,0 16 16,-17-15-16,17 16 0,0 1 16,0 16-16,-18 1 0,18 88 15,-17-53-15,17-53 16,0-16-16,-17 15 16,17 2-16,0-18 0,0-1 0,0 0 15,-19 37-15,19-37 16</inkml:trace>
  <inkml:trace contextRef="#ctx0" brushRef="#br0" timeOffset="93958.62">5715 3408 0,'-17'0'0,"-2"0"32,2 19-32,-1-19 15,1 17-15,17 1 0,-36 16 16,-35 20-1,37-18 1,16-19-16,1 0 0,-19 19 16,19-18-1,-1-1 1</inkml:trace>
  <inkml:trace contextRef="#ctx0" brushRef="#br0" timeOffset="94233.58">5539 3462 0,'35'0'16,"-18"17"-16,2 0 0,-2-17 0,-17 19 15,17-2-15,1-17 0,-1 18 16,2-18-16,-19 17 0,17 2 16,36 15-1,-53-16-15,0 0 16,18 0-16</inkml:trace>
  <inkml:trace contextRef="#ctx0" brushRef="#br0" timeOffset="95189.97">5451 4343 0,'-19'-17'0,"2"34"31,0 19-15,17-19-16,0 19 0,-18-18 0,18-1 16,-18 54-1,18-37-15,0-15 0,0-2 16,0 18-16,0-16 0,18-19 16,-18 17-16,0 0 0,18 1 15,-1-18-15,-17 18 16,17-18-16,2-18 15,-2 18-15,1-18 0,-1 1 16,19-19-16,-19 19 16,-17-1-16,18 1 0,-1-19 15,-17 19-15,0-18 0,0 16 0,0-15 16,0 16-16,0 0 0,-17-70 16,-18 53-1,35 18-15,-19 17 0,2-19 16,17 2-16,-17 17 0,-1 0 0,18-18 15,-17 18-15,-2 0 16,19 18-16,-17-18 0,17 17 16,0 2-16,0-2 15,36 35-15,-36-33 16,17-2-16,1 0 0,-1 1 16,0 0-16,2 0 0,-19-1 0,17 19 15,1-19-15,18 35 16,-19-33-1,-17-2-15,17 1 0,1-1 16,-18 2-16,17-2 16,-17 0-1,19 1-15</inkml:trace>
  <inkml:trace contextRef="#ctx0" brushRef="#br0" timeOffset="95420.65">5944 4432 0,'0'52'31,"0"-33"-31,0-2 0,0 1 0,0-1 16,0 0-16,0 2 16,0-2-16,0 1 0,0-1 15,0 2-15</inkml:trace>
  <inkml:trace contextRef="#ctx0" brushRef="#br0" timeOffset="95707.23">6491 4396 0,'-17'18'16,"-37"18"0,37-19-1,-19 19-15,-35 16 16,37-16-16,34-19 16</inkml:trace>
  <inkml:trace contextRef="#ctx0" brushRef="#br0" timeOffset="95850.64">6667 4379 0,'-17'17'16,"-18"19"-16,16-18 16,-86 70-16,34-54 0,-17 56 15,-17-20-15,-19 0 0,0 0 0</inkml:trace>
  <inkml:trace contextRef="#ctx0" brushRef="#br0" timeOffset="100522.84">12471 9159 0,'35'-17'0,"-18"17"0,2 0 15,33 0 1,-34 0-16,17 0 0,-18 17 15,1-17-15,0 0 0,-18 17 16</inkml:trace>
  <inkml:trace contextRef="#ctx0" brushRef="#br0" timeOffset="100687.69">12488 9388 0,'-17'0'16,"52"0"-1,1 0 1,-19 0-16,0 0 0,19 0 16,-1 0-1,36-17-15,-54 17 0,19 0 16,-19 0-16</inkml:trace>
  <inkml:trace contextRef="#ctx0" brushRef="#br0" timeOffset="101299.32">13899 8947 0,'0'36'15,"0"16"1,0-33 0,-17-2-16,17 0 0,0 1 0,0 0 15,-18 0 1,18-1-16,0 0 15,18-51 17,-18 16-32,36 0 0,-36 0 15,17 1-15,0 0 0,37-2 16,-37 2-16,36 17 16,-35 0-16,-1 0 15,-17 17-15,17-17 0,-17 19 16,18-19-16,-18 17 0,0 0 0,0 1 15,0 0-15,0 17 16,0-18-16,0 1 16</inkml:trace>
  <inkml:trace contextRef="#ctx0" brushRef="#br0" timeOffset="101635.61">14640 9000 0,'0'-17'0,"-36"34"31,-33 54-16,33-36-15,1 1 16,17-2-16,-17 2 0,-36 16 16,37 2-16,-2-37 15,1 36-15,-18-35 0,17 18 0,18-2 16,-16-16-16,16 0 0,0 0 0,-17 16 16,18-15-1,-2-2-15,2-17 16,17 18-1</inkml:trace>
  <inkml:trace contextRef="#ctx0" brushRef="#br0" timeOffset="103067.89">14358 8876 0,'0'54'15,"0"-37"-15,-18 19 16,18-19-16,0 1 0,-17-1 16,17 2-16,0-2 0,0 0 0,0 1 15,-17 0-15,17 0 0,0-1 16</inkml:trace>
  <inkml:trace contextRef="#ctx0" brushRef="#br0" timeOffset="103202.65">14287 9088 0</inkml:trace>
  <inkml:trace contextRef="#ctx0" brushRef="#br0" timeOffset="103390.15">14552 8859 0,'-17'36'47,"17"-19"-32,0 1-15,0 35 16,0-36-16,0 1 0,-19-1 15,19 19-15,0-1 0,0 1 16</inkml:trace>
  <inkml:trace contextRef="#ctx0" brushRef="#br0" timeOffset="104086.29">14411 9564 0,'0'0'0,"17"-17"16,1 17-16,0 17 15,0-17-15,-18 19 0,-18-2 16,18 1 0,-18-1-16,0 19 15,-16-1-15,15-35 0,2 17 16,17 2-16,-18-19 0,18 17 0,-17-17 16,17 17-1,-17 1-15,34-18 16,-17 18-1,17-18-15,1 0 0,18 0 16,-36 18-16,17-18 0,0 0 16,1 0-16,0 0 15,0 0-15,-1 0 16,0 0-16,2 0 16</inkml:trace>
  <inkml:trace contextRef="#ctx0" brushRef="#br0" timeOffset="105467.75">15063 9088 0,'71'-17'31,"-35"17"-31,-2 0 0,-16 0 16,0 0-16,17 0 15</inkml:trace>
  <inkml:trace contextRef="#ctx0" brushRef="#br0" timeOffset="105634.71">15082 9264 0,'34'0'31,"2"0"-31,-18 0 16,-1 0-16,0-17 0,1 17 15,18 17 1</inkml:trace>
  <inkml:trace contextRef="#ctx0" brushRef="#br0" timeOffset="108791.41">14094 9000 0,'34'18'16,"-34"-1"-16,18-17 0,18 0 15,17 0 1,-36-17-16,18 17 16,18 0-16,1 0 0,-20 0 0</inkml:trace>
  <inkml:trace contextRef="#ctx0" brushRef="#br0" timeOffset="110118.06">16068 8859 0,'-17'105'0,"0"-86"16,17-2-16,0 1 0,-18-1 0,1 54 15,17-35-15,0-19 16,-19 0-16</inkml:trace>
  <inkml:trace contextRef="#ctx0" brushRef="#br0" timeOffset="110997.47">16351 8895 0,'17'0'0,"2"0"0,-2 17 16,1-17 0,-18 18-16,0 16 15,0-15-15,-18-2 0,18 1 16,-17-1-16,-2 2 0,2-2 15,17 0-15,0 1 16,-17-18-16,17 18 0,0 0 16,0-1-16,17-17 15,36-17 1,-35 17 0,35 0-1,-36 0-15,1 0 16,-1 17-1</inkml:trace>
  <inkml:trace contextRef="#ctx0" brushRef="#br0" timeOffset="111263.73">15839 9476 0,'53'-17'0,"-35"17"15,18 0-15,-19 0 0,19-17 0,-1 17 16,53-19-16,-52 19 16,-2 0-16,2 0 0,34-17 15,-52 17-15,34 0 16,-33 0-16,16 0 0,-18 0 0,-17 17 15,17-17-15,2 0 16</inkml:trace>
  <inkml:trace contextRef="#ctx0" brushRef="#br0" timeOffset="111643.67">16210 9706 0,'36'-18'15,"-2"18"1,-16 35 15,-18-16-31,0-2 16,-18 0-16,1 1 0,-36 35 15,35-36-15,1 1 16,0 0-16,-19 17 16,18-18-1,18 2 1,18-19 0,-1 17-16,2-17 0,-2-17 15,0 17-15,1 0 0,18 0 16,-19-19-16,18 19 0,177-105 31,-159 88-31</inkml:trace>
  <inkml:trace contextRef="#ctx0" brushRef="#br0" timeOffset="111862.59">17180 9300 0,'35'0'0,"-16"0"15,-2-17-15,0 17 0,19 17 16</inkml:trace>
  <inkml:trace contextRef="#ctx0" brushRef="#br0" timeOffset="112050.36">17022 9583 0,'17'17'16,"0"-17"-1,2-17-15,-2 17 0,1 0 0,16 0 16,-15 0-16,16-19 0,-18 19 0,2 0 16,51-17-16,-52 17 15,16-17-15</inkml:trace>
  <inkml:trace contextRef="#ctx0" brushRef="#br0" timeOffset="112389.01">18027 9035 0,'-124'53'15,"107"-35"1,-71 106-16,70-107 0,0 36 15,36-35-15,-18-1 0,0 2 0,18-2 16,-1 0 0,0 1-16,2-18 0,-2 0 15,-34-18 32,-2 18-31,2 0-1,0 0-15</inkml:trace>
  <inkml:trace contextRef="#ctx0" brushRef="#br0" timeOffset="112569.37">18150 9354 0,'-70'52'16,"52"-35"0,0 2-16,1-2 0,-19 0 0,1 19 15,-53-1-15,71-18 16,-2 2-16,-15 16 0</inkml:trace>
  <inkml:trace contextRef="#ctx0" brushRef="#br0" timeOffset="112728.5">18115 9530 0,'-35'53'15,"17"-36"-15,0 1 0,-16-1 16,-2 19-16,1-19 0,-1 18 16,1 1-16,-1-19 0,2 19 0,-54 16 15,0 19-15</inkml:trace>
  <inkml:trace contextRef="#ctx0" brushRef="#br0" timeOffset="113667.02">14270 9442 0,'124'0'0,"-107"-19"15,18 19-15,-17-17 0,0 17 0,16-18 16,20 1-16,-1-19 16,-18 19-16,-18-1 0,19 1 15,-19-2-15,1 2 0,18-18 16,-2 17-16,-16 0 0,18-52 16,-19 35-16,0 18 0,2-19 0,-2 18 15,1-18-15,-18 2 0,0-1 16,0-1-16,0-17 0,-35-35 15,16 53-15,-15-1 16,16 1-16,-18-1 0,-17 19 0,1 0 16,-1-18-16,-106 16 15,-124 2-15,178 34 16,17-17-16,0 36 0,0-18 0,-1 16 16,19 2-16,-178 158 15,196-124-15,16-16 16,19-1-16,0-1 0,17 1 15,0-17-15,0 16 0,70 126 16,1-90 0,-36-71-16,18 18 0,-18 1 15</inkml:trace>
  <inkml:trace contextRef="#ctx0" brushRef="#br0" timeOffset="116693.48">3458 13622 0,'158'-18'0</inkml:trace>
  <inkml:trace contextRef="#ctx0" brushRef="#br0" timeOffset="116906.69">3351 13868 0,'-17'0'16,"51"18"-1,2-18-15,-18 0 16,-1 0-16,19 0 0,-1 0 0,-17 0 15,17 0-15,0 0 0,1 0 16,-2 0-16,2 0 0,18 0 16,-20 0-16</inkml:trace>
  <inkml:trace contextRef="#ctx0" brushRef="#br0" timeOffset="119870.17">4815 13358 0,'53'0'15,"-35"0"-15,-1 0 16,2 0-16,33 17 15,-34 0-15,-18 1 16,0-1-16,0 2 0,-18-2 0,18 0 16,-52 54-1,33-54-15,2 2 0,17-2 0,-18-17 16,1 18-16,34-1 31,18 0-15,-16-17-16,-2 0 0,0 0 15,-17 19-15,18-19 0,0 0 0,0 17 16,-18 1 0,-36 18-1,18-19-15,1-17 0,0 17 16,-54 19-16,52-36 16,-15 18-16,16-18 0,1 0 15,-19 0-15,1 0 16</inkml:trace>
  <inkml:trace contextRef="#ctx0" brushRef="#br0" timeOffset="120167.94">5451 12934 0,'-177'265'15,"159"-196"-15,-16 2 0,15 0 16,-16 17-16,18 1 16,-2-20-16,-15 21 0,16-2 0,18 0 15,-18-18-15,18 1 0,0 0 0,0-19 0,0 18 16,18 37-16,0-19 15,-1-36-15,0-16 0,2-19 16,-19 1-16,17 0 0,1-18 16,-1 0-16,2 0 15</inkml:trace>
  <inkml:trace contextRef="#ctx0" brushRef="#br0" timeOffset="120747.1">5679 13322 0,'-17'36'16,"17"-19"0,-18 18-16,18-18 0,0 2 0,0-2 15,-17 0-15,17 19 0,0-18 16,-17 16 0,17-15-16,34-38 31,-16-15-16,-1 34-15,-17-18 0,19 0 16,-2 0-16,0 18 0,19 0 31,-18 0-31,-18 18 0,17-18 16,-17 18-16,17 0 0,-17-1 16,0 0-16,0 2 0,0 16 15,0-18-15,0 0 16,19 2-16</inkml:trace>
  <inkml:trace contextRef="#ctx0" brushRef="#br0" timeOffset="120970.58">6174 13375 0,'0'0'0,"0"35"31,0 1-15,0-19-16,0 0 16,0 1-16,0 35 15,0-17-15,0-19 0,0 1 16,0-1-16,0 0 16,0 2-16,0-2 15</inkml:trace>
  <inkml:trace contextRef="#ctx0" brushRef="#br0" timeOffset="121139.56">6050 13622 0,'-18'-18'15,"54"18"1,-18 0-1,-1 0-15,36-17 16</inkml:trace>
  <inkml:trace contextRef="#ctx0" brushRef="#br0" timeOffset="121339.67">6526 13358 0,'0'-19'0,"0"38"15,0-2 16,0 0-31,-18 18 16,18-16-16,0-2 16,-17 0-16,17 37 15,-17-37-15,17 0 0,0 2 0,0-2 0,-18 18 16,18-18 0,0 2-16</inkml:trace>
  <inkml:trace contextRef="#ctx0" brushRef="#br0" timeOffset="121841.65">6791 13022 0,'35'17'15,"-17"-17"-15,0 19 0,-1 15 16,19-16-16,-36 0 0,17 0 15,1 16-15,-1-15 16,0 33-16,-17-16 0,0-1 16,0 18-16,0 18 15,-17-54-15,17 18 0,-17-17 16,17 17-16,-18 1 0,18-19 0,-17 1 16,-2 35-16,19-36 15</inkml:trace>
  <inkml:trace contextRef="#ctx0" brushRef="#br0" timeOffset="122526.5">5662 13956 0,'194'-34'0,"-159"34"16,18-18-16,1 18 0,-20-18 15,20 18-15,-20 0 0,20 0 16,16 0-16,-52 0 15,-1 0-15,0 0 0,2 18 16</inkml:trace>
  <inkml:trace contextRef="#ctx0" brushRef="#br0" timeOffset="122892.55">6208 14168 0,'-52'18'15,"52"0"1,-18-18-16,0 0 0,1 18 0,-18-1 15,17 0-15,0-17 16,1 18 0,-19 0-16,19 0 31,34-1-15,2-17-16,-2 0 15,18 0-15,-17 0 16,0 0-16,16 0 0,-16-17 0,18 17 15,17-18 1</inkml:trace>
  <inkml:trace contextRef="#ctx0" brushRef="#br0" timeOffset="123071.55">6262 14168 0,'-18'-17'0,"1"34"0,17 1 16,0 0-16,35-54 15,-89 90-15,54-37 0,0 18 16,0 1-16,0-19 0,0 19 0,0-19 16,0 18-16,0 1 0,0-1 15,19-18-15,-2 19 16,1-36 0</inkml:trace>
  <inkml:trace contextRef="#ctx0" brushRef="#br0" timeOffset="123535.56">6932 13675 0,'-70'229'0,"-72"71"15,89-212 1,18 0-16,-53 71 15,-36 88 1,107-211-16,0-2 16,17-16-16</inkml:trace>
  <inkml:trace contextRef="#ctx0" brushRef="#br0" timeOffset="123879.15">7443 13656 0,'36'-17'32,"-19"17"-32,19 0 15,-18 0-15,-1 0 16,18 17-1</inkml:trace>
  <inkml:trace contextRef="#ctx0" brushRef="#br0" timeOffset="124057.85">7391 13904 0,'0'0'0,"35"18"31,-18-18-31,-17-18 16,36 18-16,-19 0 0,1 0 16,0 0-16,0 0 0,16-18 0,54 0 31</inkml:trace>
  <inkml:trace contextRef="#ctx0" brushRef="#br0" timeOffset="125099.41">8696 13358 0,'52'-36'15,"-33"36"-15,-2 0 16,1 0-16,-1 0 0,2 17 15,-2 2-15,-17-2 16,0 0 0,-17 18-1,-2-16 1,19-2-16,0 0 16,19-17-16,15 18 15,-16 0-15,-1-18 16,2 0-16,-2 18 0,0-1 15,1 0 1,-18 2-16,-18-2 16,1-17-16,17 18 0,-17-18 15,-2 17-15,2 0 0,-1-17 0,1 19 16,0-19-16,-2 17 0,-16-17 16,18 0-1</inkml:trace>
  <inkml:trace contextRef="#ctx0" brushRef="#br0" timeOffset="125319.33">9384 13339 0,'0'19'15,"0"-2"-15,-18 0 0,18 1 16,-18-1-16,18 19 0,-17-19 0,17 1 16,-17 0-16,17 17 0,-19-18 0,2 2 15,17-2-15,-18 18 16,1-18-16,0 2 0</inkml:trace>
  <inkml:trace contextRef="#ctx0" brushRef="#br0" timeOffset="125520.55">9136 13427 0,'19'19'16,"-2"-19"-16,1 17 0,-18 0 15,17 1-15,2 0 16,-19 0-16,17-1 0,54 54 15,-54-54 1</inkml:trace>
  <inkml:trace contextRef="#ctx0" brushRef="#br0" timeOffset="125749.88">9736 13304 0,'0'0'16,"-17"35"15,0-16-31,17-2 0,0 18 16,-19-18-16,19 54 16,0-53-16,-17 34 15,17-33-15,17-2 0,-17 1 0,0-1 16,0 0-16,19-17 0,-19 19 15</inkml:trace>
  <inkml:trace contextRef="#ctx0" brushRef="#br0" timeOffset="126174.37">10036 13339 0,'18'0'16,"0"19"-1,0 15 1,-18-16-16,-18-1 0,18 2 15,-18-2-15,0 18 0,1-17 0,0 0 16,-2-1-16,-33 54 16,33-54-1,2-17-15,17 17 0,17 2 32,2-19-32,-2 0 15,18 0 1,-16 0-16,-2-19 15,0 19-15,1 0 0,0 0 0,0 0 16,16 0-16,-16 0 16,0 0-16,0 0 0,-1 0 15</inkml:trace>
  <inkml:trace contextRef="#ctx0" brushRef="#br0" timeOffset="126603.98">8784 14115 0,'35'0'0,"-16"0"0,15-17 16,1 17-16,1 0 0,17 0 15,-1-18-15,2 18 0,158-36 16,-142 36-16,1-17 16,-2 17-16,2-17 0,0 17 15,-1 0-15,37-18 0,-55 18 16,-16 0-16,-1 0 0,-18 0 0,2 0 16,-2 0-16,0 0 15,-17 18 1</inkml:trace>
  <inkml:trace contextRef="#ctx0" brushRef="#br0" timeOffset="127038.3">8943 14539 0,'17'-17'16,"-51"51"-1,15-16 1,-16 0-16,18-18 0,17 18 15,-17-1-15,-2-17 0,19 17 16,-17 2-16,-1-2 16,18 1-16,-17-18 0,17 17 15,0 0 1,17-17-16,-17 19 16,35-19-16,36 17 15,-54-17 1,36 0-16,-35-17 0,0 17 15,17-19-15,0 2 0,1-18 16,-19 18 0,0-2-16</inkml:trace>
  <inkml:trace contextRef="#ctx0" brushRef="#br0" timeOffset="127207.51">9155 14415 0,'-19'36'16,"2"-19"-16,0 18 15,-1-16-15,18 15 0,-18 2 16,-17 140 0,18-122-16,-1-20 0,18 20 15,-18-20-15,18 2 0,-18-1 0,18-18 16,0 2-16,0 16 0,0-18 16,18 0-16</inkml:trace>
  <inkml:trace contextRef="#ctx0" brushRef="#br0" timeOffset="127567.59">10936 14010 0,'18'0'16,"16"-18"-16,20 18 16,16 0-1,-34 18 1</inkml:trace>
  <inkml:trace contextRef="#ctx0" brushRef="#br0" timeOffset="127753.61">11024 14186 0,'-17'18'15,"34"-36"-15,1 36 16,-1-18-16,2 0 16,15 0-16,2 18 15,-1-18-15,0 0 16,18-18-16,-36 18 15,19 0-15</inkml:trace>
  <inkml:trace contextRef="#ctx0" brushRef="#br0" timeOffset="129280.21">12718 13463 0,'17'-36'16,"-34"36"-16,-1 0 15,0 19-15,0-2 0,1-17 0,17 17 16,-35 1-16,17 18 0,-17 17 31,18-53-31,17 17 0,0 1 16,0-1-16,17-17 15,18 0 1,-17-17-16,17-1 0,-18 18 16,1-17-16,0 17 0,-18-19 15,18 19-15,-1 0 16,19 19-16,-36-2 16,0 1-16,0 16 15,-19 2-15,2-1 16,17 1-1,-17-19-15,17 19 0,-18-18 0,0 52 32</inkml:trace>
  <inkml:trace contextRef="#ctx0" brushRef="#br0" timeOffset="129628.75">13176 13780 0,'-36'18'16,"19"0"-16,0 0 0,-1-1 16,-88 71-1,71-35-15,-1-35 16,1-1-16,18 19 15,0-19-15</inkml:trace>
  <inkml:trace contextRef="#ctx0" brushRef="#br0" timeOffset="129801.61">13335 13868 0,'-36'36'0,"72"-72"0,-72 90 0,19-37 15,-1 0-15,1 2 0,-54 33 16,54-16-16,-36 35 16,17-37-16,-34 54 15</inkml:trace>
  <inkml:trace contextRef="#ctx0" brushRef="#br0" timeOffset="134385.6">11359 3815 0,'0'-19'0,"0"55"31,0-18-31,-17 16 16,17 2-1,-18 18-15,-18 16 16,19-52-16,17 16 16,-17-16-16,-1 0 0,18 17 15,-18-35-15,18 17 0,0 2 16,-18-19-16,18 17 0</inkml:trace>
  <inkml:trace contextRef="#ctx0" brushRef="#br0" timeOffset="134633.95">11376 3832 0,'-17'0'15,"-35"18"1,52-1-16,-19 0 0,2-17 0,0 19 16,17-2-16,-18 1 0,0-1 15,-17 19-15,0-1 16,17-17-16,0 0 15</inkml:trace>
  <inkml:trace contextRef="#ctx0" brushRef="#br0" timeOffset="134817.6">11271 3903 0,'36'17'15,"-19"1"1,1-1-16,-1-17 0,0 19 16,19-2-16,-36 0 15,18-17-15,-1 0 0,-17 18 0,19-18 16</inkml:trace>
  <inkml:trace contextRef="#ctx0" brushRef="#br0" timeOffset="135783.63">11183 4343 0,'-17'53'16,"-1"-35"-16,18 0 0,-18 0 15,18 16-15,0-15 0,0 16 0,-18-18 16,18 19-16,0-19 15,0 1-15,18-1 0,-18 2 0,18-2 16,0-17-16,-18 17 0,17-17 16,0 0-16,1-17 15,0 17-15,0-17 0,-1-19 16,0 18-16,-17 1 0,0-2 16,0-33-1,0-1-15,0 36 0,-17-1 0,17-18 16,0 19-16,-17 0 0,17-2 15,-18 2-15,18-1 16,-18 18-16,0 18 16,18-1-1,0 2-15,0-2 16,0 0-16,0 1 0,0 18 0,18-19 16,0 54-16,-18-54 15,18 19-15,-18-1 0,17-18 0,0 2 16,-17-2-16,19 0 0,-2 1 0,-17 0 15,35 17-15,-18-35 16,2 17-16,-2-17 16</inkml:trace>
  <inkml:trace contextRef="#ctx0" brushRef="#br0" timeOffset="136235.97">11624 4484 0,'35'19'15,"-18"-19"1,2 17 0,-2-17-16,-17 18 0,0-1 15,18 0 1,-1 2-1,2 16 1,-2-18 0,-17 2-16,0-2 15,0 0-15,0 19 16,-17-18-16,-2-1 16,2 0-16,-1 1 0,1 0 0,-36 17 15,17-18-15,-16 2 16,34-19-16</inkml:trace>
  <inkml:trace contextRef="#ctx0" brushRef="#br0" timeOffset="138080.48">21396 5738 0,'0'-19'16,"18"55"-1,-18-19 1,0 1-16,0-1 0,0 19 15,0 52-15,0-71 16,0 54 0,0-54-16,0 2 0,0-2 15,0 18-15,17-16 16,0-19 0</inkml:trace>
  <inkml:trace contextRef="#ctx0" brushRef="#br0" timeOffset="138330.12">21872 6002 0,'54'53'16,"-54"-1"0,0-33-16,0 15 0,-19 20 15,-16-2-15,18-16 16,-2-2-16,2 2 16,-18-1-16</inkml:trace>
  <inkml:trace contextRef="#ctx0" brushRef="#br0" timeOffset="138862.51">23071 5772 0,'19'35'32,"-38"-70"-32,38 89 0,-19-37 0,0 18 15,17-17-15,-17 0 0,0-1 16,0 0-16,0 2 0,0-2 16,0 1-16,0 16 15,0-15-15,0-2 0,0 1 16</inkml:trace>
  <inkml:trace contextRef="#ctx0" brushRef="#br0" timeOffset="139139.47">23407 6019 0,'35'53'16,"-35"-18"0,-18-16-16,18-2 15,0 0-15,-17 1 0,0 35 0,-2-18 16,2 1-1,-1-19-15,1 0 16,17 2-16</inkml:trace>
  <inkml:trace contextRef="#ctx0" brushRef="#br0" timeOffset="141021.93">22436 5878 0,'0'-18'0,"0"54"32,0-18-32,0-1 15,0 36-15,0-35 16,0-1-16,0 0 0,0 2 15,18-2-15,-18 1 0,0 18 16,0-2-16</inkml:trace>
  <inkml:trace contextRef="#ctx0" brushRef="#br0" timeOffset="141299.82">22824 6002 0,'18'88'0,"-18"-52"16,-18-19-16,1 18 16,17 1-16,-35-2 0,17 2 0,-17 35 15,18-54-15</inkml:trace>
  <inkml:trace contextRef="#ctx0" brushRef="#br0" timeOffset="156239.82">23759 5738 0,'-35'-19'0,"53"38"47,-18-2-47,17 18 15,-17 35 1,0-52-16,19 35 0,-19-36 16,0 19-16,0-18 0,0 35 15,0-36-15,0 1 16,0-1-16,0 2 0,0-2 0</inkml:trace>
  <inkml:trace contextRef="#ctx0" brushRef="#br0" timeOffset="156504.54">24183 6126 0,'0'34'16,"0"-16"-1,-17 18-15,-2-2 16,2-16-16,-18 18 0,18-2 0,-19 2 15,18-1-15,-18 1 0</inkml:trace>
  <inkml:trace contextRef="#ctx0" brushRef="#br0" timeOffset="157975.84">24518 5860 0,'17'-17'0,"2"17"16,-2 0-16,0 0 0,1 0 16,18 17-16,-19-17 15,0 18-15,2 18 16,-19-19-16,-19 0 16,19 2-16,-52 50 15,16-15-15,19-37 0,0-17 16,17 19-16,-19-2 0,2-17 0,17 17 15,-18 1 1,36-18 0,-1 0-1,2 0-15,-2 0 0,0 0 16,1 0-16,18 0 0,-19 0 0,0 0 16,2-18-16,-2 18 0,1 0 0,35 0 15,-53-17 1</inkml:trace>
  <inkml:trace contextRef="#ctx0" brushRef="#br0" timeOffset="158160.01">24976 6055 0,'18'-19'16,"0"38"-16,17 16 16,-35-18-1,0 36 1,0-35-16,-17 0 0,17 0 15,0-1-15,-18 0 0,18 1 16,0 0-16,-18 0 16</inkml:trace>
  <inkml:trace contextRef="#ctx0" brushRef="#br0" timeOffset="158719.65">25294 5878 0,'36'-18'0,"16"1"16,-34 17-16,0 0 0,-1 17 16,0-17-16,2 0 0,-19 18 15,17-18-15,-17 18 0,0 0 0,0-1 16,0 0-16,-17 19 16,-19 16-16,19-33 0,17-2 15,-36 1-15,36-1 0,0 2 16,-18-19-16,1 17 15,17 0-15,17-17 16,1 0 0,0 0-16,0 0 0,16 0 15,-15 0-15,-2 0 0,18 0 16,-16-17-16,-2 17 0,0 0 0,1 0 16,-1-17-16,2 17 15</inkml:trace>
  <inkml:trace contextRef="#ctx0" brushRef="#br0" timeOffset="158901.04">25876 6002 0,'18'-18'0,"-1"36"15,2-18 1,-19 17-16,0 0 16,17 2-16,-88-72 15,142 141-15,-71-71 0,0 2 0,-17-2 16,17 0-16,0 1 0,-19 0 15,19 0-15,0-1 0,0 0 16</inkml:trace>
  <inkml:trace contextRef="#ctx0" brushRef="#br0" timeOffset="159525.65">26140 5826 0,'142'0'15,"-125"0"-15,2 0 0,-2 17 16,0 0-16,-17 1 16,0 0-16,0 0 0,0-1 0,-34 36 15,15-35-15,2 16 0,-1-15 16,1-2-16,17 1 15,-19-1-15,2-17 0,17 19 0,-17-2 0,-1 0 16,36 1 15,35-18-15,-36 0-16,1 0 0,35-18 16,-36 18-16,19 0 15,-18 0-15,-1 0 0,18 0 16,-17-17-16,17 17 0,-18 0 15,2 0 1,-2 0 0</inkml:trace>
  <inkml:trace contextRef="#ctx0" brushRef="#br0" timeOffset="161636.62">26935 6019 0,'35'17'31,"-35"2"-31,17-2 16,-17 1-16,19-1 0,-19 2 0,0 15 15,0-16-15,0 18 0,0-19 16,-19 18-16,19 1 0,-17-19 15,17 19-15,-54 35 16</inkml:trace>
  <inkml:trace contextRef="#ctx0" brushRef="#br0" timeOffset="163079">16280 10288 0,'54'18'0,"-37"-18"0,0 0 16,2 0-16,69-36 15,-36 18-15,-16 1 16,-1 0-16,1-1 0,-19 0 15,18 0-15,-17 1 0,0 0 16,16-37-16,-15 37 16,-19-19-16,0 19 0,17-1 15,-17 1-15,-17-2 0,17 2 0,0-54 16,-19 19 0,2 34-16,17 0 0,-17 1 15,17 0-15,0-2 0,-18 2 16,18-1-16,-18 1 0,0-2 0,18 2 15,-17 0-15,0-1 16,17 1-16,-18-2 0,0 2 16,0 0-16,1-19 15,0 18-15,-2 1 0,-16-36 16,35 18-16,-36-18 16,36 35-16,-17-18 0,17 2 15,-17 16-15,-1-18 16,18 2-16,-17 16 0,17-18 0,-19 19 0,19-19 15,-17-16 1,17 33-16,-17 19 0,17-17 16,-18 0-16,18-1 0,-18 1 0,0-2 15,1 2-15,0 0 0,-1-1 0,0 18 16,-53-53 0,54 53-16,-1-17 0,-52-1 15,16 18-15,20 0 0,16 0 16,-18 0-16,2 18 0,15-18 15,-50 17-15,50-17 16,-16 17-16,-18 19 0,18-1 0,-1-18 16,19 19-16,-18 16 15,-1 19-15,19-35 0,0 17 16,-2 53-16,19-53 0,0-1 16,0 1-16,19 106 15,-19-106-15,34 35 16,2-34-16,-1 16 0,1-35 15,33 36-15,-50-54 16,16 0-16,-18 2 0,19-2 0,69 54 31,-87-54-31,0 1 0,0-18 16,-1 17-16,0 2 0,2-19 0,-2 17 16</inkml:trace>
  <inkml:trace contextRef="#ctx0" brushRef="#br0" timeOffset="167194.1">27235 5755 0,'17'-17'16,"1"17"-16,-1-19 0,0 19 15,19 0-15,-18 19 16,18-19 0,-36 17-16,17-17 0,-17 17 15,-17 1 1,-2 18-16,2-36 0,-18 34 15,35-16-15,-19-18 16,19 18-16,-17 0 16,34-18-1,2 0-15,-19 17 0,17-17 16,1 0-16,-1 17 0,19 2 16,-19-19-16,1 0 0,-18 17 15,18-17-15,-18 18 0,0-1 16,0 0-16,0 19 15,-18-18 1,0-18-16,18 17 0,-17-17 16,0 19-16,-2-19 0,2 17 15,-1-17-15,1 0 16</inkml:trace>
  <inkml:trace contextRef="#ctx0" brushRef="#br0" timeOffset="167586.32">27746 5931 0,'70'17'0,"-52"2"0,0 16 16,-18-1 0,-18-15-16,18-2 0,-18 1 15,1 18 1,0-19-16,17 0 0,-19 1 0,-16 18 16</inkml:trace>
  <inkml:trace contextRef="#ctx0" brushRef="#br0" timeOffset="172765.44">28082 5772 0,'17'-17'31,"0"17"-15,18-17-1,18 34 1,-35 0 0,0 1-1,-18 18-15,-18-2 16,0-34-16,1 36 16,0-18-1,17-1-15,0 0 16,17-17-1,0 19 1,1-19-16,0 0 0,0 0 16,-1 17-16,0 1 15,1-18-15,-18 17 0,0 19 32,-18-19-32,1 1 15,0-1-15,-19 2 16,18-19-16,18 17 0,-34-17 15,15 0 1</inkml:trace>
  <inkml:trace contextRef="#ctx0" brushRef="#br0" timeOffset="172978.14">28416 5984 0,'0'0'0,"18"0"0,18 18 16,-36-1-16,17-17 0,-17 17 16,17 2-16,-17-2 15,0 1-15,0-1 0,-17 54 32,17-53-32,-17 34 15,-2-34-15</inkml:trace>
  <inkml:trace contextRef="#ctx0" brushRef="#br0" timeOffset="173701.31">28768 5755 0,'19'0'16,"33"0"-1,-52 17-15,19-17 16,-19 35-1,-36 1 1,18-1 0,18-17-1,0 0 1,35-18 0,-35 17-16,36-17 15,-19 17-15,1-17 16,0 19-1,-18-2-15,0 1 16,-18-1-16,18 0 0,-18-17 0,1 19 16,17-2-16,-17-17 15,-2 18-15,2-1 0,-18 2 16,16-19 0</inkml:trace>
  <inkml:trace contextRef="#ctx0" brushRef="#br0" timeOffset="174874.09">29456 5914 0,'19'17'0,"-2"0"0,-17 2 15,0-2-15,18 1 0,-18-1 0,0 0 16,0 2-16,0-2 0,0 1 16,0-1-16,-18 2 0,1 15 15,17-16-15,0 0 0,0 0 16,-19-18-1</inkml:trace>
  <inkml:trace contextRef="#ctx0" brushRef="#br0" timeOffset="175298.37">30092 5719 0,'-18'36'31,"0"-36"-31,1 35 16,0-35-16,17 17 0,-19-17 0,2 19 16,17-2-16,-18-17 0,18 17 15,-17-17-15,17 18 0,-17 18 16,34-36 0,0 17-1,37 0 1,-37-17-16,18 0 0,-17 0 15,17-17-15,1 17 16,-19 0-16,1-17 0,-1 17 16,0 0-16,19-18 0,-18 0 15</inkml:trace>
  <inkml:trace contextRef="#ctx0" brushRef="#br0" timeOffset="175526.7">30232 5648 0,'0'19'0,"0"-2"15,0 1-15,0-1 0,0 71 16,0-69 0,0 15-16,19-16 0,-19 35 15,0-17-15,0 16 16,0-35-16,0 2 0,0-2 15,0 1-15,0-1 0,0 2 0,0-2 16,0 0-16</inkml:trace>
  <inkml:trace contextRef="#ctx0" brushRef="#br0" timeOffset="176531.2">20020 6107 0,'18'19'15,"16"-19"1,-15 0-16,16 0 15,1 0-15,-19-19 16,0 19-16,19 19 16</inkml:trace>
  <inkml:trace contextRef="#ctx0" brushRef="#br0" timeOffset="176723.66">20072 6336 0,'36'0'47,"-18"0"-47,-1 0 16,2 0-16,15 0 16,-34-17-1,18 17-15</inkml:trace>
  <inkml:trace contextRef="#ctx0" brushRef="#br0" timeOffset="179014.12">23142 6514 0,'0'-19'31,"0"90"1,0-35-32,0-2 0,0 20 0,0-1 15,0 18-15,0-19 0,-18 72 16,18-54-16,-17 1 0,17 0 16,-17-2-16,17-16 0,-19 1 15,19-1-15,0-18 0,-17-1 0,17-15 0,0 33 16,-18-16-1,18-19-15</inkml:trace>
  <inkml:trace contextRef="#ctx0" brushRef="#br0" timeOffset="180102.85">23212 6548 0,'-17'36'15,"0"-36"1,-1 35 0,0 18-16,0-18 0,1-18 15,0 19-15,-2-18 0,2-1 0,-1 19 0,18-19 16,-34 18-16,15-16 16,19-2-16,-17 18 0,-1-17 15</inkml:trace>
  <inkml:trace contextRef="#ctx0" brushRef="#br0" timeOffset="180339.41">23124 6584 0,'18'0'16,"0"18"-16,0-1 15,-1-17-15,-17 17 0,17 1 16,1 0-16,0 0 0,-18-1 16,52 54-1,-52-54-15,19 2 16,-2-19-16,-17 17 0,18 0 0,-18 1 16,17-18-16</inkml:trace>
  <inkml:trace contextRef="#ctx0" brushRef="#br0" timeOffset="181218.17">22807 8524 0,'0'0'16,"0"35"15,0-18-31,0 2 16,0 16-16,0-18 0,0 19 16,0-1-16,0 1 0,0-2 0,17 2 15,-17-18-15,18 52 0,0-35 16,0-18-16,-1 2 15,0-2-15,-17 1 0,19-18 16,-2 0-16,1 0 0,-1 0 0,2 0 16,-2-18-16,0 1 0,1 17 15,18-36-15,-36 19 0,17-18 16,0 16-16,-17-15 0,0-2 16,0 1-16,18 0 0,-36-106 15,18 88 1,-17 18-16,17-18 0,-17 17 0,-2 1 0,19 18 15,-17-19-15,-1 18 0,1 1 16,0 0-16,-2-2 0,-33 2 16,33 34-1,2-17-15,17 19 0,-17-2 16,17 0-16,0 1 0,0 18 16,0-19-16,0 18 0,34 35 15,-15-16-15,-2-20 0,1 20 0,-1-18 16,2-2-16,-2 2 0,0 16 0,1-34 15,-1 35-15,19 0 16,-19-18-16,1 1 0,0-19 0,-18 1 16,18-1-16,-1 54 15,0-53-15,-17 0 16,18-1-16,-18 0 16,18 1-16</inkml:trace>
  <inkml:trace contextRef="#ctx0" brushRef="#br0" timeOffset="181473.36">23566 8771 0,'17'17'15,"-17"1"-15,17 0 0,-17 0 16,19-1-16,-2 36 0,-17-18 0,0 1 16,35 87-1,-35-53-15,0-34 16,17-1-16,-17 18 0,0-35 16,0 18-16,19 16 15</inkml:trace>
  <inkml:trace contextRef="#ctx0" brushRef="#br0" timeOffset="186635.58">25700 6566 0,'18'36'0,"-18"-19"16,17 18-16,-17-17 0,0 34 0,17-16 15,-17 18-15,0-2 0,0 1 0,19-18 16,-19 18-16,0-17 0,-19 52 16,19-53-1,0 1-15,0-19 0,0 0 0,0 1 16,0-1-16,-17 2 0,17-2 15,0 0-15,-17 1 16</inkml:trace>
  <inkml:trace contextRef="#ctx0" brushRef="#br0" timeOffset="186900.38">25752 6724 0,'-17'-17'0,"-18"34"16,17 2-16,0-2 16,1 18-16,0-16 0,-2-2 0,-33 88 15,16-69 1,19 16-16,-1-33 0,1 16 0,-2-1 15,19 2-15,-17-18 16,0-1-16</inkml:trace>
  <inkml:trace contextRef="#ctx0" brushRef="#br0" timeOffset="187119.37">25718 6619 0,'17'17'0,"-34"-34"0,51 34 15,-34 1-15,19 0 0,16 34 16,-18-16-16,0-18 0,2 18 16,-2-19-16,1 0 0,-1 18 15,2-16-15,-2 15 0,0-16 16,1 18-16</inkml:trace>
  <inkml:trace contextRef="#ctx0" brushRef="#br0" timeOffset="187987.91">25542 8418 0,'0'-18'16,"-19"72"15,19-20-31,0-15 16,0 16-16,0 18 0,0-18 15,0 18-15,0-18 0,19 71 16,-19-35-16,17 17 16,0-36-16,1-33 15,-18-2-15,17-17 0,2 17 16,-2-17-16,18-17 16,-17 17-16,-18-17 0,18-2 15,-1 2-15,19-37 0,16-86 16,-52 104-1,0-16-15,0-1 0,0-18 0,0 18 16,0 18-16,-17-53 16,-1 35-16,1 17 0,17 19 15,-19-1-15,2 1 0,-36 0 16,18 17 0,-1 52-1,19-35-15,17 19 16,0 17-16,0-18 0,0 1 15,36 140 1,-2-88-16,-16-35 0,0-1 16,0-16-16,16 52 15,-15-53-15,-2-16 0,1 33 16,-1-34-16,-17 0 0,17-1 16,-17 0-16,36 37 15,-18-37 1</inkml:trace>
  <inkml:trace contextRef="#ctx0" brushRef="#br0" timeOffset="188467.53">26194 8876 0,'70'-17'16,"-52"34"-16,-1-17 0,2 0 15,-19 19 1,0-2-16,17-17 0,-34 52 16,-2 38-1,2-56-15,-1 2 16,18-18-16,0 16 16,0-16-16,0 0 15,0 0-15,18-1 16,18 0-1,-2-17-15,-16 0 16,0 0-16,17 0 16,0 0-16,-17 0 15,17 0-15,1 0 32,-19-17-17</inkml:trace>
  <inkml:trace contextRef="#ctx0" brushRef="#br0" timeOffset="191463.62">28434 6690 0,'0'53'0,"0"-1"16,0-16-16,17 16 15,-17-16-15,0 17 0,0-18 0,0 53 16,0-35-16,0-18 16,0 1-16,0-1 0,0-18 15,-17 19-15,17-19 0,0 19 0,0-18 16,0 16 0,0-15-16</inkml:trace>
  <inkml:trace contextRef="#ctx0" brushRef="#br0" timeOffset="191746.29">28504 6690 0,'0'0'0,"-17"17"16,0 0-16,-2 19 15,-16-18-15,18-1 0,-2 19 16,2 16-16,-18-16 0,17-1 0,0 1 16,1-19-16,-36 71 15,53-71-15,-18 2 0,18-2 0,-17 1 16,17-1-16</inkml:trace>
  <inkml:trace contextRef="#ctx0" brushRef="#br0" timeOffset="191946.52">28346 6672 0,'17'35'0,"0"-18"15,19 37 1,-18-37-16,-1 19 0,71 35 16,-52-37-16,-19-16 0,19 0 15,-18 0-15,-1-1 0,0 19 16,2-19-16,-2 1 0</inkml:trace>
  <inkml:trace contextRef="#ctx0" brushRef="#br0" timeOffset="192762.48">28380 8559 0,'0'-17'16,"-34"70"-16,34-36 15,0 1-15,-18 70 0,0 53 16,18-53 0,0 19-1,18-73-15,-18 2 0,18-1 16,-1 0-16,0 1 0,2-36 16,-2 17-16,1-17 15,-1 0-15,19-17 16,-1-1-16,-18-18 0,2 2 0,15-2 15,-16 1-15,0-72 16,-18 2-16,0 52 0,0 1 16,-18-2-16,0-34 0,1 52 15,0 2-15,17 16 0,-19 1 16,2-2-16,-1 2 0,1 0 16,0 17-16,-19 17 15,18 0-15,18 2 16,-17-2-16,17 18 0,-19 142 15,38-125 1,-2 55-16,-17-38 16,18-15-16,-1-1 0,2-18 0,50 142 15,-50-106 1,-2-37-16,0-16 16,1 18-16,-18-19 0,18 0 15,-18 1-15,18 0 16,-1-18-1,0 0-15</inkml:trace>
  <inkml:trace contextRef="#ctx0" brushRef="#br0" timeOffset="193230.38">28998 9176 0,'36'18'0,"-19"-18"16,0 18-1,-17 0-15,19-18 16,-19 17-16,35 0 16,1 2-1,-19-2 1,18 18-1,-35-16-15,17-19 0,-17 17 16,0 0-16,-17 18 16,-1 1-1,1-19-15,0-17 0,-37 36 16,37-18-16,-2-18 0,2 17 16,-18-17-16,35 17 15,-18-17-15,0 0 0,1-17 0</inkml:trace>
  <inkml:trace contextRef="#ctx0" brushRef="#br0" timeOffset="195137.09">21572 6619 0,'124'-35'15,"-89"35"-15,18 0 16</inkml:trace>
  <inkml:trace contextRef="#ctx0" brushRef="#br0" timeOffset="195311.14">22031 6584 0,'35'-18'31,"-17"18"-15,0 0 0,-1 0-16,36 0 15,-35 0 1,-177 18-16,335-36 0</inkml:trace>
  <inkml:trace contextRef="#ctx0" brushRef="#br0" timeOffset="197074.58">28928 6319 0,'35'0'32,"-18"0"-32,1 0 0,0 0 0,0 0 15,123-17 1,-106-1-16,1 18 16</inkml:trace>
  <inkml:trace contextRef="#ctx0" brushRef="#br0" timeOffset="197333.97">29792 6214 0,'0'0'0,"35"0"16,-18 0-16,19-18 0,-1 18 16,-16 0-16,15-18 0,1 18 0,-16 0 15,-2 0-15,18 0 0,-17 0 16,53 18-1,-54-18-15,1 0 0,-1 0 0,0 0 16,2 0 0,-2 0-16,1 0 0,-1 18 15,2-18-15,-2 0 16,0 0-16,1 0 16</inkml:trace>
  <inkml:trace contextRef="#ctx0" brushRef="#br0" timeOffset="201772.63">22931 9864 0,'369'18'16,"-298"-18"-16,0 0 0,-1 0 0,1-18 15,17 1-15,0 0 0,124-37 16,-141 20-16,-1 15 15,-16-16-15,-20 18 0,20-19 16,-2 1-16,-16-1 0,17 2 0,-18-20 16,-18 20-16,19-20 0,-19 1 0,18-70 15,-16 70 1,-19 0-16,0-18 0,17 0 0,-34 2 16,17-2-16,0-17 0,-36 18 0,18-20 15,-194-244 1,160 263-16,-18 19 15,-1 16-15,-17-17 0,-1 18 16,-105-18-16,89 18 0,-2 18 0,2 17 16,-212 17-1,210 0-15,2 1 0,-1 18 16,0-2-16,0 20 0,0 16 0,0 1 16,18 17-16,0-17 0,-53 158 15,105-141-15,19 0 16,34-17-16,-17 17 0,36-18 0,-1 1 15,18 0-15,18-1 0,-1-18 0,36 2 16</inkml:trace>
  <inkml:trace contextRef="#ctx0" brushRef="#br0" timeOffset="202473.1">26494 10076 0,'141'-17'0,"-124"17"16,18-19-16,18 2 0,1 0 16,-2-1-16,1 1 0,54-19 0,-55 1 15,36-35-15,-52 34 16,17-16-16,-18-2 0,35-104 15,-52 87-15,-18-17 0,0 17 16,-18-17-16,18-18 16,-17 18-16,-19 0 0,1 0 0,-1-36 15,-16 36-15,-1-18 0,0 18 0,18 18 16,-230-177 0,194 194-16,-17 17 15,0 1-15,-17 18 0,17-2 0,-2 19 0,-15 0 16,17 19-16,0-2 0,-19 36 15,2-1-15,0 19 0,-2 0 0,19 17 16,0 0-16,17 36 0,1-19 16,16 19-16,2 0 0,35-36 15,-2 105-15,90 90 16,-18-178-16,35-17 0,0-17 16,0 18-16,19-37 0,16 2 15,106 34-15</inkml:trace>
  <inkml:trace contextRef="#ctx0" brushRef="#br0" timeOffset="203307.75">28910 10130 0,'36'0'31,"-19"0"-31,18 17 0,-17-17 16,53 0-16,-19 0 0,143 0 31,-125 0-31,53-17 0,-52-2 16,17 2-16,-18-1 0,1-18 0,0 19 15,-18 0-15,-1-1 0,1-35 16,1 18-16,-1-1 0,-18-16 16,35-72-16,-35 88 0,36-352 31,-71 300-31,-18-88 0,1 0 16,0 70-16,-2 35 15,-16-17-15,-18 0 0,1 17 16,-248-210-16,212 228 15,17-1-15,-35 20 16,0-2-16,0 1 0,-105-1 16,-1 19-16,-88 70 15,212-18-15,-17 1 16,-2 34-16,2 1 0,-2-2 0,2 38 16,-54 105-16,88-89 0,1 1 15,16 17-15,-15 211 16,69-140-16,17-107 15,18-17-15,1 36 0,16-18 16,19 0-16,17-18 0,1 0 16,228 124-16,-106-124 15,-104-53-15,-2 1 0,2-19 16</inkml:trace>
  <inkml:trace contextRef="#ctx0" brushRef="#br0" timeOffset="213651.85">22102 12563 0,'-18'36'16,"18"-19"-16,0 1 15,0 18-15,0-19 0,18 0 0,-18 19 16,0-18-16,17 52 16,0-52-16,-17-1 0,19 0 15,-2 2-15,1-2 16,-1-17-16,0 0 15,2 0-15,-2-17 0,1 17 16,-1-19-16,2 2 16,-2 0-16,0-19 0,-17 18 0,18-34 15,-18 16-15,0 2 16,0-2-16,0-18 0,0 20 16,-18-20-16,1 20 0,17-2 0,-17 1 15,-2 18-15,19-19 0,-17 18 0,17 1 16,-35-19-16,35 19 15,-19 17-15,2 0 16,0 17-16,17 2 16,0 15-16,0 20 15,0-20-15,0 2 0,0 16 0,17 2 16,-17-1-16,0-1 0,17-16 0,-17-1 16,19 1-16,-2 16 15,1 37-15,-1-72 16,-17 1-16,0-1 0,19 2 15,-19-2-15,17 0 0,0 1 16,1-18 0</inkml:trace>
  <inkml:trace contextRef="#ctx0" brushRef="#br0" timeOffset="213870.73">22666 12775 0,'17'0'16,"2"17"-16,-19 1 15,0 0-15,0 17 16,17 1 0,-17-19-16,0 1 0,0-1 0,-17 2 15,17 15-15,17-16 16</inkml:trace>
  <inkml:trace contextRef="#ctx0" brushRef="#br0" timeOffset="214091.81">22931 12634 0,'35'-35'0,"1"35"15,-19-19-15,18 19 16,-18 0-16,2 19 0</inkml:trace>
  <inkml:trace contextRef="#ctx0" brushRef="#br0" timeOffset="214249.22">22983 12863 0,'0'0'16,"19"17"-16,-2-17 16,18-17-16,-18 17 15,19 0-15,-19-17 16,71-1-16,-52 0 15</inkml:trace>
  <inkml:trace contextRef="#ctx0" brushRef="#br0" timeOffset="-214578.93">23866 12404 0,'17'18'16,"-17"0"-16,0 0 0,17-1 15,-17 0-15,0 19 16,0-18-16,18-1 16,-18 0-16,0 2 15,36-19 16,-36-19-31,17 2 16,-17 0-16,17-1 0,2 1 0,-19-2 0,17-15 16,1 16-16,-1 0 15,2 0-15,-2 1 0,35-19 16,-33 36-16,-2 0 16,0 0-1,1 19-15,-18-2 0,36 18 16,-19 1-16,-17-19 15,0 0-15,17 2 0,-17-2 16,0 1-16,18 16 0,-18 2 16,0-18-1,0-1-15</inkml:trace>
  <inkml:trace contextRef="#ctx0" brushRef="#br0" timeOffset="-214319.08">23900 12916 0,'71'-17'15,"-54"-2"-15,2 19 0,69-17 16,-17-18-16,-19 35 15,-16 0-15,-2-18 16,2 18-16,-1 0 0,18-18 16,18 36-16,-54-18 15,1 0-15</inkml:trace>
  <inkml:trace contextRef="#ctx0" brushRef="#br0" timeOffset="-213873.62">24147 13251 0,'-17'36'16,"-1"-36"-16,1 0 16,17 17-16,-17 1 0,-19-1 15,36 2-15,-18-19 0,1 17 16,-19 35-1,36-33-15,0-2 16,0 0-16,17-17 16,2 0-1,-2 0-15,1 18 0,-1-36 0,124 1 32,-105 17-32,-18 0 15,-1 0-15,0-17 0,1 17 0,0-19 16,0 2-1</inkml:trace>
  <inkml:trace contextRef="#ctx0" brushRef="#br0" timeOffset="-213705.13">24271 13251 0,'-17'17'16,"-1"37"-1,18-1 1,0-18-16,0 18 0,35-265 15,-70 459-15,35-211 0,0-2 0,0 2 16,35 123 0,-35-142-16,0 19 0</inkml:trace>
  <inkml:trace contextRef="#ctx0" brushRef="#br0" timeOffset="-212678.45">22366 14732 0,'-18'36'16,"1"-36"-16,17 18 15,0 52-15,0-16 16,0 34-1,17-71-15,-17 19 0,0-19 16,18 1-16,18 35 16,-19-36-16,0-17 15,1 0-15,0-17 16,17-2-16,-18 2 0,-17-18 16,19 18-16,-2-19 0,-17 1 15,18-35-15,-53-108 16,35 144-1,-19-1-15,2-1 0,17 19 16,-17-1-16,-1 0 0,0 0 0,0-16 16,1 34-16,0 0 15,-1 17 1,0 0-16,0 1 0,18 18 16,0-19-16,0 19 0,18 52 15,0-53-15,-18 18 16,18-18-16,-1 1 0,0-2 15,-17-16-15,71 88 16,-54-71-16,2-18 16,-2 19-16,1-18 0,16-1 15,-34 2-15,19-19 0,-2 17 16</inkml:trace>
  <inkml:trace contextRef="#ctx0" brushRef="#br0" timeOffset="-212286.64">23002 14998 0,'88'0'16,"-71"17"-16,-17 19 16,0-19-1,-17 1-15,-2 52 16,2-52-16,-1 18 16,18-19-1,-17-17-15,17 17 16,0 1-1,17-18 17,18 0-32,-35-18 0,36 18 15,-19 0-15,-17-17 16,18 17-16,0 0 0,0-17 16</inkml:trace>
  <inkml:trace contextRef="#ctx0" brushRef="#br0" timeOffset="-212105.52">23442 14892 0,'17'0'0,"-17"-18"16,19 18-16,-2 0 15,0 0 1</inkml:trace>
  <inkml:trace contextRef="#ctx0" brushRef="#br0" timeOffset="-211950.6">23424 15086 0,'-17'17'16,"69"-34"15,-33 17-31,-2-18 0,0 18 16,-17-17-16,18 17 0,0 0 0,17-19 15,-18 19-15</inkml:trace>
  <inkml:trace contextRef="#ctx0" brushRef="#br0" timeOffset="-211278.45">24412 14698 0,'-17'53'31,"17"-36"-31,0 1 0,0-1 16,0 2-16,0 15 0,0-16 15,0 0-15,0 0 0,0 16 32,35-68-17,1-20 1,-19 20-16,0-2 16,1-18-16,-1 20 0,19-1 0,-19 16 15,1 2-15,-18 0 0,18-1 16,0 0-16,35 36 15,-53 0 1,0-1-16,17 0 16,-17 2-16,0-2 0,0 18 15,0-18-15,0 2 0,0 16 16,0-18-16,0 2 16,0-2-16,0 0 0,18-17 0,-18 18 0,17 0 15</inkml:trace>
  <inkml:trace contextRef="#ctx0" brushRef="#br0" timeOffset="-210917.91">24500 15332 0,'-17'0'0,"52"-17"16,-18 0-16,2 17 15,-2 0-15,18-18 0,1 18 16,-19-18-16,19 0 0,33 1 16,2 17-16,-35-17 0,-19 17 15,18 0-15,-16-19 0,-2 19 16,18 0-16,1 0 16,-19 0-16</inkml:trace>
  <inkml:trace contextRef="#ctx0" brushRef="#br0" timeOffset="-209366.84">24642 15615 0,'17'-36'0,"0"19"16,2 17-16,-2 0 0,1 0 15,-1 0-15,19 36 16,-19-36-16,-17 17 16,0 0-16,0 1 0,-17 35 15,17-36-15,-19 1 16,19 0-16,0 0 0,-17 16 15,17-15 1,36-19 0,16-19-1,-33 19-15,-2 0 16,0-17-16,1 17 0,18-17 16,-19 17-16,0 0 0,1-18 15,18 0-15,-19 18 16,-17-18-16,0 1 15</inkml:trace>
  <inkml:trace contextRef="#ctx0" brushRef="#br0" timeOffset="-208582.14">24078 14468 0,'0'-17'0,"0"52"16,0 1-16,17-2 0,-17 20 0,0 16 16,0-18-16,17 38 0,-17-2 15,18 88-15,-1 18 16,-17-106-16,0 0 0,19 0 16,-2 54-16,-17-90 0,0 1 15,17 54-15,-17-73 16,18 1-16,-18-16 0,0-2 15,0 0-15,18-51 32</inkml:trace>
  <inkml:trace contextRef="#ctx0" brushRef="#br0" timeOffset="-207786.73">24042 14486 0,'176'-18'0,"-106"1"0,-16 17 15,87-36-15,-70 36 0,17-17 16,-18-1-16,336-52 31,-353 52-31,18 0 0,-19 18 0,-16-18 16,-2 18-16,-16-17 0,0 17 16,0 0-16,16 0 0,-15 0 15,-2 0 1,1 17-16,-1 1 15,-17 0-15,0 0 0,19-1 0,-19 0 16,17 37-16,-17-18 16,17 69-16,1-52 15,-18-18-15,17 18 0,2 18 0,-19-19 16,17 1-16,18 35 0,-17-34 16,0-1-16,-1-1 0,36 72 15,-35-71-15,-1-18 16,-17 0-16,17 1 0,-17-2 15,19-15-15,-19 16 0,17-18 0,-17 19 16,0-19-16,0 1 0,0 18 0,0-19 16,0 0-16,0 1 0,-17 0 15,17 0-15,-19-1 0,-33 36 16,16-35-16,2 16 0,-20-15 16,20-2-16,-37 1 0,18-1 0,-1 2 15,-86 15-15,-37-16 16,106-1-16,-105 2 0,106-19 15,-1 17-15,0-17 16,-70 0-16,89 0 0,-19 17 16,35-17-16,2 0 0,16 0 15,-18 0-15,36-17 16,-17 17-16,0-17 0,34-19 16,0 18-16</inkml:trace>
  <inkml:trace contextRef="#ctx0" brushRef="#br0" timeOffset="-207314.42">26035 14822 0,'35'0'16,"-17"0"-16,53-19 16,-36 19-16,-1 0 0,20 0 0,-18 0 15,140-17 1,-142 17-16,2-18 15,-1 18-15,36-17 0,-35 17 16,-19-19-16,0 19 0,1 0 0,0 0 16,0-17-16,-1 17 15,-34-17 1</inkml:trace>
  <inkml:trace contextRef="#ctx0" brushRef="#br0" timeOffset="-207074.65">26706 14539 0,'34'17'16,"-16"1"-16,0-18 16,0 18-16,-1 0 0,18-1 0,-17 0 15,0 2-15,-1 16 16,0-18-16,2 19 0,-2-19 0,-17 1 0,0 18 15,0-19-15,0 18 0,0-17 0,0 0 16,-36 70 0,36-71-16,0 0 15</inkml:trace>
  <inkml:trace contextRef="#ctx0" brushRef="#br0" timeOffset="-206477.95">27992 14327 0,'0'0'31,"0"36"-15,0-19-16,0 1 0,0-1 15,0 19-15,0-1 0,0 1 16,0-2-16,0 2 0,0-1 16,0 18-16,0-18 0,0 89 15,19-71 1,-19-35-1,35-54 1</inkml:trace>
  <inkml:trace contextRef="#ctx0" brushRef="#br0" timeOffset="-205611.2">27992 14239 0,'71'0'0,"-35"-17"15,-1 17-15,18-18 16,0 18-16,70-18 0,-70 0 0,35 1 16,0 0-16,0-2 0,300-52 31,-298 54-31,-2 0 0,105-18 16,-105 16-16,-17 19 0,17-17 15,-18 0-15,1-1 0,-18 18 16,53-36-16,0 19 15,-88 0-15,-1 17 16,0 0-16,2 0 0,-2-18 0,1 18 16,-1 0-1,0 0 1,2 0 0,-19 18-16,0-1 15,0 18 1,0-17-16,0 53 15,0-54-15,17 18 16,-17-18-16,0 19 0,0-1 16,0 36-16,0-35 0,18 34 15,-18-35 1,0 1-16,0-19 0,0 18 0,17 1 16,-17-19-16,0 18 0,0-16 15,0-2-15,0 0 0,-17 54 31,17-54-31,-18 2 16,18-2-16,-17 1 0,-2-1 16,2 0-16,-18 2 0,-71 33 15,54-33 1,-2-2-16,-16 0 0,16 1 0,-15 0 16,-2 0-16,-87 16 15,-125 20-15,195-37 0,-19 0 16,19 2-16,-264 69 15,263-71 1,1 1-16,0-1 0,35 2 0,-17-19 16,17 17-16,0-17 0,18 17 15,-1-17-15,-16 0 0,16 0 16,19 0-16,-1 0 0,18-17 16,-18 17-16,18-17 15,18-2-15,-18 2 16,0-1-16,18 1 0,-1-19 15</inkml:trace>
  <inkml:trace contextRef="#ctx0" brushRef="#br0" timeOffset="-202719.04">28998 14098 0,'18'36'16,"-18"-19"-16,18 18 0,-18-17 15,0 17-15,17 0 0,-17 1 16,0-2-16,17 20 0,-17-18 0,0 16 16,0 1-16,19 0 0,-19-1 15,0-16-15,0-1 0,0 1 0,0-1 16,17 35-16,-34-52 0,17 18 15,0-19-15,0 0 0,0 1 16,0 0-16</inkml:trace>
  <inkml:trace contextRef="#ctx0" brushRef="#br0" timeOffset="-201494.37">28470 14574 0,'-19'36'15,"19"-19"-15,-17-17 0,17 17 16,-18 19-16,1-18 0,-2-1 16,2 36-16,0 1 15,-1-20-15,0-16 0,18 0 16,-18-18-16,18 18 15,0-1-15</inkml:trace>
  <inkml:trace contextRef="#ctx0" brushRef="#br0" timeOffset="-201313.64">28363 14627 0,'17'36'31,"2"-19"-31,-19 1 0,17-1 16,-17 0-16,18 2 0,-1-2 15,2 1-15,-2-18 16</inkml:trace>
  <inkml:trace contextRef="#ctx0" brushRef="#br0" timeOffset="-201143.11">28751 14751 0,'0'17'16,"0"18"-16,0-16 15,0-2-15,0 18 16,0 1-16,0-19 16,0 0-16,0-210 0,17 386 0,-17-175 15,0 0-15,19-18 0</inkml:trace>
  <inkml:trace contextRef="#ctx0" brushRef="#br0" timeOffset="-200469.8">29775 14363 0,'-36'17'0,"36"1"15,-17-1-15,-1 19 16,0-19-16,0 1 0,-16 35 15,-2 0-15,1 18 16</inkml:trace>
  <inkml:trace contextRef="#ctx0" brushRef="#br0" timeOffset="-200277.47">29510 14539 0,'53'35'0,"-36"-17"16,1 0-16,-1-1 16,2 0-16,-2-17 0,0 19 15,1-19-15</inkml:trace>
  <inkml:trace contextRef="#ctx0" brushRef="#br0" timeOffset="-200021.45">29951 14556 0,'35'18'32,"-35"0"-17,0 0-15,-18 16 16,1-15-16,17-2 0,-17 1 15,-2 16 1,19-15-16,36-214 16,-72 407-16,55-212 15,-2 0-15,0 0 16,1 0-16,-1 0 0,19 0 16,-1-17-16,35-2 15,-34 2-15</inkml:trace>
  <inkml:trace contextRef="#ctx0" brushRef="#br0" timeOffset="-199591.46">30868 14344 0,'35'-17'15,"-18"17"1,2 0-16,16 0 15,-18 0-15,19 17 16,-19-17 0</inkml:trace>
  <inkml:trace contextRef="#ctx0" brushRef="#br0" timeOffset="-199415.67">30903 14522 0,'36'34'16,"-19"-34"0,1 0-16,18 0 15,33 0 1,-50 0-16,-2 0 0,36-17 16,-35 17-16</inkml:trace>
  <inkml:trace contextRef="#ctx0" brushRef="#br0" timeOffset="-198846.51">31574 14239 0,'0'-17'0,"17"-1"16,-34 53-16,51-88 0,-15 53 16,-2 0-16,1 18 0,-1 0 15,-17 16 1,-17-16-1,-1 18-15,1-19 16,-2 0-16,2 19 0,0-1 16,-1-35-16,18 19 0,18-2 15,35-17 17,-18 0-32,-1-17 0,-15 17 15,52-19-15,-1 2 16,0-1-16,0 1 15,-34 17-15,18-19 16,-2 19-16</inkml:trace>
  <inkml:trace contextRef="#ctx0" brushRef="#br0" timeOffset="-197434.02">23124 16955 0,'0'53'31,"0"-35"-31,0 18 16,0-19-16,0 0 0,18 19 0,-18-18 15,18 16-15,-18 2 0,18-18 16,16 35-16,-34-36 0,18 1 16,18-1-16,17 2 15,-36-38 1,1 19-16,-1-17 0,19-37 16,-19 20-16,1-20 0,-18 20 0,0-37 15,0 18-15,-18 1 16,-16-108-1,15 125-15,-16 0 0,18-18 0,-2 36 16,2-2-16,0 2 0,-1-1 16,0 18-16,0 18 15,1-18-15,17 36 16,-17-2-16,17-16 16,0 35-16,17-18 0,-17 18 15,17 0-15,1 53 0,18-18 16,-19-35-16,0 0 15,19-1-15,35 126 16,-71-161 0,17 18-16,1-17 0,-18 0 0,0-1 15,17 19-15,2-19 16</inkml:trace>
  <inkml:trace contextRef="#ctx0" brushRef="#br0" timeOffset="-197034.54">23671 17291 0,'71'0'0,"-54"17"16,-17 1-16,0-1 16,0 2-16,0-2 0,0 0 15,0 1 1,0-1-16,0 2 16,19-19-16,-19 17 15,17-17-15,0 17 0,1-17 16,-18 18-16,18-18 0,0 36 31,-1-36-31,-17 17 0,0 0 0,0 2 16,-17-2-16,17 1 15,-18-1-15,0 0 16,0-17-16,1 0 0</inkml:trace>
  <inkml:trace contextRef="#ctx0" brushRef="#br0" timeOffset="-196874.51">24236 17079 0</inkml:trace>
  <inkml:trace contextRef="#ctx0" brushRef="#br0" timeOffset="-196694.67">24147 17343 0,'19'19'15,"15"-19"1,-87-54-1,142 108-15,-178-73 0,213 38 16,-107-19-16,1-19 0,0 19 16,17 0-16,-18-17 0,19-1 15,-18 18-15</inkml:trace>
  <inkml:trace contextRef="#ctx0" brushRef="#br0" timeOffset="-195681.58">25364 16638 0,'18'0'0,"0"0"0,17 0 16,-18 17-1,2 2-15,-19-2 0,0 18 16,0-17-1,0 0-15,-19-1 0,19 0 16,0 1 0,0 0-16,19-18 15,-2 0 1,1 18 0,-1-18-16,2 17 0,-2 0 15,-17 2 1,-17 33-1,-2-33 1,2-2-16,-1 0 16,1-17-16,-2 18 15,2-18-15</inkml:trace>
  <inkml:trace contextRef="#ctx0" brushRef="#br0" timeOffset="-195311.97">25735 16620 0,'36'18'16,"-36"-1"-16,0 2 15,17 15-15,-17-16 16,0 0-16,0 0 15,18-1-15,-18 0 0,0 1 16,17-18 15,19-18-15,-19 18 0,18 0-1,-16 0-15,15 0 0,-34 18 16,18-18-16,-1 0 15,2 18-15,-2-18 0,-17 18 0,17-18 16,-17 17-16,18-17 0,-18 17 0,18 2 16,-18-2-1,0 1-15</inkml:trace>
  <inkml:trace contextRef="#ctx0" brushRef="#br0" timeOffset="-195009.75">25382 17379 0,'89'-36'16,"-54"36"-16,35-17 15,-16 17-15,16-18 0,-18 1 16,2 17-16,-1-19 0,18 2 16,34 0-16,-52 17 0,-18-18 15,1 18-15,-1-17 0,-18 17 0,36 0 16,-18 0 0,-16-19-16,-2 38 15,-17-2-15,0 1 16</inkml:trace>
  <inkml:trace contextRef="#ctx0" brushRef="#br0" timeOffset="-194641.07">26070 17520 0,'-18'-18'0,"-16"36"16,15 0-1,-16 16-15,18-34 0,0 19 16,17-2-16,-19 1 0,2-1 0,-1 0 16,1-17-16,17 19 0,-19-2 15,19 1-15,-17-1 0,17 2 16,0-2-1,0 0-15,17-17 16,-17 18-16,19-18 0,-2 18 0,1-18 16,-1 0-16,36 18 15,1-18-15,-37 0 0,18 0 16,-17 0-16,0 0 0,-1 0 16,0 0-16,19-18 0,-18 0 15,-1 18-15,-17-18 0</inkml:trace>
  <inkml:trace contextRef="#ctx0" brushRef="#br0" timeOffset="-194478.04">26211 17608 0,'-35'52'31,"35"-33"-31,0-2 16,0 18-16,0-16 0,0-2 15,-17 18-15,17 18 0,0-36 16,0 19-16,0-18 0,17 16 15,-17-15-15,0-2 0,0 18 16,0-16-16</inkml:trace>
  <inkml:trace contextRef="#ctx0" brushRef="#br0" timeOffset="-193698.77">26247 16179 0,'105'0'15,"-87"0"-15,0 0 16,17 0-16,-18 0 0,1 0 0,18 0 15,-19 0-15,0 0 16,2 0-16,-2 17 0,1-17 16,-1 19-16,-17-2 0,17-17 15,2 54-15,-2-37 0,-17 18 16,18-17-16,-18 17 0,17 0 0,2 1 16,-2-2-16,0 20 0,1 34 15,18 0-15,-19-52 16,18 52-16,-17-35 15,0-18-15,16 35 0,20 89 16,-54-142 0,17 19-16,2-1 0,-19-18 15,17 2-15,-17 16 0,0-18 0,17 2 16,-17 33-16,0-35 16,0 2-16,18-2 0,-18 18 15,-18 18-15,18-36 0,-17 2 16,17-2-16,-17 1 0,-2-1 15,2 0-15,-18 19 0,16-36 16,2 18-16,0-18 0,-1 0 16,-18 0-16,19 0 0,-18-18 15,-18 1-15</inkml:trace>
  <inkml:trace contextRef="#ctx0" brushRef="#br0" timeOffset="-192554.73">24994 12034 0,'141'-18'0,"-88"18"15,-35 0-15,18 0 16,-19-17-16,0 17 0,1 0 16,35 17-1,-53 1-15,0 35 16,0-17-1,0-1-15,0-18 16,17 71-16,-17-35 0,0 1 16,18-2-16,71 177 15,-72-176-15,37 53 16,-37-53-16,18 35 16,-18-35-16,2-18 0,-2 1 15,18 35-15,-17-54 0,0 36 16,-18-1-16,-18 19 15,0-52 1,0-2-16,-16 18 0,-2-18 0,-16 19 16,16-19-16,-18 1 0,-34 18 15,36-19-15,-18 19 16,51-36-16</inkml:trace>
  <inkml:trace contextRef="#ctx0" brushRef="#br0" timeOffset="-103523.24">159 5967 0,'52'-19'0,"-33"19"0,-2 0 16,0 0 0,1 19-1,-18 16-15,-18-18 16,18 0-16,0 2 16,-17-2-16,0 18 0,17-16 15,0-2-15,-19 0 0,19 1 0,-17 0 31,34-18-15,19-18-16,-19 0 16,1 18-16,0-17 15,0 0-15,-1-2 16,0 2-16,19-1 16,-18 1-16,-1 17 15,-17-19-15</inkml:trace>
  <inkml:trace contextRef="#ctx0" brushRef="#br0" timeOffset="-102737.99">618 5738 0,'-107'476'172</inkml:trace>
  <inkml:trace contextRef="#ctx0" brushRef="#br0" timeOffset="-102632.11">794 5631 0,'17'459'125</inkml:trace>
  <inkml:trace contextRef="#ctx0" brushRef="#br0" timeOffset="-102385.3">530 5826 0,'-19'17'109,"126"88"-46,-107-86-63,-19 16 15,2 18 1,-1-36-16,18 1 16,-34-1-16,15 2 15,2-2-15,17 0 16</inkml:trace>
  <inkml:trace contextRef="#ctx0" brushRef="#br0" timeOffset="-101737">706 5860 0</inkml:trace>
  <inkml:trace contextRef="#ctx0" brushRef="#br0" timeOffset="-101611.17">882 5984 0,'36'18'31</inkml:trace>
  <inkml:trace contextRef="#ctx0" brushRef="#br0" timeOffset="-100391.83">530 9652 0,'34'-34'16,"-16"16"-16,-36 53 47,1 1-32,17-19-15,-17 1 16,-2-1 0,19 2-16,19-19 15,-19 17 1,34 0-1,-16-17-15,-1 18 16,-17 0-16,19-18 16,-19 18-16,-19 34 31,19-34-31,0 0 16,-17-1-16,-1 0 15,18 2-15,-17-19 0</inkml:trace>
  <inkml:trace contextRef="#ctx0" brushRef="#br0" timeOffset="-100032.65">723 9618 0,'0'17'16,"0"-34"-16,0 70 0,17-36 16,-17 1-16,19-1 0,-2 2 15,1-19-15,52 0 32,-52 0-32,-1-19 0,2 19 15,-2-17 1,-17-1-16,0 1 15,0-2-15,0 2 16,-17 17-16,-19-35 16,18 35-16,-18 0 15,19 0 1,-18 0-16,18 18 0,-2-18 16</inkml:trace>
  <inkml:trace contextRef="#ctx0" brushRef="#br0" timeOffset="-99792.59">1076 9283 0,'35'17'31,"-35"18"-16,0-16-15,0-2 0,17 35 16,-17-33-16,0-2 0,0 18 0,0 1 16,0-19-16,0 0 15,0 37-15,19-37 0,-19 0 16,0 2-16</inkml:trace>
  <inkml:trace contextRef="#ctx0" brushRef="#br0" timeOffset="-99617.89">882 9530 0,'-18'0'16,"53"-18"-1</inkml:trace>
  <inkml:trace contextRef="#ctx0" brushRef="#br0" timeOffset="-99481.23">1270 9442 0,'0'-19'16</inkml:trace>
  <inkml:trace contextRef="#ctx0" brushRef="#br0" timeOffset="-98668.06">776 13180 0,'0'-34'16,"18"16"-16,-1 0 0,-17 0 15,36-16-15,-1 15 0,-18 2 16,2-1-16,15-16 16,-16 34-16,0 0 0,0 0 15,-18 17-15,17-17 16,0 17-16,1 1 15,0 18-15,-18-19 0,18 18 0,-18-17 16,17 0-16,19 52 16,-36-52-1,17-1-15,-17 0 0,18-17 16,-18 19-16,0-2 16</inkml:trace>
  <inkml:trace contextRef="#ctx0" brushRef="#br0" timeOffset="-98463.29">970 13304 0,'-18'0'16,"36"-36"0,0 19-16,0-18 15,-1 35-15,18-36 0,1 19 16,-19 0-16,0-1 15,2 0-15,33-17 0,-35 35 0,2-17 16,-2-2-16,18-16 16</inkml:trace>
  <inkml:trace contextRef="#ctx0" brushRef="#br0" timeOffset="-98158.08">1428 12758 0,'-34'17'0,"-20"54"0,-316 387 0,740-899 16,-370 458-16,0 2 16,18-19-16,0 17 0,-18 1 15,18-1-15,-1 2 0,0-19 16,1 34-1,-18-16-15,0-1 16,-18 19 0,18-19-16,0 1 0,-17 0 0,0 0 15,17-1-15,-18-17 0,0 17 0,18 2 16,-18-19-16,1 17 16</inkml:trace>
  <inkml:trace contextRef="#ctx0" brushRef="#br0" timeOffset="-97912.43">1658 12670 0,'0'-19'15,"17"38"1,-17-2-1,0 0-15,0 1 0,19 0 0,-19 0 16,0-1-16,0 18 0,0-17 16,0 0-16,0 35 0,0-18 15,0 1-15,0-2 16,0-16-16,0-1 0,0 2 0,-19-2 16</inkml:trace>
  <inkml:trace contextRef="#ctx0" brushRef="#br0" timeOffset="-97733.83">1570 12916 0,'-18'0'16,"18"-17"-1,35 17 16</inkml:trace>
  <inkml:trace contextRef="#ctx0" brushRef="#br0" timeOffset="-97633.23">1764 12899 0,'18'0'47</inkml:trace>
  <inkml:trace contextRef="#ctx0" brushRef="#br0" timeOffset="-96398.84">10919 15844 0,'0'54'0,"0"-37"16,0 0-16,17-17 15,-17 35-15,0-16 16,0-2 0,18-34 15,-18-2-31,17-16 31,0 18-31,19 17 31,-18 0-31,18 17 32,-36 1-32,17-18 0,-17 17 0,17 2 31,-17-55 0,18 18-15,0 18-16,-18-17 0,18 0 15,-1 17-15,0 0 16,19 0 0,-18 17-16,-1 0 15,0 1 1,2-1 0,-2-17-1</inkml:trace>
  <inkml:trace contextRef="#ctx0" brushRef="#br0" timeOffset="-96232.08">11466 15844 0,'17'0'31,"0"71"0,1-54-31,-18 1 16,-52-124-16,104 229 0,-52-104 15,0-2 1</inkml:trace>
  <inkml:trace contextRef="#ctx0" brushRef="#br0" timeOffset="-96076.75">11447 15650 0,'-35'18'16,"35"0"-1</inkml:trace>
  <inkml:trace contextRef="#ctx0" brushRef="#br0" timeOffset="-95726.84">11642 15862 0,'0'17'0,"0"-34"0,0 53 15,17-19-15,-17 0 16,0 1-1,36-36 32,-19 18-31,1 0 0,-1 0-1,19 0 1,-19 0-1,1 0-15,52 0 16</inkml:trace>
  <inkml:trace contextRef="#ctx0" brushRef="#br0" timeOffset="-95410.45">12294 15756 0,'53'-36'32,"-36"36"-32,19-17 15,-1 17-15,-18 0 0,2 0 16,-2 0-16,18 0 16</inkml:trace>
  <inkml:trace contextRef="#ctx0" brushRef="#br0" timeOffset="-95250.04">12435 15898 0,'0'17'0,"36"-34"47,-1 17-47,-18-19 15,19 2-15,-19 17 0,1-18 16,52-18-16</inkml:trace>
  <inkml:trace contextRef="#ctx0" brushRef="#br0" timeOffset="-95013.92">13211 15350 0,'0'0'15,"19"36"1,-19-19 0,0 36-16,0-35 15,0 18-15,17-19 16,-17 18-16,0-18 0,0 2 0,0 15 16,0 2-1,17-18-15,-17-1 16</inkml:trace>
  <inkml:trace contextRef="#ctx0" brushRef="#br0" timeOffset="-94091.93">11042 17379 0,'0'71'0,"0"-19"16,0-34-16,0 0 16,0-1-16,17-17 0,-17 36 15,0-55 16,0 2-31,19 17 16,-19-17-16,17-19 0,0 1 31,1 18-31,18 17 16,-19 0 15,0 0-31,-17 17 0,18-17 16,0 0-16,-18 17 15,18-34 17,-18 0-17,17-2-15,-17 2 0,17-1 16,2 18 0,-2 0-16,35 0 15,-33 0-15,-2 0 16,18 18-16,-16-18 15,-2 17-15,18-17 16,-17 19-16,0-19 0,-1 0 16</inkml:trace>
  <inkml:trace contextRef="#ctx0" brushRef="#br0" timeOffset="-93728.18">11783 17272 0,'-36'19'16,"19"-19"-16,17 17 15,0 1-15,-18-1 0,18 2 16,0-2-16,0 0 16,0 1-16,18-1 15,-1-17 1,19-159-16,-53 318 0,34-176 15,0-1 1,1 1-16,-1 0 16,2 17-1,-2 0 1,-17 17 0,17 0-16,-17 18 15,0-16 1,0-2-16,18-17 0,-18 17 0,0 1 15,18-18 1</inkml:trace>
  <inkml:trace contextRef="#ctx0" brushRef="#br0" timeOffset="-93543.48">12224 17096 0,'-18'54'31,"36"-72"-31,-18 36 0,-18-1 0,0 71 16,54-247-1,-89 335-15,53-157 0,0 16 0,-17-18 16,-2 19-16,19-1 16</inkml:trace>
  <inkml:trace contextRef="#ctx0" brushRef="#br0" timeOffset="-93358.05">12012 17379 0,'-17'-17'0,"86"34"32,-50 0-17,-2-17-15,1 0 16,-1 0-16,2 0 0,33 0 15,-16-17-15,-2 17 16</inkml:trace>
  <inkml:trace contextRef="#ctx0" brushRef="#br0" timeOffset="-93162.16">12806 17079 0,'17'-17'16,"2"-2"-1,-2 19-15,18 0 32</inkml:trace>
  <inkml:trace contextRef="#ctx0" brushRef="#br0" timeOffset="-92976.62">12771 17291 0,'17'17'16,"1"-17"-16,-1-17 15,2-2 1,33-15-1,-35 16-15,2 18 16,-19-17-16,17-2 0</inkml:trace>
  <inkml:trace contextRef="#ctx0" brushRef="#br0" timeOffset="-90851.01">13618 16444 0,'-19'18'16,"2"16"-1,-1-15-15,1-2 0,17 1 16,-19-1-16,2 2 0,0-2 0,17 0 15,-18 1-15,1-1 16,17 2-16,0-2 0,0 0 16,17 1-16,1 0 15,-1 0 1,0-18-16,19 0 0,-18 0 16,52 0-1,-52 0-15,0 0 0,0 0 16,-1 0-16,0-18 15,1 0 1</inkml:trace>
  <inkml:trace contextRef="#ctx0" brushRef="#br0" timeOffset="-90679">13706 16567 0,'-18'19'31,"18"15"-15,18-87-16,-36 124 0,36-54 0,-18 19 15,0-19-15,17 19 0,-17-1 0,53 89 32,-53-107-32,18 1 0,-1-1 15,-17 19-15,17-36 0,-17 17 16</inkml:trace>
  <inkml:trace contextRef="#ctx0" brushRef="#br0" timeOffset="-90051.59">13211 14980 0,'107'-36'0,"-90"36"0,88-34 16,-69 34-16,-1-18 0,1 18 15,-1-18-15,18 18 16,0 0-16,-18 0 16,-18 0-16,19 18 0,-18 0 15,-1-1-15,0 0 0,2 1 16,-2 35-16,1-17 0,-1-1 0,36 53 16,-35-35-16,-1-18 15,19 18-15,-1 18 0,18 53 16,-18-72-16,1 1 0,-19 0 0,19-1 15,-1 2-15,1-1 0,-2-1 16,37 72-16,-36-89 16,35 54-16,-34-54 0,-1 18 15,18 18-15,-18-37 0,-16 2 16,-2-1-16,0 0 0,1-17 16,-18 17-16,17 36 15,-17-35-15,0-2 0,0 1 0,-17 18 16,-1 1-16,1-20 0,-19 20 15,19-20-15,-159 178 16,140-176-16,-16-18 16,-2 16-16,1-15 0,1-2 15,-1 1-15,-18-1 0,0-17 16,-70 0-16</inkml:trace>
  <inkml:trace contextRef="#ctx0" brushRef="#br0" timeOffset="-89342.51">10724 15227 0,'-17'-17'15,"34"34"-15,-51-53 0,-2 55 16,18-19-16,-18 17 16,-16 0-16,16 1 0,-16 0 0,-1 0 15,-35 34-15,0 1 16,52-36-16,-17 19 0,-17 35 15,52-54 1,0 18-16,1-16 0,17 15 0,0-16 16,0 18-16,35 34 15,-17-18-15,17 38 0,-18-38 16,1-16-16,18 34 0,-19 1 16,19-19-16,-19 19 0,18-18 0,1 88 15,-1-18 1,-35-35-16,36 36 0,-36-36 15,17-17-15,-17-1 0,0 1 16,17 122-16,1-69 16,-18-70-16,18-2 0,-18 1 15,18-17-15,-1 16 0,0-16 16,54 69 0,-35-87-16,35 18 0,-37-19 15,1-17-15,1 17 0,17-17 16,-1 18-16,36-18 0,19-18 15,-2 18-15,-51-17 16,-20 17-16,2 0 0,-1-17 16</inkml:trace>
</inkml:ink>
</file>

<file path=ppt/ink/ink10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07:49.798"/>
    </inkml:context>
    <inkml:brush xml:id="br0">
      <inkml:brushProperty name="width" value="0.05292" units="cm"/>
      <inkml:brushProperty name="height" value="0.05292" units="cm"/>
      <inkml:brushProperty name="color" value="#FF0000"/>
    </inkml:brush>
  </inkml:definitions>
  <inkml:trace contextRef="#ctx0" brushRef="#br0">8326 8929 0,'0'71'16,"0"-54"-1,0 19-15,-19-18 0,19 18 0,0-19 16,0 18-16,0 1 0,0-19 16,-17 18-16,17-17 0,0 0 0,0 16 15,0-16-15,-17 0 0,17 0 0,0-1 16,17-17-16,-17 17 0</inkml:trace>
  <inkml:trace contextRef="#ctx0" brushRef="#br0" timeOffset="722.29">11765 9176 0,'-18'71'0,"18"-35"15,0-19-15,0 0 0,-17 19 16,17-1-16,0-18 0,0 2 0,0-2 16,-17 1-16,17-1 0,0 2 15</inkml:trace>
  <inkml:trace contextRef="#ctx0" brushRef="#br0" timeOffset="1962.35">14922 9107 0,'-35'210'0,"35"-174"16,0-1-16,-17-18 0,17 2 16,0-2-16</inkml:trace>
  <inkml:trace contextRef="#ctx0" brushRef="#br0" timeOffset="5094.75">7461 8541 0,'-18'0'0,"1"18"31,0 18-15,17-2-16,-18-15 0,18-2 0,0 18 15,0-18-15,0 19 0,18-18 16,-18-1-16,0 19 0,17-1 15,18 1-15,-17-36 0,-18 17 16,18-17-16,-1 0 0,0 0 16,2 0-16,-19-17 0,17-1 15,1 18-15,-18-36 0,17 19 0,-17 0 16,0-19-16,0 1 0,0-1 0,-17-52 16,-1 35-16,1 1 0,-2 16 15,-15-35-15,16 36 0,0 18 16,0-2-16,18 2 15,-17-18-15,0 35 0,17-18 16,-18 18-16,18 18 31,0 0-31,18-1 0,-18 19 0,0-19 16,17 18-16,-17-16 0,35 50 16,-35-33-16,18-19 0,-18 19 15,18-1-15,-1-18 0,-17 19 0,17-1 16,-17-18-16,19 19 0,-19-18 0,17-1 15,-17 2-15,18-2 0,-18 0 16,17 1-16,-17 0 0,19-18 16,-19 18-16,17-1 0</inkml:trace>
  <inkml:trace contextRef="#ctx0" brushRef="#br0" timeOffset="5424.31">7831 8595 0,'-17'17'16,"17"19"-16,0-19 0,17 18 16,2-18-1,-2 2-15,1-2 0,-1-17 16,0 0-16,2 0 0,-2 0 15,18-17 1,-16-2 0,-38 2-16,2-35 15,-1 52-15,1-19 16,-2 19-16,2-17 16,0 17-16,-1 0 0,1 0 0,-2 0 15,2 17-15,0-17 16,17 19-16,0-2 15</inkml:trace>
  <inkml:trace contextRef="#ctx0" brushRef="#br0" timeOffset="6436.15">22119 8912 0,'18'35'15,"-18"-17"1,-18 17-16,18-18 0,0 2 16,0-2-16,0 18 15,0-16-15,0 15 0,0-16 0,0-1 16,0 2-16,0-2 0,0 0 15,0 1-15,18 0 0,-18 0 16,0-1-16,0 18 16,17-35-16,-17 18 0,0 0 15,0-1-15,0 0 0,0 2 16,0-2-16,19 1 16,-19-1-16,0 2 15,0-2-15,0 0 16,0 1-16</inkml:trace>
  <inkml:trace contextRef="#ctx0" brushRef="#br0" timeOffset="7189">22419 8241 0,'0'0'0,"-17"36"32,-2-18-32,19-1 15,0 0-15,0 19 0,0-18 0,0-1 16,0 19-16,0-19 0,0 1 15,0-1-15,19 2 0,-19-2 16,17 18-16,18-35 16,-35 18-16,17-18 0,19 0 15,-18-18-15,-1 0 16,2 1-16,-19 0 0,17-2 16,-17-33-16,0 16 15,0 1-15,-17-1 0,-2-52 16,19 71-16,-17 0 0,17-1 15,0 0-15,-18 0 0,1 18 16,-2 18 0,2 0-1,17 0-15,0 16 0,0 2 16,0-1-16,0 18 16,17 1-16,-17-37 0,19 35 15,-19-33-15,17-2 0,-17 0 16,18 1-16,-1-18 0,2 18 15,-2 0-15</inkml:trace>
  <inkml:trace contextRef="#ctx0" brushRef="#br0" timeOffset="7479.44">23090 8453 0,'-36'18'31,"19"-1"-15,-1-17-16,18 19 16,-18-19-16,18 17 0,0 0 15,0 1 1,18-18-16,0 18 15,-1-18-15,0-18 16,2 18-16,-2 0 16,1 0-16,16-18 0,-15 1 15,-2 0-15</inkml:trace>
  <inkml:trace contextRef="#ctx0" brushRef="#br0" timeOffset="7650.85">23301 8329 0,'-35'36'15,"35"-18"-15,35-72 0,-87 125 0,52-52 16,-19 33-16,19-35 0,0 2 16,0 15-16,0 37 15,0-35-15,0-1 16,0 18-16,19-36 0,-19 1 16,0-1-16,17 2 15,-17-2-15</inkml:trace>
  <inkml:trace contextRef="#ctx0" brushRef="#br0" timeOffset="8276.44">23513 8929 0,'34'-17'16,"2"0"-16,-18-1 0,-1 0 15,19 0-15,17-35 0,17 1 16,-34-1-16,-2-1 15,2 2-15,-1-18 0,-16-1 16,15 0-16,1-105 0,-16 106 16,-19-18-16,-19-2 0,2 20 0,-1 0 15,-16 0-15,-90-72 16,70 89-16,-34 0 0,-70-17 16,-142 17-16,212 53 15,-18 17-15,0-17 0,18 36 16,0-18-16,17 34 0,-17-16 15,-53 86-15,70-68 0,18 16 16,-17 72-16,52-54 16,0-18-16,36 54 0,0-54 0,17 0 15,18-16-15,141 122 16,-124-140-16,1 17 16,0-18-16,70 18 0,-36-36 15</inkml:trace>
  <inkml:trace contextRef="#ctx0" brushRef="#br0" timeOffset="14359.79">11237 8031 0,'-19'-19'0,"2"19"16,-1 0-16,1 19 0,17-2 15,-19-17-15,2 35 16,-54 71-16,54-71 16,0 18-16,-19-18 0,18 18 15,-16 35-15,-20 0 16,37-34-16,-2-20 0,-15 73 15,16-72-15,1 53 0,17-52 16,-19 34 0,19 18-16,19 0 15,-2-53-15,1 1 16,35 35 0,-18-37-16,-18-16 0,72 35 15,-71-36-15,52 19 16,-35-36-16,36 18 15,17-1-15,0-17 16,-35 0-16,52 19 16,-51-19-16,34 0 15,-18 0-15,1 0 0,34 0 16,-51 17-16,16-17 0,-16 0 0,51 17 16,-34 1-16,-18-18 15,-1 17-15,143 2 16,-142-19-16,106 17 15,-107-17 1,72 0-16,0 17 0,-72-17 16,125 0-1,-72 18-15,-34-18 16,-18 0-16,87 0 0,2 0 16,-18 0-16,-54 0 15,1 0-15,0 0 0,-2-18 16,55 18-16,-53 0 15,53 0-15,16-17 16,1 17-16,-70 0 0,-1 0 16,-16 0-16,16 0 0,53 0 15,1 0-15,-53 0 16,17 0-16,-18 0 0,1 0 16,-19 0-16,19 17 0,53-17 15,0 0-15,-19 0 16,-34 0-16,34 0 15,2 0-15,-73 0 16,37 0-16,0 0 0,53-17 16,-72 17-16,18 0 0,1 0 0,-18-17 15,-1 17-15,2 0 0,-1 0 16,35-19-16,0 19 16,-52 0-16,16 0 0,-16 0 0,16 0 15,-16 0-15,69 0 16,-17 0-16,-52 0 0,18 0 15,-2 0-15,36-17 16,-35 17-16,0 0 0,-18 0 16,18 0-16,35-18 0,0 18 15,-17 0-15,-18 0 16,18-17-16,-36 17 16,53 0-16,-18 0 15,-34-17-15,-1 17 0,1 0 16,52 0-16,-17-19 15,-37 19-15,2-17 0,-1 17 0,36-18 16,17 18-16,-52-17 16,-2 17-16,1-19 0,-16 19 15,15-17-15,37 0 16,0-1-16,17 0 16,-35 0-16,-36 1 15,1 17-15,35-35 16,-18 35-16,-17-18 0,0 0 0,16 18 15,-15-17-15,-2 0 0,37-2 16,-20-16 0,-16 18-16,18 0 0,-2-19 15,-16 1 1,0-1-16,-18 19 0,18-19 16,-1-16-1,0-19-15,1 18 16,-18-1-16,0 20 15,0 16-15,0-18 0,0 19 0,0-54 16,-18 37-16,1-20 16,-18-34-16,-18 18 15,36 34-15,-19 1 16,18 0-16,-16 17 0,-2-17 0,18-1 16,-52-16-16,34 35 0,1-19 15,-53 1-15,0-1 16,-19 1-16,55 17 15,-89-17-15,-36 0 16,89 17-16,-194-34 16,88 16-16,0 1 15,-123-1 1,122 19-16,107-1 16,-106 1-16,88 17 15,18-19-15,-212 2 0,195 17 16,16-17-16,-105 17 15,18-18-15,87 18 16,1 0-16,0-18 0,17 18 0,-17 0 16,18 0-16,-1 0 0,-88-18 15,89 18-15,-1 0 0,0 0 16,-69 0-16,87 0 16,-18 0-16,-34 0 0,34 0 15,1 0-15,-18 0 0,0 0 16,-36 18-16,70-18 15,-51 18-15,69-18 16,-52 18-16,0-18 16,17 17-16,-17-17 15,54 0-15,-37 17 0,-36-17 16,2 19 0,52-2-16,-18-17 0,19 18 0,-1-18 15,-53 17-15,53-17 16,-54 17-16,55-17 0,-18 19 15,-36-2-15,-18 1 16,88-18 0,-33 17-16,16-17 0,-18 19 15,0-2 1,1 0-16,35 1 0,-1-18 16,1 0-16,-35 18 0,34 0 15,18-18-15,-123 34 16,106-34-1,-18 18-15,0-18 16,1 18-16,34-18 16,-35 18-16,0-1 15,18-17-15,-18 17 16,-1 2-16,37-19 0,-36 17 16,35-17-16,-70 35 15,54-35 1,-2 19-16,1-2 15,-18 0-15,18 1 16,16-1-16,2-17 16,-18 19-16,-1-2 0,2-17 15,34 17-15,-36 1 16,1-18 0,18 0-16,-2 18 15,2-18 1,-1 18-16,1-18 31,17-36 0,17 36-31</inkml:trace>
  <inkml:trace contextRef="#ctx0" brushRef="#br0" timeOffset="82510.3">16281 4608 0,'17'0'63,"2"0"-48,-2 0 1,18 0 0,-18 0-16,2 0 15,-2 0-15,0 0 0,19 0 0,-1 0 16,106 0-1,-70 0-15,0 0 0,-1 0 0,141 0 16,-140 0-16,17 0 16,18 17-16,-18-17 0,18 0 15,-36 19-15,18-19 0,-17 0 0,0 17 16,-1-17-16,1 0 0,-18 18 16,-1-18-16,-16 0 0,-1 0 15,18 17-15,-17-17 0,-18 0 0,16 0 16,-16 0-16,0 0 0,0 17 0,-1-17 15,0 0-15,2 0 0,-2 0 16,1 0-16,-1 0 16,0 0-1,2 0 1,-2 0-16,1 0 31,-53 19 47,16-19-62,2 0 0</inkml:trace>
  <inkml:trace contextRef="#ctx0" brushRef="#br0" timeOffset="85081.29">4127 4696 0,'-141'336'15,"141"-284"-15,-17 107 0,17-123 16,0 16-16,17-16 0,2 52 16,-2-52-16,0-2 0,18 1 15,1 1-15,-1-1 0,1-17 16,17 0-16,-1-1 0,1-17 0,71 17 15,-54-17-15,0-17 0,1 17 16,17-17-16,1 17 0,-1-18 16</inkml:trace>
  <inkml:trace contextRef="#ctx0" brushRef="#br0" timeOffset="86198.16">10249 4449 0,'17'-17'16,"0"17"-16,19 0 15,-18 17-15,16-17 16,2 35-16,-1-16 16,18 15-16,-18 2 0,18-1 0,-18 18 15,1-18-15,17 18 0,-18 1 0,1 15 16,-19-33-16,18 17 0,-18-1 16,2 2-16,-2-1 0,1 106 15,-36-107-15,-18 54 16,2-35-16,-1-19 0,-1 1 15,-17 1-15,1-20 0,-55 54 16,55-52-16,16-1 0</inkml:trace>
  <inkml:trace contextRef="#ctx0" brushRef="#br0" timeOffset="88159.85">14623 12475 0,'18'0'0,"-72"18"16,20 0-1,15-18-15,2 0 16,-1 17-16,1-17 0,-19 17 16,19-17-1,51 36 17,2-1-17,-18-35-15,-1 0 0,2 17 16,-2-17-16,0 19 0,-17-2 15,0 1-15,-17-1 16,0 0-16,-2-17 16,2 19-16,-1-2 0,1-17 15,-2 18-15,2-18 0,-18 17 16,18-17-16,-2 0 0,2 19 16,0-19-16,-1 0 15</inkml:trace>
  <inkml:trace contextRef="#ctx0" brushRef="#br0" timeOffset="88494.47">14763 12599 0,'-34'17'0,"34"0"0,-18-17 16,18 19-16,0-2 0,0 1 15,0-1-15,18-17 0,-18 17 16,17 2-16,0-2 16,2-17-16,-2 0 0,1 0 0,-1 18 15,2-18-15,-2 0 0,-17-18 16,17 18-16,1 0 0,-1 0 0,-17-17 16,19-2-16,-19 2 15,0 0-15,-19-1 16,19 1-16,-17 17 0,-1-19 15,1 19-15,0 0 16,-2-17-16,2 17 0,-1 0 0,1 0 16,-2 17-16,2-17 0,0 0 15,-1 19-15,0-19 0,0 17 16</inkml:trace>
  <inkml:trace contextRef="#ctx0" brushRef="#br0" timeOffset="88736.25">15222 12599 0,'0'0'0,"0"17"16,0 19-1,0-19-15,-17-17 16,17 18-16,0-1 0,-18 19 0,1-19 15,17 1-15,-19-1 0,19 2 16,-17-2-16,0 0 0,-1 1 16,18 0-16,-18 0 0,0-18 15,18 17 1</inkml:trace>
  <inkml:trace contextRef="#ctx0" brushRef="#br0" timeOffset="88858.92">15029 12687 0,'0'0'0,"-18"0"0</inkml:trace>
  <inkml:trace contextRef="#ctx0" brushRef="#br0" timeOffset="89003.94">15470 12881 0,'17'0'16,"-17"-18"-1,-17 0 1</inkml:trace>
  <inkml:trace contextRef="#ctx0" brushRef="#br0" timeOffset="95484.39">27323 5579 0,'-18'17'16,"71"-17"15,18-17-15,-37 17-16,2 0 0,35-19 15,0 19-15,34-17 0,-17 17 0,36-18 16,-19 18-16,19-17 0,-1 17 15,1-17-15,159 17 0,-161-19 16,20 19-16,-18 0 0,-19 0 0,19 0 16,-36 0-16,0 0 0,141 0 15,-194 0 1,-16 0-16,-2 0 0,0 0 0,1 0 16,0 0-16,0-17 15,-1 17 1,-52-18 31,17 36-32</inkml:trace>
  <inkml:trace contextRef="#ctx0" brushRef="#br0" timeOffset="99403.63">19633 6884 0,'34'0'15,"-16"0"-15,18-19 16,-2 19-16,2 0 0,-1 0 0,177-17 16,-124 0-16,229-1 15,-210 0 1,-2 18-16,18-18 0,1 18 0,0 0 15,-1-17-15,1 17 0,0 0 16,16 0-16,1 0 0,-17 0 0,17 0 16,-18 0-16,18 0 0,1 17 0,-20-17 15,20 0-15,-1 0 0,0 18 16,-17-18-16,16 0 0,-16 0 0,0 18 16,123-18-16,-142 0 15,19 18-15,-18-18 0,-18 0 16,106 0-16,-123 0 0,0 0 15,-1 0-15,1 0 0,-2 0 0,-15 0 16,-18 0-16,16 0 0,-16 0 0,-2 0 16,2 0-16,-1 0 0,-18-18 15,19 18-15,-18 0 0,-1 0 0,2 0 16,-2 0-16,0 0 0,1 0 16,-1-18-16,2 18 15,-2 0-15,-17-18 0,17 18 16,1-17-1,-18 0 1,18-1 0,-18 0-16,18-34 15,-18 33 1,0 2-16,0-1 0,17 1 16,-17-19-16,0 1 0,17-1 15,-17 19-15,0-18 0,18-18 0,-18 0 16,18 1-16,-18-2 0,0 18 0,18 2 15,-18-1-15,0-1 0,0 1 16,17-1-16,-17 2 0,0-2 0,17-16 16,-17 33-16,0 2 0,0-1 15,0 1-15,0-2 16,0 2-16,0 0 0,0-1 16,0 1-16,0-2 0,-17 2 31,0 17-16,-1-17 1,0 17-16,0 0 0,1 0 16,0 0-16,-19 0 0,18 0 15,1 0-15,-19 0 0,19 0 0,-18-18 16,-1 18-16,1 0 0,-1 0 16,2 0-16,-20 0 0,20 0 0,-20 0 15,1-18-15,1 18 0,-19 0 0,-106 0 16,125 0-1,-1 0-15,-18 0 0,0-18 16,1 18-16,-1 0 0,2 0 0,-2 0 0,0 0 16,-17 0-16,18 0 0,-1 0 15,-17 0-15,17 0 0,-17 0 0,-18 0 16,35 0-16,-34 18 0,17-18 16,17-18-16,-17 36 0,17-18 15,-17 0-15,18 0 0,-20 0 0,21 0 16,-20 0-16,19 0 0,-19 0 0,18 0 15,2 0-15,-2 0 0,-18 0 16,20 0-16,-2 0 0,0 0 0,1 0 16,-18 18-16,17-18 0,0 0 0,1 0 15,-1 0-15,18 0 16,-123 0-16,122 0 16,20 0-16,-20 0 0,1 0 0,18 0 15,-18 0-15,1 0 0,16 0 16,-16 0-16,16 0 0,-17 0 0,18 0 15,-1 0-15,1 0 0,18 0 0,-19 0 16,1 0-16,-1 0 0,2 0 16,-2 0-16,-16 0 15,-2 0-15,37 0 0,-19 0 16,19 0-16,-18 0 0,18 0 0,-19 0 16,18 0-16,-18 0 0,19 18 15,-18-18-15,17 0 0,0 0 0,-16 0 0,16 0 16,-18 0-16,19 17 15,0-17-15,-19 0 0,18 0 0,1 0 16,-19 17-16,19-17 0,-1 0 0,-18 0 16,-16 19-1,34-19-15,0 0 0,1 17 0,0-17 16,-2 0-16,2 0 0,-1 0 0,18 18 16,-17-18-16,0 0 15,-2 0-15,2 0 16,-1 17-16,1-17 15,-2 17 1,2 2 15,17-2-31,0 1 0,0-1 16,0 2-16,0-2 0,-17 0 16,17 18-16,0 1 0,0-1 0,0 18 15,0 0-15,0 53 16,0-53-16,17 0 0,-34-1 0,17-16 15,0-1-15,0 18 0,0-18 16,17 1-16,-17-19 0,0 18 16,0 18-16,0-17 0,0-18 0,0-1 15,0 0-15,-17 19 0,17-18 16,0-1-16,0 0 16,0 2-16,0-2 31,0 1-16,17-18 1,0 0 0,2-18-16,16 18 0,-18 0 15,19-17-15,-1 17 0,1 0 0,-2-19 16,20 19-16,-1-17 0,16 17 0,-15 0 16,-1-17-16,0 17 0,17-18 15,54 0-15</inkml:trace>
  <inkml:trace contextRef="#ctx0" brushRef="#br0" timeOffset="101103.93">25559 9071 0,'0'36'15,"0"-19"-15,0 0 0,0 18 0,-18 1 16,18-1-16,0 1 0,0 34 15,0-35-15,0 18 0,0-18 16,0-16-16,0 15 0,-18 1 16,18 1-16,0-19 0,18 1 0,-36 18 15,18-19-15,18-17 0</inkml:trace>
  <inkml:trace contextRef="#ctx0" brushRef="#br0" timeOffset="101460.19">25330 9195 0,'88'-71'15,"-53"54"-15,1 17 0,-2-19 16,37 19-16,-35 0 0,33 19 16,-15-2-16,-37 18 0,54 35 31,-71-16-31,17-20 0,-34-16 0,17 18 16,0-2-16,-18 2 0,1-1 15,-36 36-15,35-35 16,1-19-16,-2 0 0,-15 19 0,16-18 15,1-18-15,-2 17 0,2 0 0,0-17 16,17 19-16,-18-19 16</inkml:trace>
  <inkml:trace contextRef="#ctx0" brushRef="#br0" timeOffset="101822.07">25929 9617 0,'36'-34'16,"-72"68"-16,89-87 0,-53 36 15,17-1-15,2 1 0,-19 0 16,17-2-16,-17 2 0,0-18 15,18 16-15,-18 2 0,-18 0 16,18-1 0,-17 18-16,-2 18 15,2-1 1,17 0-16,-17 2 0,-1-2 16,18 1-16,0-1 0,0 2 0,0-2 0,0 0 15,0 1-15,18-1 16,-1 2-16,0-2 15,2-17-15,-2 0 0,1 0 0,-1-17 16,19 17-16</inkml:trace>
  <inkml:trace contextRef="#ctx0" brushRef="#br0" timeOffset="102387.39">26546 9317 0,'-17'0'0,"-1"0"15,-52 18 1,52 0 0,1 0-16,17-1 0,-19-17 0,19 17 15,-17 2-15,17-2 0,0 18 16,0-16 0,0-2-16,17-17 0,2 17 15,-2-17-15,18 0 16,-16-17-16,-2 17 0,0 0 15,1-17-15,-1 17 0,2-19 16,-2 19-16,-17-17 0,17 17 16,1-18-16,0 1 15,-18-2-15,18 19 0,-18-17 0,17 0 0,-17-19 16,17 18-16,-17 1 0,0-18 16,19 17-16,-19-17 0,0 18 15,17-2-15,-17-16 0,0 18 16,0 0-16,0-2 0,0 2 0,18-1 15,-53 53 17,35 18-17,-19-35-15,19 18 16,0 16-16,0-34 0,0 0 16,0-1-16,19 0 15,-19 1-15,17-18 0,1 0 16,-1 18-1,0-18 1,2 0-16,-19 18 16,17-18-16,-17 17 15,0 0 1,0 2 0</inkml:trace>
  <inkml:trace contextRef="#ctx0" brushRef="#br0" timeOffset="102509.95">26917 9212 0,'-18'0'0,"18"-17"32</inkml:trace>
  <inkml:trace contextRef="#ctx0" brushRef="#br0" timeOffset="102802.77">27023 9283 0,'18'0'0,"-36"0"0,70-36 16,-33 18-1,-19 1 1,17 17-16,-53 17 31,36 1-31,-17-18 16,17 18-16,-17 0 0,17-1 15,0 0 1,0 1-16,17-18 0,0 0 16,2 18-16,-2-18 15,1 0-15,-1 0 0,19 0 16,-19-18-16,18 18 0,-16 0 0,15 0 15</inkml:trace>
  <inkml:trace contextRef="#ctx0" brushRef="#br0" timeOffset="103407.01">28099 9036 0,'-18'281'16,"18"-193"0,0 212-16,-18-88 15,18-106-15,0 0 0,-17 0 16,17-18-16,0 0 0,0-18 16,0 1-16,-17-18 0,17 1 0,0-2 0,0 1 15,-19-17-15,19-19 0</inkml:trace>
  <inkml:trace contextRef="#ctx0" brushRef="#br0" timeOffset="104560.81">28239 9017 0,'71'-17'0,"-35"0"0,-143 51 0,249-68 0,-89 16 16,18 0-16,-1 0 0,18 1 16,106-36-16,-88 35 0,0-16 15,0 15-15,0-16 0,-1 18 0,-17-2 16,19 2-16,-2-18 0,-17 18 16,-17-2-16,-1 19 0,-16-17 15,34 0-15,-52 17 0,-19 0 16,18 0-16,-18 0 0,2 0 15,-2 17-15,0-17 0,-17 17 16,18 2-16,-18-2 0,18 1 0,-18 16 16,18-15-16,-18 16 0,17 18 15,-17 0-15,17-1 0,1 2 0,-18 16 16,18 1-16,0 0 0,16 17 16,-15-18-16,-2 18 0,1-17 0,-1 17 15,19 0-15,-19 0 0,1 0 0,-1 0 16,2 1-16,-2-1 0,0 0 15,1-17-15,-18 17 0,18 0 16,0-17-16,-18 17 0,17 0 0,-17-18 16,17 18-16,-17 2 0,19-21 0,-19 20 15,17-18-15,-17-2 0,0 2 16,0 0-16,18-1 0,-18-16 0,0 16 16,0 1-16,0 0 0,0-19 0,0 18 15,0-16-15,0 16 0,0 36 16,0-36-16,0-16 15,0-1-15,0-1 0,0 1 0,0 1 16,0-20-16,0 20 0,0-20 0,0 2 16,-18-1-16,36 1 0,-18 16 15,0-16-15,0-19 0,0 18 0,0-16 16,0 15-16,0 2 0,0-18 16,0-1-16,0 18 15,0-17-15,0 0 16,-18-1-16,1-17 15,-2 17-15,2-17 16,0 0-16,-1 0 0,0 0 0,-17 0 16,-1 0-16,1 0 0,-35-17 0,16 17 15,-16 0-15,-89-17 16,19-1-16,33 18 16,37 0-16,-36 0 0,1 0 0,-2 0 15,19 0-15,-17 0 0,-2 0 16,-86 0-16,105 0 0,17 0 15,1 18-15,-18-18 0,17 0 0,0 0 16,1-18-16,16 18 0,20 0 16,-37-18-16,35 18 0,1 0 15,18-18-15,-19 18 0,19-17 16,-1 0-16,18-1 0,-17 0 0,-2 0 16,19 1-16,0 0 0,0-19 15,0-52-15,0 34 0,0-16 16,19 0-16,-19-19 0,17-16 15,1 17-15,16-124 0,2-71 16,-18 143-16,-1 33 16,2 2-16,-2 17 0,0-19 0,1 19 15,0 0-15,0 0 0,-1 18 0,0-54 16,1 72-16,0-36 16,0 52-16,-18 18 15,17-35-15,0 18 0,-17 17 0,19 0 16,-19 1-16,17 0 0,1-1 15,-1 0-15,0 0 0</inkml:trace>
  <inkml:trace contextRef="#ctx0" brushRef="#br0" timeOffset="105118.96">28451 9952 0,'388'-88'16,"-193"36"-16,-107 16 15,17 19-15,-17-18 0,19 16 16,-2-15-16,107-20 0,-18 20 15,-105 15-15,-18 19 16,-19-17-16,18 17 0,36 0 16,-88 0-16,0 0 15,-18 17-15,-18 2 16,0-2-16</inkml:trace>
  <inkml:trace contextRef="#ctx0" brushRef="#br0" timeOffset="105364.33">28575 10535 0,'494'-88'15,"-406"70"-15,106 0 0,-106 0 0,-17 18 16,0-17-16,-1 17 0,1 0 16,-19-17-16,1 34 0,-17-17 0,-1 0 15,-18 0-15,-17 17 0,18-17 16</inkml:trace>
  <inkml:trace contextRef="#ctx0" brushRef="#br0" timeOffset="105596.56">28593 11293 0,'88'-17'16,"-52"-2"-16,-160 55 0,318-72 0,-142 19 15,36 0-15,2-1 0,15 1 0,-17-2 16,0 2-16,0 0 0,89-19 15,-106 36-15,-2 0 0,-15-18 16,-1 18-16,-18 18 0,-17-18 16,17 0-16,-35 18 0</inkml:trace>
  <inkml:trace contextRef="#ctx0" brushRef="#br0" timeOffset="105818.79">28627 12123 0,'124'0'16,"-70"-19"-16,-232 38 0,444-38 0,-90 2 16,-88-1-16,18 18 0,-18-17 0,0 17 15,0-17-15,0 17 0,-17-19 16,0 2-16,-1 17 0,-16-18 15,-2 18-15,-16-17 0,-2-2 0,2 2 16,-18 0-16</inkml:trace>
  <inkml:trace contextRef="#ctx0" brushRef="#br0" timeOffset="106388.03">28857 9176 0,'18'300'0,"-18"-176"16,18 17-16,-18 18 0,17 17 0,0 0 15,-17 1-15,19 17 0,-19-17 0,17 175 16,-17-193-16,-17-1 16,17-34-16,0-1 0,-19-16 0,2-2 15,17 2-15,-17-2 0,-19-17 16,1 88-16,0-87 0,17-19 16,0 0-16,-16 1 0</inkml:trace>
  <inkml:trace contextRef="#ctx0" brushRef="#br0" timeOffset="111890.99">30815 8824 0,'18'-17'0,"-18"-2"78,17 19 16,-52 19 156,35-2-235,-17 0-15,-2 37 16,19-37-16,0 0 0,-17 1 15,17 0-15,0 0 0,0-1 0,0 0 16,0 2-16,17-19 0,-17 17 16,19 1-1,-19-1-15,17-17 0,1 0 0,-1 0 0,19 0 16,-36-17-16,17 17 16,1-18-16,18 1 0,-19-2 15,-17 2-15,17 17 0,-17-17 0,0-1 16,0-18-1,0 19-15,-17-18 16,0 17-16,-2 0 16,2 18-16,-1 0 0,18-17 15,-17 17-15,0 0 0,-2 17 16,2-17 0</inkml:trace>
  <inkml:trace contextRef="#ctx0" brushRef="#br0" timeOffset="112123.22">31221 8753 0,'0'-17'0,"0"34"0,17-34 16,-17 34-1,0 37 1,0-37-16,0 0 15,-17 37-15,-1-20 16,18-16-16,-17 0 0,17 0 16,0-1-16,-19 0 0,19 2 0,0-2 15,-17 1-15,17-1 16,-17 2-16</inkml:trace>
  <inkml:trace contextRef="#ctx0" brushRef="#br0" timeOffset="112262.17">31079 8877 0</inkml:trace>
  <inkml:trace contextRef="#ctx0" brushRef="#br0" timeOffset="112410.73">31397 9017 0,'18'-17'15,"0"17"1,-54 71 0,1-125-16,52 54 0,1 0 0</inkml:trace>
  <inkml:trace contextRef="#ctx0" brushRef="#br0" timeOffset="113645.39">31098 9864 0,'0'36'0,"0"-19"16,0 18-1,0-16-15,0-2 0,-19 0 16,19 19-16,0-18 0,0-1 16,0 0-16,0 2 0,19-19 15</inkml:trace>
  <inkml:trace contextRef="#ctx0" brushRef="#br0" timeOffset="113938.93">31274 10005 0,'-36'36'31,"36"-18"-31,0-1 16,19 0-16,-19 2 15,17-19-15,0 0 0,-17 17 16,18-17-16,0 0 0,-36 18 0,54-36 16,-36 1-16,17 17 0,0-19 15,-17-15 1,0 16-16,-17 0 0,17 0 16,0 1-16,-17 0 0,-1-2 15,0 2 1,0 17-16,1 17 0,0 2 15,17-2 1</inkml:trace>
  <inkml:trace contextRef="#ctx0" brushRef="#br0" timeOffset="114803.11">30957 10781 0,'17'0'16,"18"19"-1,-53 33 1,18-35-1,-34 19 1,15-18-16,19-1 0,-17-17 0,17 19 0,-18-19 16,18 17-16,-17 0 15,34-17 17,37 0-17,-37-17-15,0 17 0,1 0 16,0-17-16,34-2 15,-33 2-15,16 17 0,-18-18 0,0 1 16,2 17-16,-19-19 0,17 19 16,1 0-16,-18-17 0,17 17 0,-17 17 62,0 2-46,0-2-16,19 1 15,-2-18 1,0-18 0,1 18-16,-18-17 15,0-2 1,-18-15 0,1 34-1,-19 0-15,19 17 16,-1-17-16,18 17 0,-17-17 15</inkml:trace>
  <inkml:trace contextRef="#ctx0" brushRef="#br0" timeOffset="116006.72">31115 11576 0,'-17'52'15,"17"-35"1,0 2-16,0 16 15,0-18 1,0 2 0,0-2-16,0 0 15,0 1-15,-19 18 16,2-19 0,53-34 15,-19 17-16,18-36-15,-18 36 16,-17-18-16,19 18 0,-19-17 0,17 17 16,1 0-1,18 0 1,-36 17 0,17-17-1,18 0-15,-35-17 16,18 0-1,0-2 1,-18 2-16,0-1 16,-18 1-1,0 52 1,0-18 0</inkml:trace>
  <inkml:trace contextRef="#ctx0" brushRef="#br0" timeOffset="116241.93">31379 12387 0,'-17'0'16</inkml:trace>
  <inkml:trace contextRef="#ctx0" brushRef="#br0" timeOffset="116368.12">31345 12581 0,'0'18'16,"0"-36"-16,-18 36 0,18-1 15,0 0 1</inkml:trace>
  <inkml:trace contextRef="#ctx0" brushRef="#br0" timeOffset="117453.96">31221 13163 0,'0'36'0,"0"-19"15,0 0-15,0 1 0,-18 18 16,18-19-16,0 0 0,0 19 15,0-18-15,0-1 0,0 0 16,0 2-16,0-2 0,0 1 0</inkml:trace>
  <inkml:trace contextRef="#ctx0" brushRef="#br0" timeOffset="117993.91">31379 13339 0,'0'36'31,"0"-19"-31,18 0 16,0 2 0,0-2-16,-1-17 15,0 0-15,2 0 16,-19-17-1,17 17-15,-34-19 0,17 2 16,-19 0 0,2-1-1,17 0-15,0 0 32,36 1-17,-19 17-15,1 0 16,-18 17-16,36-17 15,-19 0-15,-17 18 16,17-18-16,1 0 0,-18 18 16,17-18-16,2 0 0,-2 18 15,0-18-15,1 0 16,0 0-16,0-18 31,-1 0-31,-17-17 16,0 18-1,-17-1-15,-1 0 16,0 0-16,-34 1 16,33 17-1,2-17 1,-1-2-16</inkml:trace>
  <inkml:trace contextRef="#ctx0" brushRef="#br0" timeOffset="121742.82">31327 8419 0,'35'0'16,"-18"-19"0,1 2-16,-36 34 0,36-17 0,0 0 15,-36 0-15,36 0 0,0 0 0,-1-17 16,0 17-1,-34 0-15,34 0 16,-17-18-16,0 36 0,19-18 0,-2 0 16,18-18-16,-70 53 0,53-35 15,-1 19 1,2-19-16,-19 17 0,17-17 0,-17 17 16,17-17-16,-34 18 0,34-18 0,-17 17 0,18 2 15,-1-19-15,-34 17 0,34-17 0,-17 17 0,19 1 16,-2-18-16,-34 36 0,34-19 0,0 19 15,19-36-15,-72 35 0,54-18 0,0-17 0,-36 36 16,18-19-16,18 18 0,-18-16 0,0 15 16,18-34-16,-18 36 0,0-18 0,0 16 0,0-16 15,17-18-15,-17 36 0,0-2 0,0 2 16,0-1-16,0-16 0,17 15 0,-17 1 16,19-35-16,-38 19 0,19 15 0,19 2 15,-2-36-15,-34 35 0,17 0 0,0 1 16,17-2-16,1-34 0,-36 36 0,18-1 0,18 18 15,-18-18-15,17-16 0,-17 15 0,0 2 0,17-1 16,2-35-16,-19 88 0,17-88 0,-34 36 16,34 16-16,18-33 0,-52-2 0,17 0 0,36-17 0,-55 35 15,19 1-15,0-1 0,19-35 16,-19 36-16,0-19 0,0 19 0,0-1 0,52-35 16,-87 34-16,35 2 0,35-36 0,-70 35 0,35 1 0,17-36 15,-34 35-15,52-17 0,-70 0 0,52 16 16,-17 2-16,0-1 0,35-18 0,-52 37 15,34-54-15,-34 17 0,17 19 0,53-19 0,-89-17 0,36 35 16,0-16-16,53-19 0,-87 17 0,34 0 16,0 1-16,17 0 0,0-18 0,-34 18 0,17-1 15,17-17-15,-17 17 0,0 2 16,18 16-16,-18-53 0,0 36 0,18-1 16,-18 0-16,18 2 15,-18-2-15,17 1 16,19-18-16,-72 0 15,36 17-15,17 2 0,-17-2 32,19-17-17,-19 17 1,-19 1 0,2-18-1,0 17-15,-1-17 16,0 0-16,-17 19 0,-1-2 15,1 0-15,-70 1 0,52 0 0,18 0 16,-18-1-16,-1 0 0,20 2 16,-2-19-16,1 17 0,-36 18 15,54-35-15,-2 0 16,19 17-16</inkml:trace>
  <inkml:trace contextRef="#ctx0" brushRef="#br0" timeOffset="124115.39">25347 11893 0,'-17'0'32,"-2"18"-17,2-18 16,0 0 79,-1 0-79,0 0-15,18 17-1,0 0 1,18 19 0,0-18-16,-1-1 15,0 2-15,19-2 0,-18 0 0,-1 18 16,2-16-16,-2-2 0,0 0 15,1 1-15,-18 0 0,17 0 0,-17-1 16,0 0-16,0 2 0,-17-2 16,17 1-16,-35 16 15,-1-34 1,19 0 0,-1 0-16,1-17 15,17 0-15,0-1 16,17 18-1,-17-17-15,18-2 0,-1 2 16,19-36-16,-1 18 16,-18-1-1,-17 19-15,0-1 0,19 1 0,-38 0 16,19-2-16,0 2 0,0-1 0,-17 1 16,-1-2-16,1 2 15,0 0-15,-2 17 16,2 0-16,-18-18 0,16 18 0,2 0 15,0 0 1,-1 0-16,18 18 16,18-18-1,-1 0 1</inkml:trace>
  <inkml:trace contextRef="#ctx0" brushRef="#br0" timeOffset="124483.35">25541 11893 0,'0'18'0,"0"-1"0,-18 0 16,18 2-16,0-2 0,0 18 15,0-16 1,0-2-16,0 0 0,0 1 0,0-1 16,18 2-16,-18-2 0,18 0 0,0 1 15,-18 0-15,17-18 0,0 0 16,2 0-16,-2 0 15,1 0-15,-1 0 16,0 0-16,2-18 16,-19 0-16,0-16 15,0 15-15,-19 2 16,19-1-16,-17 18 16,17-17-16,-17 0 0,-1-2 15,1 19-15,17-17 0,-19 17 16,2-18-16,0 18 0,-1 0 15,18-17-15,-18 17 16,0 0 0</inkml:trace>
  <inkml:trace contextRef="#ctx0" brushRef="#br0" timeOffset="124692.35">25965 11805 0,'17'-18'0,"0"36"31,-17 0-31,0 16 16,0-16-16,0 0 16,0 0-16,0-1 0,0 0 15,0 2-15,0-2 0,0 1 0,-17-1 16,17 2-16,0-2 0,0 0 0,0 1 15,0-1-15</inkml:trace>
  <inkml:trace contextRef="#ctx0" brushRef="#br0" timeOffset="124837.85">25699 11928 0</inkml:trace>
  <inkml:trace contextRef="#ctx0" brushRef="#br0" timeOffset="124999.82">26194 11981 0,'0'0'0,"17"18"47</inkml:trace>
  <inkml:trace contextRef="#ctx0" brushRef="#br0" timeOffset="125629.18">25541 12633 0,'70'19'0,"-34"-19"16,-18-19-16,16 19 0,2 0 0,-1-17 15,177-54 1,-176 54-16,16 0 0,1-19 16,1 18-16,-20 1 0,20-19 0,-20 19 15,2-18-15,-1 16 0,-18-15 16,19 16-16,-18-18 0,-1 2 0,2-2 15,-19 1-15,17-1 0,-17 1 16,17-18-16,-17 1 0,18-72 16,-18 71-16,0 1 0,-18-2 0,1-16 15,0-1-15,-19 0 0,-18 19 16,2-1-16,-1 0 0,0-1 0,-18 20 16,0-20-16,2 37 0,-20-18 15,18 17-15,-17 0 0,0 1 16,0 17-16,17 0 0,1 0 0,-1 17 0,-17 1 15,17 18-15,-17-19 0,18 36 16,-1-18-16,0 18 0,19 1 0,-18-2 16,34 18-16,-16 1 0,16 0 15,1-1-15,16 18 0,2-17 16,17 0-16,17-1 0,-17 18 0,36-17 16,-18 0-16,18-1 0,16-18 0,-16 19 15,16-18-15,1-17 0,18 16 16,-18-16-16,18-1 0,-19-18 0,1 2 15,0-2-15,18 1 0,-19-1 16,36-17-16,-35 0 0,-17 0 16,-1 0-16,18 0 0,-18-17 15,1 17-15,-19 0 0,18 0 0,1-18 16,-19 18-16,18 0 0,-16-17 16</inkml:trace>
  <inkml:trace contextRef="#ctx0" brushRef="#br0" timeOffset="132958.97">30462 12123 0,'19'0'15,"-38"34"17</inkml:trace>
  <inkml:trace contextRef="#ctx0" brushRef="#br0" timeOffset="133092.76">30391 12404 0,'-34'36'15,"-2"-19"1,1 19 0,35-18-16,-17-1 0</inkml:trace>
  <inkml:trace contextRef="#ctx0" brushRef="#br0" timeOffset="133223.22">30374 12757 0,'0'18'16,"0"-1"-16,-17 2 0,17-2 16,-18 0-16,18 19 0,-18-18 15</inkml:trace>
  <inkml:trace contextRef="#ctx0" brushRef="#br0" timeOffset="133348.51">30515 13287 0,'18'34'0,"-18"-16"15,0 0 1,-18 0-16,18-1 16,0 0-16,-17 2 0</inkml:trace>
  <inkml:trace contextRef="#ctx0" brushRef="#br0" timeOffset="137906.87">28451 7677 0,'-17'35'0,"17"1"15,0-19-15,-17 19 0,17-18 0,0 16 16,0-16-16,0 35 16,-18 0-16,18-18 0,0-16 15,0-2-15,18 0 0</inkml:trace>
  <inkml:trace contextRef="#ctx0" brushRef="#br0" timeOffset="138227.29">28698 7748 0,'0'0'0,"0"53"31,36-1-15,-1-34 0,-17 0-16,0-18 15,-1 0-15,0 0 16,1-18 0,-18 0-16,-18 1 15,18 0-15,-17-1 0,17 0 16,-17 0-16,-1 1 0,0 0 15,0 17-15,1 0 16,17-19-16,-17 19 0,-2 0 0,2 0 16</inkml:trace>
  <inkml:trace contextRef="#ctx0" brushRef="#br0" timeOffset="138659.91">29139 7448 0,'18'53'0,"-18"-18"15,-18 1-15,18 16 0,0 1 16,0 1-16,-17 51 16,0-34-16,17-18 0,0-1 15,0 1-15,0-18 0,0 1 0,0-1 16,0-17-16,0 34 15,0 2-15,0-37 16,0 0-16,0-51 31,0 16-31,0-18 0,17-34 16,0 18-16,1-2 16,0 1-16,0 1 0,16-37 15,2 54-15,-18 0 0,-1-1 16,0 19-16,2 0 0,-2 17 15,1-19 1,-1 38-16,-34-2 16,17 0-16,-18 1 0,1 18 15,-2-19-15,-33 36 0,34-35 16,0-1-16,-16 19 0,34-19 16,-18 1-16,18-1 15,18-17 1</inkml:trace>
  <inkml:trace contextRef="#ctx0" brushRef="#br0" timeOffset="139535.28">29722 7660 0,'-36'0'16,"19"0"-16,-1 17 0,1 1 15,-2-18-15,19 17 0,0 2 16,-17-2-16,17 0 0,-17-17 16,17 18-16,0 0 0,17-18 15,0 18 1,-17-36-16,36 18 16,-36-18-16,18 18 0,-1-18 0,0 1 15,2 0 1,-2 17-16,1-19 15,-1 19-15,2 0 16,-19 19-16,17-2 16,-17 0-16,0 1 15,0 0-15,17-18 0,-17 18 16,0-1-16,0 0 16,18 1-1,0-53 1,-18 18-1,18 17-15,-18-18 16,17-18-16,0 19 16,19-19-16,-36 19 0,18-1 15,16-35-15,-15 36 16,16-37-16,-18 20 16,2 16-16,15-35 0,-16 0 15,-1 35 1,-17 1-16,19 0 15,-2 51 17,-17-16-32,0 18 0,0-2 15,-17-16-15,17 18 0,0-19 0,0 19 16,-19 16-16,19-35 16,0 37-16,-17-18 15,-1-19-15,18 0 16,-17-17-16,0 18 15,-2-36 1,19 1 0,19 0-16,-2-2 15,0 2-15,1-1 16,18-18-16,-2 2 16,2-1-16,-18 16 0,-1 2 15,0 17 1,1-17-16,0 17 15,0 0 1,-18 17 0,0 0-16,0 2 15,-18 16-15,0-18 16,18 0-16,-18 2 16,1-19-1</inkml:trace>
  <inkml:trace contextRef="#ctx0" brushRef="#br0" timeOffset="140695.85">3686 11611 0,'-17'34'16,"-1"-15"-16,18-2 0,-17 18 15,0-16-15,-2 15 0,2 20 0,-18 16 16,16-18-1,2-33-15,17-2 0,-17 1 16,17-1-16,-18 2 0,18-2 16,18 0-1,-18 1-15,17-18 0,0 0 16,2 0-16,16 0 0,1 0 16,-2 0-16,37-35 15,-18 18-15,-18-2 0,-18 19 16,37-35-16,-37 35 15,0-17-15,-17-2 0,19 2 16</inkml:trace>
  <inkml:trace contextRef="#ctx0" brushRef="#br0" timeOffset="140896.16">3617 11540 0,'-19'36'16,"38"-19"-16,-19 18 15,17 1-15,0-1 16,1 18-16,-1 0 0,19 53 16,-1-18-16,-17 0 15,0-35-15,-1-18 16,0 18-16,1 0 16,0-18-16,0-35 0,-18 17 15</inkml:trace>
  <inkml:trace contextRef="#ctx0" brushRef="#br0" timeOffset="141376.03">4251 11469 0,'-17'0'16,"17"18"-16,0 0 16,0 0-16,0 16 0,0 2 0,17 16 15,1 2-15,-1-1 0,-17 0 16,17 17-16,2-17 0,-2 0 0,18 53 16,-16-36-16,-2-16 15,0-37-15,-17 0 16,0 19-16,18-36 15,-18 18-15,-18-53 16,18-18 0,0-18-16,0 35 15,0-16-15,0-1 0,18-35 16,18 17-16,-36 54 16,17-1-16,0 0 0,-17 0 15,36 18-15,-18 18 16,-18 0-16,0 0 15,-18-1-15,0 54 16,0-54-16,18 19 0,-17-19 0,-18 37 16,17-2-16,18-35 15,-18-17-15,18 19 16</inkml:trace>
  <inkml:trace contextRef="#ctx0" brushRef="#br0" timeOffset="142304.37">4727 11557 0,'-70'88'16,"70"-52"-1,0-1-15,0-16 0,17 15 16,2-16-16,-19 0 16,17 0-16,0-18 15,1 0 1,-18-18-16,17 18 16,-17-18-16,19-17 15,-2 18-15,-17-2 16,17 19-16,-17-17 0,18 17 15,0-18-15,0 18 16,-1 0-16,-17 18 0,17-1 16,1 2-1,0-19-15,-18 17 16,18-17-16,-1-17 31,-17-2-15,0-16-16,17-1 15,-17 19-15,19-18 16,-19 18-16,17-2 16,-17-15-16,18 16 0,-1-35 15,-17 18-15,19-1 0,-19 2 16,0 15-16,17-33 0,-17 16 16,0-16-16,0 33 15,-17 2-15,17-18 0,34 53 31,-34-1-15,18 0-16,-18 2 16,0 16-16,36 53 0,-19-71 15,0 19-15,1-1 0,-18-17 16,18 17-16,-18-18 0,0 1 0,18 18 16,-18-2-1,0 2-15,-18-18 16,0-1-1,0-17-15,1-17 16,17-1 0,0 1-1,0-2-15,17-15 0,-17 16 16,18 0-16,0 0 0,0-16 16,-18 16-16,34-18 0,2 2 15,-36 15-15,18 19 16,-18-17-16,17 17 15,0 17 1,2-17-16,-19 19 0,17-2 16,-17 0-1,0 1-15,18 0 0,-18 0 16,0-1-16,0 0 16,0 1-16,0 0 0,0 17 15,-18-18-15,18 2 16,-17-2-16</inkml:trace>
  <inkml:trace contextRef="#ctx0" brushRef="#br0" timeOffset="142891.54">4198 12633 0,'388'-140'16,"-317"104"-16,17 2 15,0-2-15,0 1 0,-18-18 0,108-35 16,-108 52-16,1-16 0,-2-2 0,2 20 15,-18-20-15,1 1 16,34-35-16,-35 0 16,-36 52-16,18-52 0,-18 36 15,-17-19-15,0 18 0,0 0 16,0-18-16,-17 0 0,0 2 16,-18-20-16,-1 18 0,-52-88 0,17 54 15,1 17-15,-1 0 0,-17 17 16,0 18-16,17 0 0,-34 1 0,-90-19 15,90 54-15,-2-2 0,-15 19 16,-2 0-16,-123 19 16,106-2-16,-159 71 0,141-35 15,18 18-15,18 17 0,-18 0 16,35 0-16,-18 17 0,-122 266 16,175-247-1,18 17-15,18-1 0,16-16 0,2 106 16,34-125-16,2 2 0,33-2 15,1 2-15,18-19 0,122 70 16,19-70-16,-70-53 0,-18-16 16,-2-2-16,20-17 0,34-17 15,1-2-15,-18 2 0,-1-18 16,1 16-16,53-50 0,-107 33 16,54-35-16</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2.273"/>
    </inkml:context>
    <inkml:brush xml:id="br0">
      <inkml:brushProperty name="width" value="0.025" units="cm"/>
      <inkml:brushProperty name="height" value="0.025" units="cm"/>
      <inkml:brushProperty name="ignorePressure" value="1"/>
    </inkml:brush>
  </inkml:definitions>
  <inkml:trace contextRef="#ctx0" brushRef="#br0">25 5,'-2'3,"-1"-1,0 1,2 0,-2-1,2 1,0 1,-2-1,2-1,-1 2,1-1,1 1,-1 0,-1-1,2 1,0 0,0-2,-1 2,1 0,1-1,-1 1,0 0,2-1,-2 1,1-2,0 2,1-1,-1 1,0-1,1 1,0-2,0 1,0 0,0-1,0 1,1 0,0-1,-1 1,1 0,0-2,-1 2,8 2,-8-4,0 1,0 0,1 0,0-1,-2 0,2 1,-1-2,1 1,0 0,-1-1,1 2,0-2,-1 1,1-1,0 0,-1 0,1 0,1 0,-1 0,-1-1,1 1,0-2,-1 2,1-1,0 0,-2 1,2-2,-1 1,1 0,0-2,-2 2,2-1,-1 1,0-2,-1 2,2-2,-2 1,0 0,2 0,-2-1,1 0,-1 1,-1 0,1 0,1-1,-2 0,1 1,-1-1,1 0,-1-1,0 2,0-4,0 2,0 2,0-1,0-1,0 1,0-1,-1 2,1-2,-1 1,-1 0,2-1,-1 2,0-1,-2 0,2 1,-1-1,1 0,-2 1,2-1,-2 0,1 1,-1 0,2 0,-2-1,0 2,1-1,-2 1,1-2,0 2,1 0,-1 1,-1-2,1 1,1 1,-2-1,1 1,-5-2,-13 1</inkml:trace>
</inkml:ink>
</file>

<file path=ppt/ink/ink11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08:23.914"/>
    </inkml:context>
    <inkml:brush xml:id="br0">
      <inkml:brushProperty name="width" value="0.05292" units="cm"/>
      <inkml:brushProperty name="height" value="0.05292" units="cm"/>
      <inkml:brushProperty name="color" value="#FF0000"/>
    </inkml:brush>
  </inkml:definitions>
  <inkml:trace contextRef="#ctx0" brushRef="#br0">9114 7395 0,'-17'0'16,"0"0"-16,17 18 31,-18-18-31,0 17 31,0-34 1,18-1-17,36 0 1,16 18 0,-16-18-16,-18 18 0,16 0 15,2 0-15,-18 18 0,18-18 0,-19 0 16,18 18-16,-17-18 0,0 18 15,-1 16-15,-17 20 16,-17-37-16,-1 2 0,0 15 0,0 1 16,-16 1-16,-2-19 0,18 19 15,-52-1-15,52-18 16,1 2-16,-2-19 0,2 0 0,0 17 16,-1-17-16,70 0 46,-33 0-46,-2 0 0,89-17 16,-70 17 0,-2 0-16,-16-19 0,18 19 0,-19 0 15,0 0-15,1 0 0,0 0 16,0-17-16</inkml:trace>
  <inkml:trace contextRef="#ctx0" brushRef="#br0" timeOffset="270.43">10102 7606 0,'0'19'0,"0"-2"0,-17 0 15,17 1-15,-17 0 0,-1-18 0,18 35 16,-18-18-16,0 2 0,-16 16 16,15-18-16,2 0 0,-1-17 15,18 19-15,-17-2 0,-2-17 16,19 18-16,-17-18 0</inkml:trace>
  <inkml:trace contextRef="#ctx0" brushRef="#br0" timeOffset="842.9">11337 7483 0,'-35'18'16,"18"-1"-1,-19 2-15,-52 33 16,71-35-16,-2-17 15,-16 19-15,1 15 16,15-16-16,2-18 0,17 18 16,-18-18-16,18 18 15,35-1 1,-16 0-16,15-17 16,20 0-16,-37 0 0,18 0 15,1 0-15,-19 0 0,54 0 16,-37-17-16,-15 17 0,16 0 15,-18 0-15,19-17 0,-19 17 16,19 0-16,-36-18 16</inkml:trace>
  <inkml:trace contextRef="#ctx0" brushRef="#br0" timeOffset="1059.58">11373 7483 0,'-19'0'16,"19"18"-16,-17-18 16,17 17-16,0 2 0,0-2 0,0 0 0,0 1 15,0 18-15,0-19 16,0 18-16,0-17 0,0 53 0,0-54 16,0 18-16,0-18 0,0 19 15,0-18-15,0 18 0,0-19 0,0 0 16,0 1-16,17-18 0,-17 17 15</inkml:trace>
  <inkml:trace contextRef="#ctx0" brushRef="#br0" timeOffset="1415.31">12290 7677 0,'18'18'16,"-18"0"-16,17-1 0,-17 19 15,0-19-15,0 18 0,0-18 16,0 2-16,0-2 16,-35 54-16,17-36 0,18-18 15,-18 2-15,18-2 0</inkml:trace>
  <inkml:trace contextRef="#ctx0" brushRef="#br0" timeOffset="2022.78">13225 7466 0,'0'-19'0,"-36"38"31,19-19-15,-18 17-16,16 1 15,2-1-15,0-17 0,-1 36 16,0-36-16,0 17 0,1 1 16,0-1-16,17 2 15,0-2 1,0 0-16,17-17 0,0 18 15,1-18-15,0 18 16,0-18-16,16 0 16,-15 0-16,16 18 0,-18-18 0,19 0 0,-1 0 15,-18 0-15,19-18 0,-19 18 16,1 0-16,0 0 16,0 0-16</inkml:trace>
  <inkml:trace contextRef="#ctx0" brushRef="#br0" timeOffset="2265.66">13225 7518 0,'-17'53'0,"17"-35"0,0 52 15,-19-52-15,19 18 0,19 17 16,-19-36-16,0 18 0,0 1 16,0-19-16,0 1 15,0-1-15,0 19 0,0-19 16,0 1-16,0-1 0,17-17 16</inkml:trace>
  <inkml:trace contextRef="#ctx0" brushRef="#br0" timeOffset="2471.35">13772 7747 0,'17'0'0,"-17"19"16,17-2-16,2 18 15,-19-18-15,0 2 16,-19-2-16,19 18 16,-17-16-16,17-2 0</inkml:trace>
  <inkml:trace contextRef="#ctx0" brushRef="#br0" timeOffset="3371.59">14706 7430 0,'106'-53'16,"-141"71"15,18-18-31,-2 0 16,-16 18-16,18-18 0,0 17 0,-19-17 15,18 17-15,1-17 0,-2 19 16,2-2-16,0-17 0,-1 0 0,0 18 15,0-1-15,18 2 16,36-2 0,-36 0-16,18-17 15,-1 0-15,19 18 16,-19-18-16,1 17 0,35 2 0,-36-19 16,1 17-16,-1-17 0,2 17 15,-19 1-15,0 0 16,-19 0-1,2-1-15,-1 0 0,1-17 0,-36 36 16,18-36-16,16 18 0,2-18 16,-18 17-16,17-17 0,0 17 15,1-17-15</inkml:trace>
  <inkml:trace contextRef="#ctx0" brushRef="#br0" timeOffset="3602.18">15270 7625 0,'19'0'16,"16"17"-16,-18 0 15,0 1-15,-17 0 0,19 53 16,-19-36-1,0-18-15,-19 19 0,19-19 0,-34 54 16,-1-19 0,16-33-16</inkml:trace>
  <inkml:trace contextRef="#ctx0" brushRef="#br0" timeOffset="4200.96">16065 7413 0,'0'0'16,"-36"17"15,36 0-31,-17 2 0,17 16 0,-18 53 16,18-52-1,0-19-15,18 0 0,-18 19 16,17-18-16,-17-1 0,17 0 0,19 2 15,-18-2-15,-1-17 16,2 0-16,15 0 0,-16 0 16,-1 0-16,2 0 0,-2-17 15,-17-2 1,-17 19 0,17-17-16,-19 17 0,2 0 0,17-17 15,-35 17-15,18 0 16,-2 0-1,2 0-15</inkml:trace>
  <inkml:trace contextRef="#ctx0" brushRef="#br0" timeOffset="4376.09">16594 7713 0,'52'34'16,"-34"-15"-16,-18 33 16,0-35-16,-18 2 0,18-2 15,-17 18-15,17-16 0,-17-2 16,17 0-16</inkml:trace>
  <inkml:trace contextRef="#ctx0" brushRef="#br0" timeOffset="4944.51">17581 7377 0,'19'-18'16,"-19"1"0,17 17-16,0 0 0,18 0 0,-16 0 0,-2-17 15,36 17-15,-35 0 16,-1 0-16,0 0 0,2 0 15,-2 0-15,1 0 0,-1 17 0,0 0 16,-17 1-16,19-18 0,-19 18 16,0 17-16,17-18 0,-17 2 15,0-2-15,0 1 0,0 18 16,18-2-16,-18-16 0,0-1 16,0 2-16,0-2 0,0 0 0,0 1 15,17 0-15,-17 0 16,19-18-16,-19 17 0,17 0 15</inkml:trace>
  <inkml:trace contextRef="#ctx0" brushRef="#br0" timeOffset="5151.78">17688 7677 0,'17'-18'16,"0"1"-16,1 17 0,18-17 16,34 17-16,-35-19 0,1 19 0,-1-17 15,1 17-15,-19 0 0,18 0 16,1 0-16,-19 0 0,18 0 16,1 0-16,-19 0 0,19 0 0,-19 0 15</inkml:trace>
  <inkml:trace contextRef="#ctx0" brushRef="#br0" timeOffset="5385.43">18693 7642 0,'0'17'15,"17"1"1,-17 0-16,18 0 0,-18-1 15,0 0 1,-18 54-16,18-54 16,-17 37-1,17-18 1,17-36-16</inkml:trace>
  <inkml:trace contextRef="#ctx0" brushRef="#br0" timeOffset="6036.66">19504 7342 0,'-18'0'0,"1"0"31,17 17-31,17 19 16,1-18-16,-18-1 15,18 0-15,17 37 0,-35-18 16,17-2-16,-17 1 0,0-16 15,0-2-15,0 0 0,-17 1 16,17 0-16,-17 0 0,-1-1 16,0 0-16,0-17 0,1 0 15,0 0 1,17-17-16,17 0 16,0-1-16,-17 0 0,18 18 15,18-35-15,-19 18 16,0-2-16,19 2 0,-18-18 0,16 18 15,-15-2-15,-2 2 0,1-1 16,-18 1-16,0-2 0,0 2 16,0 0-16,-18-1 15,1 0-15,-2 0 0,2 18 16,0-17-16,-19 17 0,18 0 16,1 0-16,-36 0 0,35-17 15,-16 17-15</inkml:trace>
  <inkml:trace contextRef="#ctx0" brushRef="#br0" timeOffset="9062.94">11249 8330 0,'-17'35'46,"-1"53"-30,0-52-16,0 17 0,1-1 0,0 1 16,-2-18-16,19 18 0,-17 1 15,-1-20-15,1 2 0,17-1 0,-17 1 16,-2-1-16,19-18 16,0 2-16,-17 15 0,17-16 15,-18-18-15,18 17 16</inkml:trace>
  <inkml:trace contextRef="#ctx0" brushRef="#br0" timeOffset="9518.93">11249 8347 0,'-17'0'16,"-19"18"-1,18 0-15,1-18 16,0 18-16,-2-1 0,2 0 15,-18 19-15,18-18 0,-2-1 16,-16 19-16,18-19 16,-2 1-16,2-1 0,0 2 15,-1-2-15,0 0 16</inkml:trace>
  <inkml:trace contextRef="#ctx0" brushRef="#br0" timeOffset="9777.04">11144 8347 0,'0'0'0,"17"-17"0,0 17 16,1 17-16,0-17 15,-18 18-15,18-18 16,-1 18-16,-17 0 0,17-1 0,2 0 16,-2 1-16,1 0 0,-18 0 15,17-18-15,-17 17 0,17 0 16,-17 2-16,19-19 0,-19 17 0,17 1 16,1-1-16</inkml:trace>
  <inkml:trace contextRef="#ctx0" brushRef="#br0" timeOffset="10916.96">10632 9847 0,'0'-18'16,"-18"54"15,18-19-31,0 0 0,0 19 0,0-18 16,0 52-16,0-52 15,0 35-15,0-18 0,0 1 16,0-19-16,18 0 0,-18 19 15,17-18-15,2-1 0,-2 0 16,0-17-16,1 0 0,-1 0 16,19 0-16,-19 0 15,37-34-15,-37 16 0,18 0 0,-17 0 16,0 1-16,16-19 16,-15-16-16,-19 16 15,0 19-15,0-18 0,0-1 0,-19 1 16,2-1-16,0-16 0,-1 16 15,0 19-15,0-19 0,1 19 16,0-1-16,-1 1 0,0-2 0,-17 2 16,18 17-16,-2 0 0,2 0 15,-1 0-15,1 0 16,0 36-16,17 16 16,0-33-16,0-2 15,17 54-15,-17-54 0,35 36 16,-18-18-16,2 1 0,51 52 15,-52-53 1,-1-18-16,0 2 0,1 15 0,0 2 16,0-18-16,-1-1 15,-17 0-15,17 2 0,-17-2 16,19 1-16,-19-1 16,0 0-16,17-17 15</inkml:trace>
  <inkml:trace contextRef="#ctx0" brushRef="#br0" timeOffset="11168.95">11302 10217 0,'18'53'16,"-18"0"-16,0-35 15,0 16-15,17-15 0,-17 16 16,0-18-16,0 19 0,0-19 0,0 1 16,17 0-16,-17 17 0,0-18 15,0 1-15</inkml:trace>
  <inkml:trace contextRef="#ctx0" brushRef="#br0" timeOffset="12618.04">14794 8154 0,'-17'-36'16,"17"89"15,0-35-15,0 16-16,0-15 0,0 16 0,0 18 16,0-18-16,0 18 0,0 0 15,0-18-15,0 1 0,0-1 0,0 1 16,0-2-16,0 1 0,0-16 0,0-2 15,0 0-15,0 1 16,0 0-16,0 0 0,0-1 0</inkml:trace>
  <inkml:trace contextRef="#ctx0" brushRef="#br0" timeOffset="12944.03">14812 8171 0,'-18'0'0,"1"0"16,52 0-16,-87 0 0,52 18 0,-19-18 15,2 17-15,-18 0 0,18 2 16,-2 16-16,-16-18 0,18 2 16,-36 15-16,35-16 0,0 0 15,0 0-15,-16-1 16,34 0-16,-18 1 0,0-18 0,18 18 15</inkml:trace>
  <inkml:trace contextRef="#ctx0" brushRef="#br0" timeOffset="13171.55">14706 8189 0,'106'70'15,"-88"-70"-15,0 35 0,-1-16 16,0-19-16,-17 17 0,36 18 16,-18 1-1,-1-19-15,0 0 16,-17 1-16</inkml:trace>
  <inkml:trace contextRef="#ctx0" brushRef="#br0" timeOffset="14027.87">14548 9477 0,'0'0'15,"-36"17"1,36 0-16,-18 19 16,1 35-16,-18 34 15,35-70 1,0 1-16,0-19 0,0 37 15,0-2-15,18-34 0,-1 0 16,0 16-16,1-34 16,0 19-16,17-19 0,-18 17 15,19-34-15,-18 17 16,35-36-16,-36 19 16,1-37-1,-1-16-15,-17 35 16,19-1-16,-19 1 0,-19-18 0,19 1 15,-17-19-15,-1 18 16,18 36-16,-34-37 0,15 37 16,19 0-16,-17-2 15,-1 19-15,1 0 16,-2 19-16,2-2 16,17 0-16,-17 19 0,-1-18 15,18 52-15,0-18 16,0 19-16,18-35 15,-18-1-15,17 1 0,0-2 16,19 54-16,-1-52 16,-16-18-16,-2-1 0,0 0 15,1 2-15,-1-2 0,2 1 16,-2-1-16,0-17 0,19 19 16</inkml:trace>
  <inkml:trace contextRef="#ctx0" brushRef="#br0" timeOffset="14423.11">15165 9970 0,'71'-17'16,"-37"17"-16,-34 17 15,19-17-15,-19 17 0,0 2 0,0-2 16,0 1-16,0-1 16,-19 36-16,2-18 0,17-16 15,-17 15-15,-1-16 0,18 18 16,0-19-16,-18-17 0,18 17 15,0 2 1,18-19-16,0 17 0,-1-17 16,0 0-16,2 0 15,16 0-15,-1-17 0,20 17 16,-18-19-16,-2 19 0,-16 0 16,0 0-16,34-17 0,-34 17 15,18 0-15,-19 0 0,19-17 16</inkml:trace>
  <inkml:trace contextRef="#ctx0" brushRef="#br0" timeOffset="15507.14">18217 8277 0,'-19'53'16,"19"35"0,0-17-16,0-18 15,0 18-15,0-19 0,0 72 16,0-2-16,0-68 0,0-18 15,0-2-15,19 1 0,-19-16 16,0-2-16,0 18 0,0-17 16,0 0-16</inkml:trace>
  <inkml:trace contextRef="#ctx0" brushRef="#br0" timeOffset="15835.88">18288 8277 0,'0'-18'16,"-36"18"-1,18 18-15,1-1 16,-2 2-16,2-2 0,0 0 0,-37 37 16,20-20-16,16 2 15,-18-18-15,19 16 0,0-15 0,-2-2 16,2 18-16,-1-16 0,1-2 0,17 0 0,-19 1 15,2-1-15,17 2 16,-17-19-16</inkml:trace>
  <inkml:trace contextRef="#ctx0" brushRef="#br0" timeOffset="16098.46">18146 8313 0,'18'-19'0,"-1"38"15,0-19-15,2 17 16,-2 0-16,37 19 16,-37-1-1,18 0 1,-18-35-16,2 18 0,-2 0 15,0-18-15,-17 17 0,18-17 0,0 17 16,0 2-16,-1-19 16,0 17-16</inkml:trace>
  <inkml:trace contextRef="#ctx0" brushRef="#br0" timeOffset="16942.91">17952 9723 0,'0'0'0,"-18"18"15,1-1-15,-2 36 16,2-17-1,-18 34-15,35-34 0,0 34 16,-17-35-16,17 1 0,0-19 16,17 37-16,-17-37 15,18 0-15,-18 1 0,17 0 0,0 0 16,2-18-16,-2 17 0,1-17 16,18 0-16,-19-17 15,0 17-15,19 0 0,-18-18 0,-1 0 16,0 18-16,1-18 0,0 1 0,0 0 15,-18-2-15,17-16 0,0-18 16,-17 18-16,0-1 0,19 2 16,-19-2-16,-19 1 0,19 0 15,0-1-15,-17 2 0,17-2 16,-35-18-16,35 20 0,-18 16 0,18 1 16,-18 17-16,18-19 0,-17 19 15,0-17-15,-1 17 16,-18 17-1,36 2-15,-17-2 0,17 1 0,0-1 16,-17 19-16,17-19 0,0 37 16,0-20-16,0 2 0,17-1 0,-17-18 15,17 37-15,1-20 0,0 2 16,0-1-16,-18 1 0,17-1 0,0 1 16,1-19-16,0 18 0,0-17 0,-1 0 15,-17 16-15,17-15 0,2-2 16,-2-17-16,1 18 0,-1-1 15,2-17-15</inkml:trace>
  <inkml:trace contextRef="#ctx0" brushRef="#br0" timeOffset="17388.07">18498 10111 0,'71'-34'0,"-54"51"16,2-17-16,-2 17 15,-17 1 1,18-18-16,-18 17 16,17 2-1,-17-2-15,19 0 0,-2-17 0,-17 18 16,17-18-16,1 18 0,-1 0 15,-17-1-15,0 0 0,0 2 16,-17 16-16,-1-18 0,-16 19 16,-2-19-16,1 18 0,-1 1 0,-16-1 15,-1 1-15,-89 16 16,72-34-16,-1 0 0,0-1 0</inkml:trace>
  <inkml:trace contextRef="#ctx0" brushRef="#br0" timeOffset="19784.5">7898 12846 0,'-36'0'16,"90"0"-16,-37 0 15,0 0-15,19 0 0,-18 17 0,16-17 16,2 0-16,-1 0 0,-16 0 15,15 0-15,-16 0 0,-1 0 0,19 0 16,-19-17-16,19 17 0,-18 0 16,-1 0-1,0-19 1,-34 19-16,0-17 16,17 0-1,-18 17-15,0-18 16,0 36-16,1-18 15,0 17-15,17 19 16,-19-19-16,19 1 16,0 16-16,0-15 0,0 16 15,0 1-15,0-19 0,0 18 0,0 1 16,0-2-16,0 2 0,0-1 0,0-18 16,0 19-16,0-1 0,0-18 15,-17 19-15</inkml:trace>
  <inkml:trace contextRef="#ctx0" brushRef="#br0" timeOffset="20039.05">7774 13515 0,'-17'0'16,"34"-17"-1,1 17-15,-1 0 0,54-17 32,-35-1-32,-2 18 0,-16 0 0,18 0 15,-2 0-15,-15 0 0,16-18 0,1 18 16,-19 0-16,18 0 0,35-18 16,1 1-16,-54 17 15,19 0-15,-1-17 0,-18 17 0</inkml:trace>
  <inkml:trace contextRef="#ctx0" brushRef="#br0" timeOffset="20751.97">9080 12934 0,'-36'-36'15,"18"36"-15,-16 17 16,-2 37 0,18-37-16,18 19 15,-17-19-15,17 18 0,0 1 16,0-1-16,0 18 0,0-17 15,0-1-15,17-18 0,-17 19 16,18-19-16,0 1 0,0-1 16,-1 2-16,0-2 0,19-17 15,-18 0-15,16 0 0,-15 0 16,-2-17-16,18 17 0,-18-19 0,37-16 16,-37 18-16,19-36 15,-36 18-15,17 16 0,-17-15 16,0-20-16,-17 20 0,17-20 15,-17 1-15,-2 1 0,2 16 0,-1 1 0,1-1 16,-2 19-16,2 0 16,0-1-16,-1 0 0,1 0 0,-19 18 15,19 0-15,-1 0 0,0 0 16,18 18-16,-18-18 0,1 18 16,17 0-16,-17-1 0,17 19 0,0-1 15,0-1-15,0 20 0,0-1 0,17-1 16,0 1-16,1 1 0,0-20 15,0 20-15,-1-1 0,19-18 0,-19 18 16,1-18-16,16 1 0,-15-2 16,-19-16-16,17 18 0,37 17 15,-37-36-15,0-17 16,1 0-16</inkml:trace>
  <inkml:trace contextRef="#ctx0" brushRef="#br0" timeOffset="21233.46">9980 12969 0,'0'36'31,"0"-19"-31,0 0 0,0 1 16,0-1-16,0 19 0,0-19 0,0 19 16,0-1-16,0-18 0,0 19 15,0-1-15,0 1 0,0-19 0,0 18 16,0 18-16,0-35 0,0 0 15,0 0-15,0-1 0,0 0 16,0 1-16,0 18 0,0-19 16,17-17-16</inkml:trace>
  <inkml:trace contextRef="#ctx0" brushRef="#br0" timeOffset="21654.26">9961 12951 0,'19'-36'0,"15"2"16,-16 34-16,0-18 0,0 18 15,-1 0-15,0 0 0,19 0 16,-18 0-16,16 18 0,-15-18 15,16 0-15,-1 34 0,-34-15 16,19 16-16,-19 1 0,-19-19 16,19 18-16,-17 1 15,-18-2-15,18 2 0,-2-18 0,2 16 0,0-15 16,-1-2-16,0 1 0,-17-1 16,18 0-16,-1 2 15,0-2 1,36 1-1,0-18-15,-1 0 16,0 17-16,1-17 0,0 0 16,0 0-16,-1 19 0,19-19 15,-19 0-15,35 17 0,-33-17 16,16 0-16,-18 17 0,19-17 0,-19 0 16,1 0-16,18 0 0,-19 0 15</inkml:trace>
  <inkml:trace contextRef="#ctx0" brushRef="#br0" timeOffset="22049.94">11673 13286 0,'35'0'31,"-18"0"-31,19 0 16,-19 0-16,1 0 0,18 0 0,-2 0 16,-16 0-16,18 0 0,-2 0 0,-16 0 15,0 0-15,0 17 0,-1-17 16,0 0-16</inkml:trace>
  <inkml:trace contextRef="#ctx0" brushRef="#br0" timeOffset="22235.72">11654 13515 0,'90'0'15,"-56"0"-15,1 0 0,1 0 16,-1 0-16,1 0 16,-2 0-16,2 0 0,16 0 0,-16-17 0,-1 17 15</inkml:trace>
  <inkml:trace contextRef="#ctx0" brushRef="#br0" timeOffset="22928.03">13472 12969 0,'0'-18'16,"0"36"-16,-18-18 0,1 17 15,17 2-15,0-2 0,-19 35 16,19-33-16,0-2 0,19 18 15,-19-17-15,0 17 16,0-18-16,17 19 0,1-18 0,16 35 16,-15-36-16,-2 1 0,37-1 15,-20-17-15,-16 19 16,18-38-16,-19 19 0,18 0 0,18-35 16,-17 18-16,-19-2 0,18 2 15,-18-18-15,2-18 16,-19 18-16,17-1 0,-17-17 0,-17 1 15,17-1-15,-19-1 0,2-15 16,0 33-16,-1-17 0,1 1 16,-19 16-16,19 1 0,-1 18 0,0-2 0,0 2 15,1-1-15,0 18 0,-2-17 16,2 17-16,-1 0 0,1 17 16,0 1-16,-2-1 0,19 2 15,0 15-15,0-16 0,0 18 16,0-2-16,19 2 0,-2 16 0,18 36 15,-18-34-15,2-1 16,-2-1-16,0-16 0,19 52 16,-18-35-16,-1-18 0,0 1 0,2-1 15,-2-18-15,1 19 0,-1-19 0,0 19 16,2-18-16,-2-18 16,1 17-16,-1 0 0,2-17 0,-2 18 15,0-18-15,1 0 0,0 0 16,17 0-16</inkml:trace>
  <inkml:trace contextRef="#ctx0" brushRef="#br0" timeOffset="23319.35">14336 13234 0,'36'-19'15,"-19"19"-15,0 19 32,-17-2-32,-17 1 15,17-1-15,0 0 16,17 2-16,-17-2 15,18-17-15,-18 18 0,18-18 16,0 17-16,-1 2 16,-17-2-1,17 0-15,-34 1 0,0 0 16,17 0-16,-18-18 16,0 17-16,0-17 0,1 17 15,0 1-15,-2-18 0</inkml:trace>
  <inkml:trace contextRef="#ctx0" brushRef="#br0" timeOffset="23651">15412 13145 0,'70'0'47,"-52"0"-47,0 0 0,0 0 0,16 0 15,20-18-15,-1 18 0,-36 0 16,18 18-16,1-18 16,16 0-16,-16 0 15</inkml:trace>
  <inkml:trace contextRef="#ctx0" brushRef="#br0" timeOffset="24394.81">16594 12617 0,'-36'0'16,"2"34"0,34-16-16,0-1 15,0 2-15,-19-2 0,19 0 0,0 19 16,0-18-16,0 16 0,19 2 16,-2 35-16,0-36 15,19 18-15,16-1 0,-16-33 16,-18-19-16,16 17 0,20-17 15,-1 0-15,-18-17 16,1-2-16,-19 2 16,18-1-16,-17 1 0,17-54 15,-18-34-15,1 52 16,-36-1-16,18-16 0,0 18 0,-17-2 16,0 1-16,-1 0 0,-18 1 15,-52-55-15,35 55 16,18 35-16,18 17 0,-36-19 15,35 19-15,0 0 16,0 19-16,1-2 0,0 0 16,17 18-16,0 1 0,0-1 15,17 18-15,-17-18 16,17 18-16,1 0 0,0 1 0,0-2 0,-1 1 16,19 0-16,-19-1 0,37 36 15,-37-34-15,18-18 0,-18 16 16,2-16-16,-2-2 0,0 2 15,1-18-15,-18-1 0,36 36 16,-36-35-16,17-1 0,-17 0 16,17 2-16,-17-2 0,18-17 15,0 18-15,0-18 16,-1 0 0</inkml:trace>
  <inkml:trace contextRef="#ctx0" brushRef="#br0" timeOffset="24663.92">17564 12969 0,'0'-18'15,"0"72"-15,-18-37 16,18 0-16,0 18 16,-17 1-16,17-1 0,0 1 15,0-19-15,0 0 0,0 2 16,0-2-16,0 35 16,0-33-16,17-2 15,-17 1-15</inkml:trace>
  <inkml:trace contextRef="#ctx0" brushRef="#br0" timeOffset="25863.53">11796 15279 0,'36'-17'15,"-19"17"1,0 0-16,19-17 15,-18 17-15,16 0 0,2 0 0,-18-19 16,52 19-16,-52 0 0,-1 0 16,2 0-16,15 0 0,-16 19 15</inkml:trace>
  <inkml:trace contextRef="#ctx0" brushRef="#br0" timeOffset="26076.2">11602 15667 0,'-18'18'0,"36"-36"0,0 54 15,-1-36 1,19-18-16,-1 18 16,-18 0-16,36 0 15,-18 0-15,1 0 0,-19 0 0,1 0 16,35-18-16,-36 18 15,37 0-15,-37-17 0,0 17 16</inkml:trace>
  <inkml:trace contextRef="#ctx0" brushRef="#br0" timeOffset="27622.59">13877 14838 0,'-17'-17'0,"34"17"31,19-18-31,-19 18 16,18 0-16,-16 0 16,-2-17-16,0 17 0,37 0 15,-20-19-15,-16 19 16,0 0-16,0 0 0,-1 0 15,0-17-15,2 34 0,-2 2 16,-17-2 0,0 1-16,0-1 0,0 2 15,0-2-15,-17 18 0,17 1 0,0-2 16,-19 2-16,19-18 0,0 16 16,-17 2-16,17-1 0,0-16 0,-17 15 15,17-16-15,0-1 0,0 19 0,0-19 16,0 1-16,0 0 15,0 0-15,0-1 0,0 0 16,17 2 0,0-19-1</inkml:trace>
  <inkml:trace contextRef="#ctx0" brushRef="#br0" timeOffset="27860.04">13860 15245 0,'-18'0'16,"36"0"0,-1 0-1,0-19-15,2 19 0,16 0 16,18 0-16,-36 0 0,19 0 0,-18 0 15,16 0-15,-16 0 16,18 0-16,-19 0 0,54 0 16,-54 0-16,36 0 0,-18 0 15</inkml:trace>
  <inkml:trace contextRef="#ctx0" brushRef="#br0" timeOffset="28712.18">15729 15103 0,'19'0'16,"33"0"-1,-35 0 1,2 0-16,15 0 0,-16-17 0,0 17 16,0 0-16,-1 0 15,0 0-15,1 0 0,0 0 0,0 0 16,-1 17-16,0-17 0,2 0 0,-2 0 15,1 0-15,-1 0 0,2 18 16,15-18-16,-16 0 0,18 0 0</inkml:trace>
  <inkml:trace contextRef="#ctx0" brushRef="#br0" timeOffset="30540.56">17246 14979 0,'-34'18'15,"15"-18"1,2 0-16,-18 18 16,35 0-16,-19-1 0,2-17 15,0 17-15,-1 2 0,-18-2 16,36 1-16,-17-18 0,0 17 16,-1 2-1,18-2-15,0 0 16,18-17-16,-1 0 15,0 18-15,37-18 16,-37 0-16,71 0 16,-69 0-16,15 0 15,-16 0-15,-1 0 0,2 0 0,15 0 16,-16 0-16,0 0 0,0 0 16,-1 0-16,0-18 15</inkml:trace>
  <inkml:trace contextRef="#ctx0" brushRef="#br0" timeOffset="30750.58">17317 14979 0,'-17'0'0,"-2"18"16,2 18-1,-1 17 1,1-36-16,17 18 0,0 18 15,0-35-15,-17 18 0,17-2 16,0-16-16,0 18 0,0-19 0,0 19 16,0-19-16,0 18 0,0-18 0,-19 19 15,19-18-15,-17-1 0,17 2 16,-18-2-16</inkml:trace>
  <inkml:trace contextRef="#ctx0" brushRef="#br0" timeOffset="31287.12">13789 17097 0,'-17'0'16,"87"-18"0,-52 18-16,-1 0 0,36 0 15,-35 0-15,-1 0 16,19 0-16,-19 0 0,1 0 16,0 0-16,-18 18 0,18-18 0,-1 17 15</inkml:trace>
  <inkml:trace contextRef="#ctx0" brushRef="#br0" timeOffset="31480.49">13736 17309 0,'0'0'16,"53"17"-1,-36-17 1,2 0-16,-2 0 0,1 0 0,16 0 15,56-17 1,-38 17-16,36-19 16,18 2-16,-54 17 15</inkml:trace>
  <inkml:trace contextRef="#ctx0" brushRef="#br0" timeOffset="32035.86">15448 16779 0,'70'-18'15,"-52"36"-15,-1 0 16,-17 16 0,-17-34-16,17 19 0,-18 16 15,18-18 1,0 0 0,18-17-16,-1 19 0,0-19 15,1 17-15,0-17 0,0 18 0,-1-1 16,19-17-16,-1 36 15,-35-19-15,17-17 0,-17 18 16,0 0-16,-17 0 16,-1-1-16,1 0 0,-2 1 15,-51 0-15,35 0 0,0-18 16,-1 17-16,2-17 0,-2 0 0,1 0 16,16 0-16,-15 17 0,16-17 15,1 0-15,-2-17 0</inkml:trace>
  <inkml:trace contextRef="#ctx0" brushRef="#br0" timeOffset="32409.37">15094 16638 0,'-105'88'0,"86"-53"0,2 1 15,0 17-15,-1-1 0,1 1 0,-2 1 16,19-2-16,-17 1 0,17 71 16,17-72-16,2 1 0,-2-18 15,1 18-15,16-17 0,2-1 0,-1 0 16,1-17-16,-1 0 0,1-18 16,-2 0-16,-16 0 0,35 0 15,0-18-15,-18 0 0</inkml:trace>
  <inkml:trace contextRef="#ctx0" brushRef="#br0" timeOffset="32691.83">15765 16391 0,'281'140'0,"-227"-104"0,-18 18 16,-2-20-16,1 20 0,-16-20 16,15 73-16,-34-55 0,-17 1 15,17 1-15,-36-2 0,19 1 0,-18 0 16,-1-1-16,1 2 0,-35 16 15,34-35-15,-16 1 0</inkml:trace>
  <inkml:trace contextRef="#ctx0" brushRef="#br0" timeOffset="115423.8">16770 16850 0,'-36'35'0,"36"-18"0,-17 0 0,17 2 16,-17 16-16,-1-18 0,0 19 15,0-1-15,1 1 0,0-2 0,-1 2 16,0-1-16,0 1 0,1-19 0,0 1 16,-2 18-16,19-19 0,-17 0 15,-1-17-15,18 18 0</inkml:trace>
  <inkml:trace contextRef="#ctx0" brushRef="#br0" timeOffset="115628.81">16982 16797 0,'-36'70'15,"36"-52"-15,-17-1 16,-19 36-16,19-18 0,-1 1 15,-16 17-15,15-18 0,-16 0 16,18 18-16,-19-17 0,1-1 0,17 1 16,0 16-16,-16 1 15,16-18-15,0-17 0,18 0 0,0-1 0,-18-17 16,18 17-16</inkml:trace>
  <inkml:trace contextRef="#ctx0" brushRef="#br0" timeOffset="120389.97">22997 11929 0,'-19'0'15,"38"-19"17,16 19-17,1 0 1,-36 19-16,17-19 0,0 0 15,-17 17-15,18-17 0,-18 17 16,0 1-16,0 0 16,0 0-1,-18-1 1,36 0 0,0 1-16,0 0 15,-1-18-15,-17 18 0,17-18 0,-17 17 16,18-17-16,-18 17 0,0 2 15,0-2-15,-35 18 16,0-16-16,17-2 16,0-17-16,1 17 0,-19-17 15,19 18-15,-1-18 0,1 0 0,-2 0 16,2 0-16,0 0 0,-1-18 16</inkml:trace>
  <inkml:trace contextRef="#ctx0" brushRef="#br0" timeOffset="120623.36">22785 11751 0,'-17'0'0,"34"0"16,-53 19-16,19-19 0,-1 17 0,1 1 16,0-1-16,-19 19 0,18 16 0,1-16 15,-2 17-15,2-1 0,17 2 16,0-20-16,-17 20 0,34-18 0,0 69 15,-17-70-15,19 18 0,-2-36 16,18 19-16,-16-18 0,-2-1 16,18 0-16,-18 2 0,2-19 0,15 0 15,37 0-15,-35-19 16</inkml:trace>
  <inkml:trace contextRef="#ctx0" brushRef="#br0" timeOffset="120914.24">23490 11470 0,'54'35'0,"-37"-18"16,0 19-16,19-1 0,-18 1 0,16 16 16,-15 18-16,-2-16 0,-17-1 0,18 18 15,-18-19-15,0 18 0,-18 18 16,1-17-16,-2 17 0,2 1 0,-35-19 16,-19 90-16,18-108 0,0 18 15,1-16-15,-19-1 0</inkml:trace>
  <inkml:trace contextRef="#ctx0" brushRef="#br0" timeOffset="132966.85">22009 11381 0,'-265'758'0,"265"-668"15,0 15-15,18-17 0,53 176 16,-36-175-16,18-1 16,18 0-16,-1 0 0,18-17 0,18 17 15,52 17-15,-51-51 16,-19-1-16,17-18 0,-17 1 16,19-2-16,-2-16 0,19 0 0,211 17 15,-211-52-15,-1 17 0,211-88 31,-210 52-31,0-16 0,-18-2 0,158-104 16,-194 104-16,-16 1 16,16 1-16,-16-19 0,87-123 15,-106 142-15,-1-19 16,2 0-16,-18 1 0,52-177 16,-52 159-16,-18-89 15,0 71-15,0 18 0,-18-18 16,1 0-16,-19-18 0,-16 19 0,-1 0 15,-18-2-15,18 36 0,-18-17 0,-69-34 16,51 68-16,-17-16 16,-18 35-16,19-18 0,-18 17 15,17 1-15,-17 18 0,-248-19 16,230 36-16,17 0 16,-17 0-16,-18 18 0,-458 105 15,335-35 1,158-35-16,2 18 0,-232 141 15,266-124-15,0-17 16,18-1-16,-1-18 0,18 19 16,18-18-16</inkml:trace>
  <inkml:trace contextRef="#ctx0" brushRef="#br0" timeOffset="133596.84">25396 11946 0,'70'-17'15,"-52"17"-15,-1 0 0,19-19 0,-1 19 16,18-17-16,-18 17 15,1-18-15,-2 18 0,2-17 0,-18 17 16,16-19-16,-15 19 0,-2-17 0,1 17 16</inkml:trace>
  <inkml:trace contextRef="#ctx0" brushRef="#br0" timeOffset="133833.71">25889 11470 0,'247'88'16,"-211"-53"-16,-2 1 0,2-19 16,18 71-16,-54-52 0,0-1 15,0-1-15,0 20 0,-19-1 0,2-18 16,-18 18-16,-18 35 15,17-35-15,-34 18 0,52-36 16,-17 1-16,-1-19 0</inkml:trace>
  <inkml:trace contextRef="#ctx0" brushRef="#br0" timeOffset="136122.62">28236 11487 0,'34'0'31,"-16"0"-31,-18 18 0,18-18 15,0 17 1,-18 2-16,0-2 0,0 0 16,0 1-16,0-1 15,0 2-15,0-2 16,0 0-16,17 1 16,-17 0-16,0 17 15,0-18-15,0 2 16,0-2-16,0 1 15,-17-18-15,17 17 0,0 0 0,-18-17 16,0 19-16,0-19 16,1 0-16,-18 0 15,17-19 1</inkml:trace>
  <inkml:trace contextRef="#ctx0" brushRef="#br0" timeOffset="136377.32">27848 11293 0,'-142'194'16,"125"-140"-16,17-2 0,0 18 15,0-16-15,0-1 0,17 16 16,-17-15-16,35 52 0,-16-54 15,-2 2-15,0-20 0,1 2 0,18-1 16,-19-16-16,0-2 0,1-17 0,18 17 16,-19-17-16,0 0 0,19 0 15,-18 0-15,16-17 0,2 0 16,-18-2-16</inkml:trace>
  <inkml:trace contextRef="#ctx0" brushRef="#br0" timeOffset="136679.54">28358 11134 0,'71'36'0,"-35"-19"0,-1 18 16,18 1-16,-18-1 0,18 18 0,-36 18 16,19-18-16,-1 18 0,-18-2 15,-17 72-15,0-87 16,-34 104-16,16-87 0,1 17 0,-19-35 16,19 18-16,-19 0 15,18-37-15,1 20 0,0-2 0,-19-16 16,18-2-16,1 2 0</inkml:trace>
  <inkml:trace contextRef="#ctx0" brushRef="#br0" timeOffset="139899.49">20650 7377 0,'36'0'16,"-18"-18"-16,-1 18 0,19 0 15,-19-17-15,18 17 0,-16 0 0,15 0 16,-16 0-16,-1-17 0,2 17 16,-2 0-16,0 0 0,1 0 0</inkml:trace>
  <inkml:trace contextRef="#ctx0" brushRef="#br0" timeOffset="140094.09">20721 7625 0,'17'0'16,"2"0"-16,-2 0 0,1 0 15,18 0-15,-19-19 0,18 19 0,35-17 16,-34 17-16,-1 0 15,-18 0-15,19-18 0,-18 18 0,16 0 16,2 0-16,-18 0 16</inkml:trace>
  <inkml:trace contextRef="#ctx0" brushRef="#br0" timeOffset="160918.46">23032 7078 0,'36'-19'0,"-90"38"31,18-2-15,19 1-16,0-18 15,-54 36-15,54-36 16,-1 17-16,0 0 0,0 1 16,1-18-16,17 36 15,17-19 1,1-17-16,0 17 16,0 1-16,16 0 15,-15 0-15,16-1 16,-18 0-16,0 1 15,-34 0 1,0 17 0,-1 1-16,1-36 0,-2 17 15,19 1-15,-17-18 0,-18 17 16,17 2-16,0-19 16,1 17-16</inkml:trace>
  <inkml:trace contextRef="#ctx0" brushRef="#br0" timeOffset="161093.78">23226 7342 0,'18'-17'0</inkml:trace>
  <inkml:trace contextRef="#ctx0" brushRef="#br0" timeOffset="161345.47">23526 7042 0,'18'36'32,"-36"16"-17,18-33-15,0 33 16,0 1-1,0-36-15,0 19 0,0-18 16,0-1-16,0 0 0,18 1 16</inkml:trace>
  <inkml:trace contextRef="#ctx0" brushRef="#br0" timeOffset="161866.4">23878 7059 0,'0'0'16,"-34"36"-1,15-18 1,-16-1-16,35 2 16,-17-2-16,17 0 0,-17 1 0,-2-1 15,19 2 1,-17-2-16,17 0 16,17-17-16,-17 18 0,19 0 15,-2-18-15,0 0 0,1 18 16,-1-18-16,2 0 0,33 0 15,-34 0-15,0 0 16,35-18 0,-36 0-16,1 18 0,-1-35 15</inkml:trace>
  <inkml:trace contextRef="#ctx0" brushRef="#br0" timeOffset="162034.62">24002 7059 0,'-36'36'16,"36"-18"-16,0-1 0,0 2 16,0-2-16,0 18 0,0 35 15,0-34-15,0 16 16,19 2 0,-19-20-16,0-15 0,0-2 0,0 1 15,0 18-15</inkml:trace>
  <inkml:trace contextRef="#ctx0" brushRef="#br0" timeOffset="162543.47">23314 7818 0,'71'17'0,"52"-17"16,18 0-16,-70 0 15,-1-17-15,1 17 0,17-17 0,53-1 16,-70 1-16,-18-19 16,106-17-1,-124 18-15,18 18 0,-18-19 0,-18 1 0,19-1 16,17-105-1,-53 89-15,18-124 16,-36 86-16,18 20 0,-18-18 0,0 17 16,-87-140-1,52 158-15,-18 17 0,0 1 16,-105-18-16,88 36 0,0-1 16,-194 18-1,176 18-15,17-1 0,-16 19 0,-213 87 16,213-53-16,-2 1 15,-139 141 1,158-124-16,34-17 0,1 17 0,18-18 16,1 18-16,-2 71 15,18-88-15,36-1 0,-1 18 0,124 90 16,-87-109-16,158 55 16,-124-107-1,-18 2-15,1-2 0,-19-17 16</inkml:trace>
  <inkml:trace contextRef="#ctx0" brushRef="#br0" timeOffset="163731.31">26560 9106 0,'17'-17'16,"19"-54"-1,-36 54-15,17-19 0,-17 1 16,0 16-16,18-33 0,-18 16 16,0-16-16,0 16 0,0 2 0,0-2 15,0 1-15,0-1 0,0 19 16,0-18-16,0 16 0,-18 2 0,18 0 15,0-1-15,0 0 0,0 0 16,0 72 15,0-37-31,0 19 0,18 52 16,-1-53 0,2 1-16,-19-19 0,17 18 15,0-17-15,1 0 0,0-1 0,0 0 16,-1 2-16,0-19 15,1 0-15,0 0 0,0-19 16,-1 19-16,0-17 0,2 0 0,-19-1 16,17 0-16,1 18 0,-18-18 15,17 1-15,2 17 16,-19-17-16,17 17 0,0 17 16,-17 0-1,18 1-15,-1 18 16,-17-19-16,0 0 15,0 2-15,19-19 0,-19 17 0,0 1 16,17-18-16,-17 17 16,17-17-16,1 0 15</inkml:trace>
  <inkml:trace contextRef="#ctx0" brushRef="#br0" timeOffset="164419.71">26948 8806 0,'53'-176'15,"-70"159"-15,17-19 16,-19 18-16,19 1 0,-17-2 15,-1 2-15,1 17 0,-2-17 0,2 17 16,-18 0-16,17 17 0,-17-17 0,0 17 16,17 19-16,-17-18 0,-1 18 15,19 16-15,17-35 16,0 2-16,0-2 0,0 0 0,17-17 16,2 18-16,15 0 0,-16-18 15,35 0-15,-18-18 0,-17 0 16,17 1-16,1-19 0,-1 19 0,-18-1 15,-17-16-15,19-20 16,-38 1-16,19 36 0,-17-1 16,-1 0-16,1 18 0,-19-18 0,19 18 15,-19 18-15,1-18 0,0 18 16,-18 17-16,17-18 0,1 19 0,-1-1 16,19 18-16,-18 18 0,35-36 15,0 18-15,0-36 16</inkml:trace>
  <inkml:trace contextRef="#ctx0" brushRef="#br0" timeOffset="165482.89">26472 15455 0,'34'-17'16,"-15"17"-1,-2 0-15,1-17 0,-1 17 16,-17-18-16,17 18 16,2 0-16,-72 18 15,35-18 1,1 17-16,-2-17 0,-33 36 16,-18-1-1,51-35-15,2 17 0,-1 2 16,18-2-16,0 0 15,0 1-15,54 0 16,-37 0-16,0-1 16,19-17-16,-18 17 0,16 1 15,-15-18-15,-2 18 0,1 0 16,-1-18-16,0 17 0,2 0 0,-19 2 16,17-2-16,-17 1 0,-17-1 15,17 0-15,-19 2 0,2-2 16,0 1-16,-1-1 0,1 2 0,-2-2 15,-15 0-15,16 1 16,0-18-16,0 18 0,1-18 0,0-18 31</inkml:trace>
  <inkml:trace contextRef="#ctx0" brushRef="#br0" timeOffset="165666.54">26824 15667 0,'0'18'78</inkml:trace>
  <inkml:trace contextRef="#ctx0" brushRef="#br0" timeOffset="166006.76">27177 15474 0,'0'0'31,"0"35"-31,0 1 0,0-19 16,0 36-16,17-35 16,-34 16-16,17-16 0,0 18 0,0-2 0,0-15 15,0-2-15,0 1 16,0 16-16,17-15 0</inkml:trace>
  <inkml:trace contextRef="#ctx0" brushRef="#br0" timeOffset="166318.53">27565 15545 0,'-71'52'31,"71"-34"-31,-53 17 16,36-18-16,17 1 15,-18 0-15,1 17 16,17-18-16,0 2 16,0-2-16,17-17 15,1 0-15,18 18 16,-19-18-16,0 0 0,1-18 16,0 18-16,0 0 0,-1 0 0,0 0 15,2-17-15,-2 17 0,1-19 16,-1 19-16,-17-17 15,0 0-15,17 17 0,-17-18 0</inkml:trace>
  <inkml:trace contextRef="#ctx0" brushRef="#br0" timeOffset="166501.75">27636 15509 0,'0'-35'16,"0"70"0,-18-35-16,1 17 15,17 54-15,0-53 16,0 17-16,-19 70 15,19-69-15,0-1 16,0 1-16,0 52 0,0-53 16,-17-17-16,17 0 15,0-1-15,0 0 0,0 1 0,17-18 16</inkml:trace>
  <inkml:trace contextRef="#ctx0" brushRef="#br0" timeOffset="167547.71">25572 14291 0,'36'-17'0,"-19"0"15,0 17-15,1 0 16,-18-18-16,-35 36 31,18-1-15,-2-17-16,-16 36 15,18-36-15,-2 17 0,19 1 16,-17-18-16,34 17 16,2 0-1,-2-17-15,-17 19 16,18-19-16,-1 0 0,-17 17 0,19-17 15,-2 18-15,-17-1 16,0 2 0,-17-2-16,-2 0 0,2 1 15,-1-18-15,1 18 16,-2-18-16,2 18 0,0-18 0,-1 17 16,1 0-16,-2-17 0</inkml:trace>
  <inkml:trace contextRef="#ctx0" brushRef="#br0" timeOffset="167907.55">25766 14257 0,'-36'34'31,"36"-15"-31,0 33 31,0-35-31,0 2 0,18-2 16,0 1-16,0-1 0,-1-17 0,19 0 16,-19 19-16,18-19 15,-16 0-15,-2 0 0,54 0 0,-54-19 16,0 19-16,19-17 0,-18 17 16,-1-18-16,0 1 15,-17-2-15,0 2 16,-17 0-16,0 17 15,-1-18-15,0 18 0,0 0 16,-16 0-16,15 0 0,2 0 16,-1 0-16,1 0 0,0 0 15,-19 0-15,18 18 0,1-18 0,17 17 16,-19-17-16,2 0 0,17 17 16</inkml:trace>
  <inkml:trace contextRef="#ctx0" brushRef="#br0" timeOffset="168099.04">26365 14203 0,'19'18'32,"-19"0"-32,0 0 15,-19-1-15,19 0 0,0 2 16,-17-2-16,17 1 0,-18 16 0,1-15 15,17-2-15,-17 1 0,17-1 16,-19 2-16,19-2 0,-17 0 0,-1 1 16</inkml:trace>
  <inkml:trace contextRef="#ctx0" brushRef="#br0" timeOffset="168227.76">26225 14345 0,'0'-18'0,"0"1"16</inkml:trace>
  <inkml:trace contextRef="#ctx0" brushRef="#br0" timeOffset="168343.36">26525 14433 0,'17'0'16,"-34"0"-16</inkml:trace>
  <inkml:trace contextRef="#ctx0" brushRef="#br0" timeOffset="168848.53">25801 14909 0,'36'0'0,"16"0"0,-16-18 16,16 1-16,1 0 0,1-2 15,34 2-15,-18-1 0,72-35 16,-72 18-16,1-1 0,-2 2 0,-15-2 15,16 1-15,1-36 16,0 1-16,-1-18 16,-35 0-16,-35 34 15,19 20-15,-19-2 0,0 1 16,0-18-16,0-1 0,-19 2 0,2-1 16,-18 0-16,-18 1 0,-71-36 15,53 52-15,0 1 0,2 16 16,-108 2-16,71 17 0,0 0 15,-88 17-15,-18 37 16,107-18-16,-2-2 0,-15 20 16,-54 51-16,17 19 15,106-53-15,-1-19 0,1 18 0,18 1 16,18 0-16,0 53 16,69-19-16,-16-34 0,34-18 15,1-18-15,69 53 16,55-35-16,-90-36 15,2 1-15,69-18 0,106-35 16,-194 18-16,0-2 16,-17 19-16</inkml:trace>
  <inkml:trace contextRef="#ctx0" brushRef="#br0" timeOffset="170426.67">28394 15386 0,'0'35'15,"18"-18"-15,-18 0 16,0 2-16,17-2 16,-17 1-16,0-1 0,19 19 0,-19-19 15,0 1-15,0 0 0,0 17 16</inkml:trace>
  <inkml:trace contextRef="#ctx0" brushRef="#br0" timeOffset="170777.52">28358 15579 0,'19'0'16,"-2"-17"-16,18 17 15,-16 0-15,-2-17 0,0 17 0,71-19 16,-70 19 0,0 0-16,0 0 0,-1 0 15</inkml:trace>
  <inkml:trace contextRef="#ctx0" brushRef="#br0" timeOffset="170999.27">28341 15933 0,'0'0'0,"36"-19"16,-1 19-1,-18 0-15,2 0 0,33-17 16,-16-1-16,-2 18 0,2-17 16,16-2-16,-16 19 0,-1-17 15,-18 0-15,19 17 0,-1-18 16</inkml:trace>
  <inkml:trace contextRef="#ctx0" brushRef="#br0" timeOffset="172187.32">28924 15403 0,'34'0'15,"-16"0"-15,0 0 0,0 18 16,-1-18-16,-17 17 16,0 0-16,0 2 15,0-2 1,0 1-1,0-1-15,17-17 0,-17 19 16,19-19-16,-19 17 0,17-17 16,1 17-16,-1 1 15,0 0-15,-17 0 16,0-1 0,0 0-1,-17-17-15,17 18 0,-35 0 16,18-18-16,-2 18 0,-15-1 0,16 0 15,-35 2-15</inkml:trace>
  <inkml:trace contextRef="#ctx0" brushRef="#br0" timeOffset="172875.42">27741 16461 0,'265'70'16,"-142"-70"-16,-52-17 15,17 17-15,1-17 0,87-37 16,-88 37-16,-17 0 0,17-19 16,-18 1-16,160-53 15,-106 17-15,-72 35 16,1 19-16,35-36 0,-52 18 15,52-18-15,-53 18 16,-18-1-16,19 1 0,17-35 16,-18 35-16,0-36 0,-17 35 15,0 2-15,-18 16 0,17-18 16,-17-17-16,0 36 16,0-18-16,-35-36 0,-1 35 0,19-16 15,-54-18-15,-34-37 16,52 72-16,-35-53 15,-36 18-15,53 34 16,-52-35-16,-35 36 16,-20-18-16,-32 18 15,-2 18-15,106-2 16,-123 19-16,-19 0 16,125 0-16,-1 0 0,2 0 15,-2 19-15,-35-2 0,18 1 16,-142 35-16,2 18 15,139-19-15,1 1 0,-106 71 16,1 16-16,139-69 16,19 18-16,0-1 0,-107 141 15,161-158-15,-1 88 16,35-19-16,69 20 16,-15-91-16,34 20 15,141 51-15,54-33 0,281-2 16,-352-87-1,212 0-15,-19-36 16,-34 0-16,-54-35 16,-88-16-16,-53 15 15,-88 37-15,-34-2 16</inkml:trace>
  <inkml:trace contextRef="#ctx0" brushRef="#br0" timeOffset="176714.34">21216 16338 0,'52'-36'0,"-35"19"16,2 17-16,15-18 0,2 18 16,-18 0-16,-1 0 15,19 18-15,-19-18 0,1 0 16,-1 17-16,-17 2 0,17-2 0,-17 0 16,0 1-16,-17 0 0,17 17 15,-35 36-15,18-37 16,-2-15-16,19 16 0,-17-18 0,0 2 15,-1-2-15,18 0 0,-18 1 16,0-1-16,1 2 16,34-2-1,19-34 1,16-2 0,-16 2-1,-18 17-15,-1-18 0,0 18 16,2-17-16,-2 17 0,18-17 15,-16-2-15,-2 2 0,0-1 16,1 1-16</inkml:trace>
  <inkml:trace contextRef="#ctx0" brushRef="#br0" timeOffset="177017.62">21833 16250 0,'-19'0'0,"-15"17"16,16-17-1,18 18-15,-18-18 0,18 17 16,0 2-16,0-2 16,0 0-16,0 1 0,18 0 15,-18 0-15,18-18 0,-1 17 16,0 18-16,-17-17 0,19 0 15,-19-1-15,0 0 16,0 2-16,0-2 0,-19 1 16,19-1-16,-17 2 15,0-2-15,-1-17 0,0 17 16,0 1-16,1-1 0,-18-17 0,17 19 16,0-2-16</inkml:trace>
  <inkml:trace contextRef="#ctx0" brushRef="#br0" timeOffset="177447.54">21604 16973 0,'176'-35'0,"-106"-1"15,-16 1-15,-20 18 0,-16-2 0,35-15 16,0-20-1,-35 37-15,34-71 0,-34 52 16,0 1-16,-18-71 0,0 54 16,0-2-16,-36-87 15,18 70-15,1-17 0,-18 18 0,-1-18 16,-17 34-16,18-15 0,-35 16 16,-54-35-16,54 70 0,-71-18 15,-18 36-15,70 18 16,-70 35-16,71-18 0,18 18 15,-1 0-15,19-1 16,-1 2-16,-71 140 16,72-52-16,52-90 0,0 18 15,17 72-15,18-72 16,35 53-16,-16-52 0,-1-18 16,52 35-16,37-17 15,-89-35-15,18-19 0,34 0 16,-52 1-16,18-18 15,-2-18-15,-33 1 0</inkml:trace>
  <inkml:trace contextRef="#ctx0" brushRef="#br0" timeOffset="177822.39">22380 16143 0,'0'36'16,"-19"-18"-16,38-72 0,-38 125 16,2-52-16,17 15 0,0-16 0,-18-1 0,18 19 15,-17 17-15,0-18 0,-2-18 16,2 19-1,17-18-15,-18 16 0</inkml:trace>
  <inkml:trace contextRef="#ctx0" brushRef="#br0" timeOffset="177967.87">22202 16302 0,'0'-17'16,"0"34"-16,36-17 47</inkml:trace>
  <inkml:trace contextRef="#ctx0" brushRef="#br0" timeOffset="178086.56">22485 16443 0,'17'0'15,"-34"0"-15,53 0 16</inkml:trace>
  <inkml:trace contextRef="#ctx0" brushRef="#br0" timeOffset="179883.76">23085 17397 0,'35'-36'0,"-17"36"16,-71 17 15,36 2-15,-2-19-1,19 17-15,-17-17 0,-1 17 16,18 1 0,18-18-1,-18 18-15,36-18 0,-36 18 16,17-18-16,0 17 0,1-17 16,0 17-1,0 1-15,-18 0 16,-18-18-16,18 18 0,0-1 15,-18 0-15,18 2 16,-18-19-16,-16 17 0,34 1 16,-19-18-16,2 17 0,-1-17 15</inkml:trace>
  <inkml:trace contextRef="#ctx0" brushRef="#br0" timeOffset="180010.57">23297 17485 0,'0'-18'15</inkml:trace>
  <inkml:trace contextRef="#ctx0" brushRef="#br0" timeOffset="180187.88">23561 17255 0,'17'35'0,"2"-35"16,-19 19-16,0-2 0,0 0 0,0 1 15,0-1-15,17-17 0,-17 36 16,0-19-16,0 1 0,0 0 0,0 0 15</inkml:trace>
  <inkml:trace contextRef="#ctx0" brushRef="#br0" timeOffset="180493.38">24125 17114 0,'-35'35'0,"18"-17"16,17 0-16,-19-1 0,-15 36 31,-1 1-31,16-37 0,19 0 16,0 1-16,-17-1 0,17 2 16,0-2-16,0 0 0,17 1 15,-17 0-15,0 0 16,19-18-16,16 17 15,-1-34 17,-34-1-32,19 0 0,-19 0 15,17 1-15</inkml:trace>
  <inkml:trace contextRef="#ctx0" brushRef="#br0" timeOffset="180641.85">24108 17149 0,'-18'18'15,"18"0"-15,0-1 0,0 19 16,0-19-16,0 1 0,0 18 16,-17-19-16,17 18 0,0-18 0,0 19 15,0-1-15,17 1 0,-17-19 16,0 18-16,0-17 0,0 17 16,18-18-16,-18 2 0</inkml:trace>
  <inkml:trace contextRef="#ctx0" brushRef="#br0" timeOffset="181173.74">24532 17167 0,'34'71'15,"-16"-54"-15,0 18 16,-18-16-16,18 15 16,-1 1-1,-17-16-15,0-2 0,0 0 16,0 1-16</inkml:trace>
  <inkml:trace contextRef="#ctx0" brushRef="#br0" timeOffset="181354.66">24566 17467 0,'18'-18'16,"0"0"-16,0 18 15,-1-17-15,0 17 0,1-17 0,0 17 16,0 0-16,-1-19 0,0 19 0,2 0 16,-2 0-16,1 0 0</inkml:trace>
  <inkml:trace contextRef="#ctx0" brushRef="#br0" timeOffset="181528.48">24708 17643 0,'34'0'16,"-15"0"-16,-2 0 15,1 0-15,-1-17 0,2 17 16,-2 0-16,18-19 0,-18 19 0,19-17 16,-36 0-16,17 17 0</inkml:trace>
  <inkml:trace contextRef="#ctx0" brushRef="#br0" timeOffset="183858.82">25837 17273 0,'-71'53'0,"53"-36"0,0 1 16,1-1-16,0 2 0,-1-19 16,0 17-16,18 0 0,-18 1 15,1 0-15,17 0 16,0-1-16,0 0 16,17 1-1,1 0-15,0-18 16,0 0-16,-1 0 0,36 0 15,-35 0-15,-1 0 16,0 0-16,2-18 0,-2 18 0,1-18 16,-1 1-16,2 17 0,-2-17 0,-17-1 15</inkml:trace>
  <inkml:trace contextRef="#ctx0" brushRef="#br0" timeOffset="184035.81">25942 17219 0,'0'0'0,"-17"19"31,0 16-15,17-18-16,0 19 0,0-19 16,0 18-16,0-16 0,17 15 0,-17-16 15,0 18-15,0-2 0,0-16 16,17 18-16,-17-19 0,0 19 16,0-19-16,18 1 0,-18-1 15,0 2-15,17-2 0</inkml:trace>
  <inkml:trace contextRef="#ctx0" brushRef="#br0" timeOffset="186918.65">27989 18031 0,'17'-17'16,"-34"34"30,-2 1-30,2-1-16,0-17 0,17 19 16,-18-19-16,18 17 15,-18-17-15,18 17 16,18-17 0,0 18-1,-1-18-15,0 17 0,2 2 16,-2-19-16,-17 17 15,35 18 1,-35-17-16,0 0 0,0-1 16,-17 19-1,-18-1 1,16-18-16,2-17 0,0 17 16,-1 2-16,0-19 15</inkml:trace>
  <inkml:trace contextRef="#ctx0" brushRef="#br0" timeOffset="187085.83">28165 18207 0,'17'0'16</inkml:trace>
  <inkml:trace contextRef="#ctx0" brushRef="#br0" timeOffset="187295.78">28394 17995 0,'18'19'16,"-18"-2"-16,0 18 15,0-16-15,0 15 16,0 20-16,0-37 0,0 18 16,0 1-16,0-19 0,0 19 0,0-19 15,0 1-15,0-1 0,0 0 16</inkml:trace>
  <inkml:trace contextRef="#ctx0" brushRef="#br0" timeOffset="187611.71">28870 18031 0,'-17'35'31,"0"-35"-31,-2 19 0,19-2 16,-17 0-16,-1 1 0,1-1 16,17 2-16,-19-2 0,2 36 15,0-53-15,17 18 0,0-1 16,0 0-16,0 2 16,0-2-16,17 1 15,19-1 1,-36 0-16,17-17 0,18 0 15,-16-17 1,-2-18 15,0 35-31,-17-17 0</inkml:trace>
  <inkml:trace contextRef="#ctx0" brushRef="#br0" timeOffset="187784.56">28870 18137 0,'0'-18'0,"-17"53"31,17-16-15,0 33 0,0-16-1,17 17-15,-17-36 0,35 54 16,-16-71 0,-2 17-16,0 1 0,19-18 0,-18 17 15,-1-17-15</inkml:trace>
  <inkml:trace contextRef="#ctx0" brushRef="#br0" timeOffset="188121.97">29417 17819 0,'0'-17'16,"0"52"0,0 18-1,0-36-15,17 2 16,-17-2-16,0 1 0,0 16 15,0-15-15,0-2 0,0 1 16,0-1-16,0 2 0,0-2 16,0 0-16,0 1 0,0-1 15</inkml:trace>
  <inkml:trace contextRef="#ctx0" brushRef="#br0" timeOffset="188302.46">29400 18066 0,'53'-52'16,"-1"33"-16,-35 19 16,-17-17-16,19 17 0,-2 0 15,1 17-15,-1-17 16,-17 19-16</inkml:trace>
  <inkml:trace contextRef="#ctx0" brushRef="#br0" timeOffset="188478.52">29294 18437 0,'35'-18'31,"-18"1"-31,1 17 0,0-19 0,17 19 15,-18-17-15,37-18 16,-20 35-16,-15-17 0,16-2 0,35-33 16,-52 34-1</inkml:trace>
  <inkml:trace contextRef="#ctx0" brushRef="#br0" timeOffset="189235.38">30088 17802 0,'34'0'16,"-15"-17"-16,-2 17 0,18 0 31,-18 0-31,2 0 0,-2 0 16,1 34 0,-18-16-16,17 18 15,-17 17-15,19-36 16,-19 18-16,0-18 0,0 2 15,0 16-15,0-18 0,0 2 0,17-2 16,-17 0-16,0 1 0,0-1 16,17 2-16,-17-2 15</inkml:trace>
  <inkml:trace contextRef="#ctx0" brushRef="#br0" timeOffset="189445.2">30122 18137 0,'54'-18'16,"-37"18"0,19-17-16,-19 17 0,1-17 15,18-2-15,-2 19 0,-16-17 0,18-1 16,-2 1-16,-16 17 0,18-19 0,-19 2 15,19 0-15</inkml:trace>
  <inkml:trace contextRef="#ctx0" brushRef="#br0" timeOffset="189755.55">30529 17326 0,'-107'-53'16,"37"-1"-16,247 161 0,-442-248 0,177 123 16,0-18-16,-19 19 0,-16 0 15,-123-1-15,122 18 0,-18 0 0,-34 18 16,18 16-16,-18 2 0,17-1 0,-18 18 16,18 1-16,-158 68 15,158-51-15,18 17 0,-1-17 16,37 17-16,-19-18 0,36 18 0,0 0 15,35-34-15,18 16 0,-1 1 16,1 53-16,35-55 0,35 2 16,1 0-16,-1-1 0,35-16 0,37 16 15,16 1-15,18-19 0,0 1 16,35-17-16,0-1 0</inkml:trace>
  <inkml:trace contextRef="#ctx0" brushRef="#br0" timeOffset="189979.19">28058 18966 0,'1642'-17'0,"-1537"-19"15,-17 1-15,19-18 0,-37 18 0,18-18 16,-17-18-16,0 18 0,-19-17 16,18 0-16,-34-1 0,104-158 15,-121 141-15,-2 17 16,1 0-16,-18 1 0,0 16 0,-18 1 16,-18 1-16,-16-1 0,-1 18 0,-18-1 15,1 19-15,-18-1 0,17 0 16,-17 18-16,-17 18 0,-2-18 0,19 0 15,0 18-15,0-1 0,17 0 0,1 2 16,16-2-16,20 18 0,-2-16 16,1-2-16,35 0 15</inkml:trace>
  <inkml:trace contextRef="#ctx0" brushRef="#br0" timeOffset="190540.33">30917 17785 0,'-36'17'16,"19"18"0,17-17-16,-18-18 15,18 18-15,0-1 0,0 0 16,18 2 0,16-38-16,-15 19 0,33 0 15,72-34 1</inkml:trace>
  <inkml:trace contextRef="#ctx0" brushRef="#br0" timeOffset="208398.45">29858 15350 0,'176'-35'16,"-69"17"0,69-17-16,0 18 15,-123-2-15,70 2 16,-70-1-1,18 1 1,-54 17-16,1 0 16,-18-17-16,18 17 15,-54 0 1,19 0-16,0 0 0,-1 0 16</inkml:trace>
  <inkml:trace contextRef="#ctx0" brushRef="#br0" timeOffset="208834.94">29981 15067 0,'0'0'16,"-69"54"-1,33-37 1,1 2-16,-1 15 0,19 1 16,-37 36-16,2-1 15,34-16-15,0-1 16,1-18-16,17-18 15,17 54-15,1-35 16,0-19-16,0-17 0,16 17 16,2 1-16,-18-18 0,70 18 15,-18 0-15,-16-18 16,68 0-16,-51 0 16,-35 0-16,-1 0 15,1 0-15,-2 0 16,2 0-16,-18 0 15,-18 17-15</inkml:trace>
  <inkml:trace contextRef="#ctx0" brushRef="#br0" timeOffset="212472.55">26436 16233 0,'18'17'15,"0"-17"-15,-1 0 16,19 17-16,-19-17 0,18 18 0,1-18 16,87 36-1,-70-19-15,0-17 0,-18 17 0,18-17 16,-18 0-16,18 0 0,1-17 16,16 17-16,36-36 0,-36 36 15,36-52-15,-53 35 16,-18-2-16,18 2 0,-17-18 0,-1 16 15,-1-15-15,2 16 0,-18 0 16,18 0-16,-19 1 0,18-36 16,-18 35-16,2-16 0,-2 15 15,-17-16-15,17-18 0,1 36 16,-18-37-16,0 20 0,0-2 16,0 18-16,-18-16 0,18-2 15,-17 1-15,17 18 0,-36-54 16,1 0-16,1 35 15,15 2-15,2 16 0,-18-18 0,-18-34 16,18 52-16,-1-16 0,1 15 16,-18-16-16,17 18 0,-16-2 15,-1-15-15,-1 16 0,2 0 16,-1 0-16,0 1 0,1 17 0,-19-17 0,18-1 16,-18 18-16,0-18 0,1 18 15,18 0-15,-19 0 0,0 18 16,-53 0-16,54-1 0,-1 18 15,0-17-15,19 17 0,-18 18 0,16-18 16,-51 89-16,-2 0 16,73-55-16,-20 91 0,37-90 15,0 19-15,17-20 16,0 2-16,17 0 0,0-1 0,107 125 16,-70-124-16,-2-37 15,18 20-15,1-20 16,0 2-16,53 16 0,-55-52 15,-16 19-15,54-2 0,-38-34 0,-15 17 16,16 0-16,1-19 0,-18 2 16,-1 0-16</inkml:trace>
  <inkml:trace contextRef="#ctx0" brushRef="#br0" timeOffset="213981.37">28270 16233 0,'0'17'15,"36"18"-15,-18-35 16,-1 17-16,0 2 0,19-2 0,18 0 0,-20-17 16,1 18-16,1-18 15,-1 18-15,18-18 0,-17 0 0,16 0 16,72-18-16,-72 0 15,19 18-15,-1-34 0,-16 15 0,16 2 16,-16-1-16,-2 1 0,-16-19 16,52 1-16,-35-1 0,-18 19 15,-1-18-15,2-1 0,-18 19 16,18-18-16,-19-1 0,54-88 16,-54 90-16,-17-20 0,17 20 15,-17-2-15,0-16 0,0-2 16,0 1-16,-17 1 0,17-1 15,-17-1-15,-19-68 0,18 51 16,-16 18-16,15-18 0,-16 0 0,-18 19 16,18-1-16,-18 0 0,0-1 0,1 2 15,-19 16-15,18 2 0,-1-2 16,2 1-16,-18 18 0,-18-1 16,-54 0-16,72 18 0,-1 0 0,-88 18 15,71 0-15,0 16 16,0 2-16,18-1 0,-20 18 15,-68 89-15,70-54 0,17 0 16,19-18-16,-55 142 0,73-106 16,16-18-16,0 18 0,18-18 15,0 18-15,18-1 0,0-16 0,16-1 16,20 18-16,70 52 16,-55-104-16,2 16 0,-1-18 0,18-16 15,-17-1-15,0 1 0,87 16 16,-34-33-16,-18-19 15,-70 0-15,-2 0 0,2-19 16,-1 19-16,1 0 16,-1-17-16,-18-1 0,2 18 0,15-17 15</inkml:trace>
  <inkml:trace contextRef="#ctx0" brushRef="#br0" timeOffset="-214109.37">28448 15386 0,'0'-19'15,"-19"55"1,19-1-1,-17-18-15,17 2 16,0 16-16,0-18 0,0 2 0,0 15 0,0-16 16,0 0-16,0 17 15,0-18-15,0 1 0,17 0 0,-17 0 16,0-1-16,0 0 0</inkml:trace>
  <inkml:trace contextRef="#ctx0" brushRef="#br0" timeOffset="-213934.37">28324 15721 0,'17'-18'0,"-17"0"16,36 18 0,-1 0-16,-18 0 15,2-18-15,-2 18 0,0 0 0,37 0 16,-37 0-16,0 18 0,1-18 15</inkml:trace>
  <inkml:trace contextRef="#ctx0" brushRef="#br0" timeOffset="-213726.35">28429 15950 0,'53'0'31,"-35"-17"-15,-1 17-16,2 0 0,15 0 15,-16 0-15,18-19 0,-19 19 0,0 0 16,19 0-16,-18 0 0,-1 0 0,0-17 16,2 17-16</inkml:trace>
  <inkml:trace contextRef="#ctx0" brushRef="#br0" timeOffset="-210877.53">15906 7201 0,'35'17'15,"-18"-17"-15,1 0 0</inkml:trace>
  <inkml:trace contextRef="#ctx0" brushRef="#br0" timeOffset="-210698.8">16841 7042 0,'17'0'31,"1"-17"-31,-1 17 16</inkml:trace>
  <inkml:trace contextRef="#ctx0" brushRef="#br0" timeOffset="-210529.48">17776 6901 0,'53'-18'16</inkml:trace>
  <inkml:trace contextRef="#ctx0" brushRef="#br0" timeOffset="-210362.28">18517 6830 0,'35'-17'0,"-18"17"15,-17-18 1</inkml:trace>
  <inkml:trace contextRef="#ctx0" brushRef="#br0" timeOffset="-209613.11">16136 8083 0,'69'0'15,"-16"0"1,-17 0-16</inkml:trace>
  <inkml:trace contextRef="#ctx0" brushRef="#br0" timeOffset="-209463.22">17088 7994 0,'17'0'0,"0"0"16,-17-17-16,19 17 0,-2 0 16,18 0-1,1-18-15</inkml:trace>
  <inkml:trace contextRef="#ctx0" brushRef="#br0" timeOffset="-209347.11">17934 7889 0,'54'-18'0</inkml:trace>
  <inkml:trace contextRef="#ctx0" brushRef="#br0" timeOffset="-209217.43">19045 7783 0,'0'0'16,"19"0"-16,-2 0 0,0-17 16,1 17-16,0 0 15</inkml:trace>
  <inkml:trace contextRef="#ctx0" brushRef="#br0" timeOffset="-208654.38">13560 6954 0,'0'-17'31,"-18"17"-16,-18-18 1,19 18-16,-18 0 16</inkml:trace>
  <inkml:trace contextRef="#ctx0" brushRef="#br0" timeOffset="-208538.83">12501 6919 0,'-52'-18'0,"-1"18"15,35 0-15,1 0 0</inkml:trace>
  <inkml:trace contextRef="#ctx0" brushRef="#br0" timeOffset="-208172.27">10226 6989 0,'-124'0'16,"107"0"-16,-36 0 15,35 0-15,1 0 16,0 0-16,-2 0 0,2 0 15,-1 0-15</inkml:trace>
  <inkml:trace contextRef="#ctx0" brushRef="#br0" timeOffset="-207726.13">13684 7994 0,'-36'19'15,"1"-19"1,18 17 0,-2-17-16,2 0 0</inkml:trace>
  <inkml:trace contextRef="#ctx0" brushRef="#br0" timeOffset="-207601.05">13137 8171 0,'-53'18'0,"35"-18"0,89-18 0,-178 36 0,90-18 16,0 17-16</inkml:trace>
  <inkml:trace contextRef="#ctx0" brushRef="#br0" timeOffset="-207477.22">12220 8277 0,'-71'17'0,"0"-17"0,213-17 0,-320 34 16,108 2-16</inkml:trace>
  <inkml:trace contextRef="#ctx0" brushRef="#br0" timeOffset="-207369.28">11144 8383 0,'-159'35'0</inkml:trace>
  <inkml:trace contextRef="#ctx0" brushRef="#br0" timeOffset="-207237.77">10314 8435 0,'-105'0'0,"210"0"0,-246 0 0,106 0 16,-1 0-16,-34 18 0,35-18 0</inkml:trace>
  <inkml:trace contextRef="#ctx0" brushRef="#br0" timeOffset="-203329.3">14089 11346 0,'-17'17'0,"17"1"15,-18-18 1,18 18-16,-18 0 31,0-36 16,18 0-31,-17 0-1,17 1-15,0 0 0,0-1 0,0 0 16,0 0-16,0 1 0,0 0 16,0-2-16,0 2 0,0-1 0,0 1 15,0 0 1,17-2-1,1 55 1,0-19-16,-18 1 16,18-18-16,-18 17 0,17-17 0,-17 19 15,17-2 1,1-34-16,0 17 16,0-36-1,-18 18-15,17 1 0,-17 0 16,17-2-16,-17 2 15,19 17-15,-2 17 16,-17 2-16,18 15 16,-18-16-1,17-1-15,-17 2 0,0-2 0,0 0 0,0 1 16,17 0-16,-17 0 0,0-1 0,0 0 16,19 1-16,-19 0 15,17 0 1</inkml:trace>
  <inkml:trace contextRef="#ctx0" brushRef="#br0" timeOffset="-203058.86">14548 11241 0,'17'-19'16,"19"2"-1,-1 17 1,1 0-1</inkml:trace>
  <inkml:trace contextRef="#ctx0" brushRef="#br0" timeOffset="-202870.35">14565 11434 0,'36'-17'31,"-1"17"-15,-18-18-16,2 18 0,15-18 15,-16 18-15,-1-18 0,2 18 0,-2 0 16</inkml:trace>
  <inkml:trace contextRef="#ctx0" brushRef="#br0" timeOffset="-202346">15270 11346 0,'-17'-17'15,"17"-1"-15,0 0 0,0 0 16,-17 1-16,17 0 16,0-2-16,0 2 0,0-1 0,0 1 15,0 0-15,0-2 16,0 2-1,17 53 17,0-19-17,2-17-15,-2 0 16,18-17 0,-18-2-16,2 19 0,-2-17 15,1-1-15,-1 1 0,2-2 16,-2 19-16,-17-17 15,17 34-15,1-17 16,-18 19-16,18-19 0,-18 17 16,18 1-16,-18-1 15,0 2-15,17-19 0,-17 17 0,0 0 0,17 1 16,-17-1-16,18-17 0,-18 19 16,0-2-16,0 0 0</inkml:trace>
  <inkml:trace contextRef="#ctx0" brushRef="#br0" timeOffset="-201643.54">14830 11734 0,'71'0'0,"-54"0"0,18 0 0,1-17 16,35 17-16,-19-18 0,1 18 0,0-18 16,18 0-16,52-16 0,-53 15 15,-16 2-15,51-18 16,-52 18-16,-18-19 0,18 18 16,1-18-16,-2 2 15,-34 16-15,0 0 0,-1-17 16,0 18-16,1-19 0,-18 18 0,0-52 15,0 35-15,0-1 0,-18-16 16,18-1-16,-17 17 0,0-16 16,-1-2-16,-18 20 0,-34-73 15,-36 19-15,53 53 16,-18-1-16,1 2 0,-18-2 0,0 1 16,-88-1-16,-36 1 15,0 18-15,-18-2 16,125 19-16,-19 19 15,1-2-15,-18 1 0,0 18 0,-1-2 16,20 20-16,-2-2 0,36-16 0,-19 34 16,19 1-16,-105 158 15,157-158-15,1 0 16,35 87-16,35 1 0,1-88 16,-2-2-16,37 2 0,36-1 0,15-16 15,20-1-15,-1-18 16,176 18-16,35-36 15,-174 1-15,-2-36 0,-52 18 0,-2-17 16,2 17-16,-18-17 0,0-19 16,34 1-16,-104 16 0</inkml:trace>
  <inkml:trace contextRef="#ctx0" brushRef="#br0" timeOffset="-192753.74">2958 8453 0,'-17'-18'31,"17"36"63,-17 0-79</inkml:trace>
  <inkml:trace contextRef="#ctx0" brushRef="#br0" timeOffset="-192447.55">2412 8594 0,'-18'0'16,"36"0"-16,18 0 15,-2 0 1,2 0-16,-1-17 0,70 17 15,-51-18-15,-1 18 0,18 0 16,-19-17-16,18 17 0,37-19 16,-55 19-16,19-17 0,-35 17 15,-2-17-15,2 17 16,-1 0-16,-18 0 0,2 0 16,-2 0-16</inkml:trace>
  <inkml:trace contextRef="#ctx0" brushRef="#br0" timeOffset="-192170.2">3048 8506 0,'-19'53'15,"19"-35"1,0 18-16,0-19 0,0 35 0,0-16 16,0 17-16,0-1 0,0 2 15,0 34-15,0-52 0,0 52 16,0-71-16,0 18 16,0-17-16,0 17 0,0-18 15,0 2-15,0-2 0,0 1 16,0-1-16,0 0 15,0 2-15</inkml:trace>
  <inkml:trace contextRef="#ctx0" brushRef="#br0" timeOffset="-190651.42">2500 9547 0,'36'18'0,"-2"-36"15,-15 18-15,-2 0 16,18 0-16,-18-18 0,54 18 15,-35-18-15,17 18 16,-1-17-16,2 17 0,-20-17 0,2 17 16,-1-18-16,1 18 0,-19-18 0,18 18 15,-16 0-15,-2-18 0,18 18 16,-17 0-16,0 0 16,-1 0-1,-17 18-15,0 0 16,0 0-16,0-1 0,17 0 15,-17 1-15,0 18 0,0 34 16,19-35-16,-19 1 0,17 69 16,-17-51-16,18-2 0,-1 54 15,0 0 1,2 18-16,-2-2 16,1-51-16,-1 70 0,-17-53 15,19 71 1,-19-70-16,17-1 0,-17-17 0,17 88 15,-17-89-15,0 0 0,0 0 16,18 72-16,-18-89 16,0 18-16,17 70 0,-17-36 15,19-51-15,-19-2 16,0 37-16,0-37 16,17 1-16,-17 1 15,0-20-15,0-16 16,0 0-16,0 0 15,-17 16-15,17-16 16,0 0-16,-19 0 16,19-1-16,-17 0 15,-1 2-15,18-2 16,-34 1-16,15-1 16,2 2-16,-1-19 15,-18 34-15,2-16 16,-20-1-16,20 2 15,-2-2-15,-104 36 16,86-18-16,-70 1 0,19-1 16,52-18-16,-35 19 15,0-1 1,52-18-16,18-17 0,-16 19 16,-2-19-16,18 0 15,1 0-15,0 0 0,-2-19 16,-16-33-1,18 33-15,17-15 0,-19-1 16,-15-72-16,-20-15 16,37 51-16,0 0 0,-19-17 15,1-70-15,-18-37 16,1 0-16,16 107 16,1-17-16,-18-90 15,35 107-15,-35-70 0,18-1 16,17 88-16,-53-193 15,71 158 1,-17 54 0,-1-19-16,18 35 15,0 1-15,-17-70 0,17 86 16,0-15-16,0 16 0,0-18 16,0 19-16,0 0 0,0-19 15,0 1-15,17 18 16,-17-2-16,0 2 0,0-18 15,0 16-15,0 2 16,0 0 0,0-1 15,0 0 0,18 18-15,-1 0-1,2 0 1,-2-18 0,0 18-16,19-17 0,-18 17 15,16-17-15,-16 17 0,52-18 16,20-18-16,-38 19 16,1 0-16,-18-2 0,18 2 15,0-1-15,35-18 0,-17 2 16,-36 16-16,1 18 15,-19-17-15,18 17 16,-17 0-16,0 0 16</inkml:trace>
  <inkml:trace contextRef="#ctx0" brushRef="#br0" timeOffset="-189978.4">3082 12810 0,'18'71'0,"-1"-18"16,2-1-16,-2 19 0,18 87 15,-17-70-15,17 2 0,-18 15 16,19 90-16,-18-90 16,16 88-16,-15-103 0,16 156 15,-35-194 1,0 2-16,17 16 0,-17-52 16</inkml:trace>
  <inkml:trace contextRef="#ctx0" brushRef="#br0" timeOffset="-188918.37">1936 11646 0,'-18'17'0,"36"-51"62,-1 34-62,54-36 16,-18 18-16,52-35 0,-34 36 16,-18-18-16,89-18 15,51-35-15,-86 52 16,-55 1-16,54-1 15,-18 1-15,-53 18 16,1 0-16</inkml:trace>
  <inkml:trace contextRef="#ctx0" brushRef="#br0" timeOffset="-188265.83">3946 10817 0,'0'0'15,"-17"-18"-15,0 53 16,17-16-16,0-2 16,0 18-16,0-17 0,0 52 15,17-34-15,-17 34 16,35 1-16,-17-36 15,17-18 1,-35 2-16,36-19 16,16-19-16,-35 2 15,2 17-15,-2-18 0,1-35 16,-18 36-16,17-18 0,-17-1 16,-17 19-16,-18-125 15,-18 72-15,18 16 16,16 37-16,2 0 0,0-1 15,-1 1-15,0 17 16,0 0-16,1 35 16,17-18-16,17 0 0,-17 19 15,36 52-15,-18-52 16,35 52-16,-18-36 16,53 72-16,-52-89 0,-2 1 15,-16-19-15,35 19 16,-18-1-16,-17-18 15,17 1-15,1-18 16,-1-18-16,-18 18 16,-17-17-16</inkml:trace>
  <inkml:trace contextRef="#ctx0" brushRef="#br0" timeOffset="-187520.53">4512 11117 0,'17'-18'16,"0"36"-16,1-18 0,-18 17 15,17 2 1,-17-2-16,0 0 16,19 1-16,-2-18 15,0 17-15,1-17 16,0 0-16,0 19 0,-1-19 0,0 17 16,19-17-16,-36 17 15,18-17-15,-18 18 16,0 0-16,0 0 0,-18-1 15,1 0-15,-2 1 0,2 18 16,-18-2-16,-1-15 0,19-2 16,0 1-16,-19-1 0</inkml:trace>
  <inkml:trace contextRef="#ctx0" brushRef="#br0" timeOffset="-182784.89">14989 7818 0,'0'-17'15,"0"51"1,0-15 0,0-2-16,0 1 0,17-1 15,-17 2-15,0-2 0,0 0 16,0 1-16,0-1 0,0 2 15,18-2 1,-18 0 0</inkml:trace>
  <inkml:trace contextRef="#ctx0" brushRef="#br0" timeOffset="-182475.2">14989 7854 0,'-19'17'31,"2"1"-15,0 35-1,17-36-15,-18-17 0,18 18 16,0-1 0,-17 2-16</inkml:trace>
  <inkml:trace contextRef="#ctx0" brushRef="#br0" timeOffset="-182286.64">14953 7871 0,'36'18'15,"-19"-1"-15,1-17 0,-1 19 16,2-19-16,-2 0 15,0 17-15,1-17 16,0 0-16,0 17 16</inkml:trace>
  <inkml:trace contextRef="#ctx0" brushRef="#br0" timeOffset="-181114.45">25130 693 0,'54'193'0,"-37"-105"0,2 19 16,15 15-16,-16 2 0,0 18 16,17 16-16,0 1 0,1 0 0,-19-1 15,19 1-15,-19-18 0,35 159 16,-33-177-16,-2 1 0,1-19 15,-1-17-15,2 19 0,-2-19 16,0-17-16,1-18 0,-18 18 0,18-2 16,-18-33-16,18-19 15,-18 1-15,0 0 0</inkml:trace>
  <inkml:trace contextRef="#ctx0" brushRef="#br0" timeOffset="-180753.57">24108 3338 0,'-18'0'0,"72"0"31,16-17-31,0 17 0,19-18 0,34 0 16,35-17-16,20 18 0,-2-2 16,36-16-16,476-53 15,-195 35-15,-246 36 16,18-19-16,-18 18 0,263-35 16,-262 36-16,599-71 15,158 105-15,-1817-52 0,971 18 16,1305 476-16,-2804-937 0,1445 478 0,1147 371 0,-2397-759 0,1233 371 15,652 351-15,-1428-668 0,1271 598 0,-1095-546 0,548 282 16,157 52-16,-352-121 0,195 69 0,123 52 0,-300-104 0,158 33 16,54 38-16,-125-38 0</inkml:trace>
  <inkml:trace contextRef="#ctx0" brushRef="#br0" timeOffset="-178960.23">25518 3109 0,'36'0'16,"-1"0"-1,-16 0 1,-2-18-16,0 18 0,1 0 15,18 0-15,-19-17 0,0 17 16,1-19-16,18 19 0,-19-17 0,0 17 16,2-17-16,-2 17 0,1-18 0,-1 18 15,2-18-15,-2 0 16,0 1-16,1 17 0,-18-17 0,17-2 16,-17 2-16,19 17 0,-19-18 0,17 1 15,-17 0-15,17-2 16,-17 2-16,18-1 0,-18 1 15,0-2-15,0 2 0,18 0 16,-18-1-16,0 1 0,18-2 0,-18 2 16,0-18-16,17 17 0,-17 0 15,0 1-15,0 0 0,17-2 0,-17 2 16,0-35-16,18 33 16,-18 2-16,0-1 0,18-18 0,-18 19 15,0 0-15,0-19 0,0 18 0,18 1 16,-18-18-16,0-1 15,0 2-15,17 15 0,-17 2 16,0-18-16,0 18 0,0-2 0,17-16 16,-17 18-16,0-2 0,0 2 15,19-18-15,-19 17 0,0 0 0,0-16 16,17 16-16,-17-18 0,18 2 0,-18 15 16,0-16-16,0 18 0,17-19 15,-17 19-15,0-18 0,19 16 0,-19 2 16,0-18-16,17 17 0,-17-17 0,0 18 15,17-2-15,-17-16 0,0 18 16,18 0-16,-18-2 0,17-16 0,-17 18 16,0-2-16,0 2 0,19 0 0,-19-19 15,17 18-15,-17 1 16,17 0-16,-17-19 0,0 18 16,18 1-16,-18 0 0,18-2 0,-18-16 15,18 18-15,-18 0 0,0-2 0,17 2 16,-17-18-16,17 16 0,2 2 15,-19 0-15,17-1 0,1 0 0,-1 0 16,0 1-16,19-18 0,-18 17 16,-1 0-16,19 1 0,-19 17 15,1-17-15,18-2 0,-19 2 16,0-1-16,19 18 0,-1-17 0,-18-2 16,19 19-16,-18-17 15,-1 17-15,2-17 0,-2 17 0,0 0 16,-17-18-16,18 18 0,-1 0 0,2 0 15,-2 0-15,0 0 0,1 0 16,0-17-16,0 17 0,-1 0 0,0 0 16,1 17-16,0-17 0,0 0 0,-1 0 15,0 18-15,19-18 0,-18 17 16,-1-17-16,36 36 0,-18-19 16,-16 1-16,15-1 0,-16 2 0,0-2 15,17 18-15,1-17 0,-19 17 16,1 0-16,-1 1 0,0-19 0,2 19 15,16-1-15,1 35 16,-19-35-16,0 1 0,1 17 16,18-18-16,-19 0 0,0 1 0,1 17 15,52 70-15,-34-70 16,-1 0-16,18 53 0,-18-36 0,-16-16 16,15 16-16,-16-18 0,18 19 15,-19 0-15,0-1 0,1 1 0,0-18 16,0-1-16,-1 2 0,0-1 15,2-18-15,-2 18 0,1-18 16,18 1-16,-19-19 0,0 0 0,18 19 16,-16-18-16,-2-1 0,18-17 0,-17 17 15,17 2-15,-18-19 0,2 0 16,-2 0-16,1 0 0,-1 0 16,0-19-16,2 19 15,-19-17-15</inkml:trace>
  <inkml:trace contextRef="#ctx0" brushRef="#br0" timeOffset="-178278.53">26965 851 0,'19'18'31,"-19"-1"-16,17 0-15,-17 2 0,0 16 16,17-18-16,-17 2 16</inkml:trace>
  <inkml:trace contextRef="#ctx0" brushRef="#br0" timeOffset="-178126.57">27106 1274 0,'0'17'16,"0"2"0,0-2-16,0 1 0,0-1 15,-17 2-15</inkml:trace>
  <inkml:trace contextRef="#ctx0" brushRef="#br0" timeOffset="-177990.13">27177 1979 0,'17'36'0,"-34"-72"0</inkml:trace>
  <inkml:trace contextRef="#ctx0" brushRef="#br0" timeOffset="-177809.52">27353 2650 0,'19'36'0,"-38"-72"16,38 107-16,-19-54 16,0 0-16,0 2 0,0-2 15,0 1-15,0-1 0,17 2 16,-17-2-16,0 0 0,0 1 15</inkml:trace>
  <inkml:trace contextRef="#ctx0" brushRef="#br0" timeOffset="-177697.61">27582 3074 0,'-17'35'15,"0"-18"1</inkml:trace>
  <inkml:trace contextRef="#ctx0" brushRef="#br0" timeOffset="-166738.15">11002 7589 0,'0'106'0,"18"-18"16</inkml:trace>
  <inkml:trace contextRef="#ctx0" brushRef="#br0" timeOffset="-160753.89">27548 3197 0,'17'-18'15,"0"1"1,2 17-16,-2 0 16,-17-19-16,18 19 15,-1 0-15,-17-17 16,17 17-1,-51 17 1,-1-17 0,35 19-16,-19-19 0,2 17 15,0-17-15,-1 18 16,0-1-16,0-17 0,18 19 0,-17-19 16,17 17-16,-17 0 15,34 1 16,18-18-15,1 0-16,-2 0 0,20 18 31,-20 0-15,-15 16 0,-55 20-1,19-54-15,-1 17 0,1 0 0,-2 2 16,-33-2-1,34 1-15,0-18 0,1 0 16,17 17-16,-36-17 16,19 0-1</inkml:trace>
  <inkml:trace contextRef="#ctx0" brushRef="#br0" timeOffset="-154468.48">27230 1662 0,'0'17'16</inkml:trace>
  <inkml:trace contextRef="#ctx0" brushRef="#br0" timeOffset="-154286.39">27282 2050 0,'0'19'16,"0"-2"-16,-17 18 15,17-18 1,0 2-16</inkml:trace>
  <inkml:trace contextRef="#ctx0" brushRef="#br0" timeOffset="-154139.7">27301 2421 0,'0'17'16,"0"2"-16,0-2 16</inkml:trace>
  <inkml:trace contextRef="#ctx0" brushRef="#br0" timeOffset="-150310.72">26594 851 0,'19'18'125</inkml:trace>
  <inkml:trace contextRef="#ctx0" brushRef="#br0" timeOffset="-150110.67">26665 957 0,'19'53'16,"-19"-36"-16</inkml:trace>
  <inkml:trace contextRef="#ctx0" brushRef="#br0" timeOffset="-149971.46">26718 1221 0</inkml:trace>
  <inkml:trace contextRef="#ctx0" brushRef="#br0" timeOffset="-149814.53">26754 1415 0,'0'35'16</inkml:trace>
  <inkml:trace contextRef="#ctx0" brushRef="#br0" timeOffset="-149666.7">26789 1627 0,'0'18'0,"0"-1"31,0 0-15</inkml:trace>
  <inkml:trace contextRef="#ctx0" brushRef="#br0" timeOffset="-149517.97">26842 1821 0,'0'18'15,"0"0"1,0-1 0</inkml:trace>
  <inkml:trace contextRef="#ctx0" brushRef="#br0" timeOffset="-149377.24">26860 2033 0,'0'17'16,"-18"19"-1</inkml:trace>
  <inkml:trace contextRef="#ctx0" brushRef="#br0" timeOffset="-149229.55">26913 2262 0,'0'17'0,"0"1"31</inkml:trace>
  <inkml:trace contextRef="#ctx0" brushRef="#br0" timeOffset="-149094.64">26948 2438 0,'0'19'31,"0"-2"-15</inkml:trace>
  <inkml:trace contextRef="#ctx0" brushRef="#br0" timeOffset="-148969.33">27001 2597 0,'0'18'16,"0"0"0</inkml:trace>
  <inkml:trace contextRef="#ctx0" brushRef="#br0" timeOffset="-148835.31">27018 2738 0,'0'17'32</inkml:trace>
  <inkml:trace contextRef="#ctx0" brushRef="#br0" timeOffset="-148694.27">27053 2809 0,'0'0'16,"0"17"0,0 2-1</inkml:trace>
  <inkml:trace contextRef="#ctx0" brushRef="#br0" timeOffset="-148573.58">27053 2933 0</inkml:trace>
  <inkml:trace contextRef="#ctx0" brushRef="#br0" timeOffset="-147662.03">27018 3303 0,'-17'35'15,"0"0"1,-2-17-1,19 0-15,0-1 0,-17 0 16,17 19-16,-18-18 16,18-1-1,18 2-15,-1-2 16,2-17 0,-2 0-1,0 0-15,-17-17 0,18 17 16,-1 0-16,-17-19 0,19 19 15,-19-17-15,17-1 0</inkml:trace>
  <inkml:trace contextRef="#ctx0" brushRef="#br0" timeOffset="-147508.1">27036 3321 0,'0'17'15,"17"-34"-15,-34 51 16,17-16-16,-18 0 0,36-88 0,-36 175 0,18-88 15,0 19-15,18-1 0,-18 1 0,0-1 16,0 18-16,0 0 16,17-1-16,-17-16 0,0-1 0,0 1 0,0-19 15,19 18-15</inkml:trace>
  <inkml:trace contextRef="#ctx0" brushRef="#br0" timeOffset="-146727.24">28324 4097 0,'0'53'15,"17"35"-15,-17-36 0,17 37 16,-17-19-16,19 19 0,-19-20 15,17 21-15,-17-2 0,0 17 16,18-17-16,-18 0 0,0-17 0,17-1 16,-17 1-16,0-18 0,19 1 0,-19-20 15,0 2-15,0-1 0,17-18 16,-17 1-16,0 0 16,17 0-16</inkml:trace>
  <inkml:trace contextRef="#ctx0" brushRef="#br0" timeOffset="-146382.43">27548 5243 0,'158'-53'16,"-316"106"-16,404-123 16,-158 52-16,0 0 0,19 0 0,52 1 0,-37 0 15,37-19-15,1 18 0,-1 1 16,-1 0-16,1-2 0,246-33 16,-281 33-16,-1 2 15,-16 0-15,-2-1 0,0 70 16,-105-122-16,178 140 0,-268-158 0,161 88 0,-52 18 0,15-53 0,20 18 15,-37 17-15,18 0 0,1 0 0,-19-18 16,0 18-16,2 0 0,-2 0 16,1-18-16,-72 18 15</inkml:trace>
  <inkml:trace contextRef="#ctx0" brushRef="#br0" timeOffset="-143530.27">27212 3514 0,'53'0'32</inkml:trace>
  <inkml:trace contextRef="#ctx0" brushRef="#br0" timeOffset="-142912.7">27212 3497 0</inkml:trace>
  <inkml:trace contextRef="#ctx0" brushRef="#br0" timeOffset="-141533.39">12872 710 0,'0'17'16,"0"19"-16,0 70 0,0-36 15,0 36-15,0 123 0,17-88 16,2 177-16,15-36 16,-34-176-16,18 0 0,0 0 15,0-18-15,-1 0 0,18 53 16,-17-88-16,0 53 0,-1-70 15,-17-19-15,17 35 0,-17-33 16</inkml:trace>
  <inkml:trace contextRef="#ctx0" brushRef="#br0" timeOffset="-141198.49">12113 2703 0,'353'-88'16,"-230"52"-1,18 2-15,195-54 16,35-19-16,-160 72 0,213-71 15,16 18-15,-211 53 16,-17-1-16,17 1 0,-17 18 16,0-19-16,352-17 15,-388 35-15,-52 1 0,0 17 0,-1-17 16,89-1-16,-124 18 16,-17-18-16,-1 18 0,18-18 15,-70 18-15,-1 0 0,2 0 16</inkml:trace>
  <inkml:trace contextRef="#ctx0" brushRef="#br0" timeOffset="-139919.39">12978 2491 0,'35'0'31,"-18"0"-15,1-17-16,0 17 0,0-17 15,-1 17-15,19-19 0,-1 2 0,18-18 16,-1 16-16,-16 2 16,-1-18-16,1 17 0,-2 0 15,2-16-15,16-20 0,-16 37 0,18-54 16,-37 54-1,0-36-15,1 18 16,-18 16-16,17-15 0,-17-2 0,19 18 16,-2-52-16,-17 35 15,17-36-15,-17 54 0,18-19 0,0-52 16,-18 53-16,18-1 16,-1 2-16,-17-2 0,17 1 0,2-1 15,-19-16-15,52-37 16,-35 54-16,-17-18 15,19 18-15,-2-1 0,1-16 0,-1 16 16,2 19-16,-19-18 0,17-1 16,0-17-16,1 35 0,-18-16 15,18-2-15,-18 18 0,18-16 0,-1 15 16,0-33-16,-17 33 16,18-33-16,0 16 0,-18 19 0,18-18 15,-18 17-15,17 0 16,-17-16-16,17 16 0,2 0 0,-2 0 15,-17-16-15,35 15 0,-18 2 16,2-1-16,-2 1 0,1-2 16,-1 19-16,2-17 0,15 0 15,-16 17-15,0-18 0,52 18 0,-17-17 16,-36 17-16,19 0 16,-1 17-16,1-17 0,-1 0 15,-18 18-15,54-1 0,18 19 16,-54-36-16,-18 17 0,19 1 15,-1-1-15,1 19 0,16 17 16,-16-35-16,-2 16 0,37 20 16,-18 16-16,-18-35 15,1 1-15,35 52 16,-37-53-16,2 18 0,34 18 16,0 17-16,-34-52 15,-1-2-15,1 1 0,16-16 16,-16 15-16,52 37 0,-53-36 0,54 18 15,16 0-15,-51-18 16,16 1-16,-18-1 0,2 1 16,-1-2-16,-1-16 0,1 18 15,35-2-15,0 20 16,-52-37-16,-1-17 0,-16 17 16,33 2-16,-35-2 0,19-17 15,-19 0-15,-17 18 0,18-18 16,-53 0 15</inkml:trace>
  <inkml:trace contextRef="#ctx0" brushRef="#br0" timeOffset="-138305.4">14353 2438 0,'19'53'0,"-19"-35"16,0-1-16,0 2 0,0-2 16,0 0-16,17 1 0,-17 0 15,0 0-15,0-1 16,17-34 15,-17-19-15,18 18-1,-18 1-15,0 0 0,18 17 0,-18-19 16,18 2 0,-1 17-16,0 17 15,1 2 1,0-19 0,-18 17-16,18-17 15,-1 0 16,0-36-15,-17 19-16,19 17 16,-19-18-16,17 18 0,1-17 15,-1 17-15,2 0 16,-19 17 0,34-17-16,1 18 31,-16-18-31,-2 0 0,0 0 15,1 0-15</inkml:trace>
  <inkml:trace contextRef="#ctx0" brushRef="#br0" timeOffset="-138102.22">15077 2403 0,'-17'0'0,"51"-17"31,-16-2-31,0 19 32,0 0-32</inkml:trace>
  <inkml:trace contextRef="#ctx0" brushRef="#br0" timeOffset="-137946.43">15041 2545 0,'0'17'31,"0"-34"-31,36 17 16,-1 0-16,-17-19 0,0 2 15,-1 17-15,0-18 0,1 18 16</inkml:trace>
  <inkml:trace contextRef="#ctx0" brushRef="#br0" timeOffset="-137431.41">15677 2227 0,'-19'35'16,"19"-18"-1,19 19-15,-19-18 16,0-1 0,0 0-16,17-17 15,-17 19-15,18-38 31,18-15-15,-19 34 0,0-18-16,1 18 15,-1 0 1,2 0 0,-19 18-16,17-18 15,0 17 1,1-34 15,0-1 0,-18 0-31,18 18 16,-1 0-16,0-18 16,1 18-1,0 0-15,0-17 16,-1 17-16,0 0 15</inkml:trace>
  <inkml:trace contextRef="#ctx0" brushRef="#br0" timeOffset="-137290.25">16241 2209 0,'35'-18'31</inkml:trace>
  <inkml:trace contextRef="#ctx0" brushRef="#br0" timeOffset="-137134.62">16241 2315 0,'0'-106'0,"-17"212"16,69-124 15,-34 18-31,0 0 16,-18-18-16,17 18 0,-105 36 0,193-72 15,-86 19-15</inkml:trace>
  <inkml:trace contextRef="#ctx0" brushRef="#br0" timeOffset="-136560.39">16841 2069 0,'0'17'0,"0"0"16,0 1 0,17 18-1,-17-19 1,18-17 15,-1 0 0,2 0-31,-2-17 16,0 17 0,1 0-1,-18 17-15,18-17 16,0 0 15,-1 0-15,0 0-16,1 0 15,0 0 1,0 0 0,-1 0-16,0-17 15,2 17 1,-2 0-16,1-19 0</inkml:trace>
  <inkml:trace contextRef="#ctx0" brushRef="#br0" timeOffset="-135813.43">19310 586 0,'18'229'15,"-1"-141"-15,0 36 0,2 18 0,-2-20 16,18 178-16,-16-158 0,15 140 16,2-140-16,-18-37 0,-1-17 15,0 0-15,19 0 0,-18-17 16,-1-1-16,0-16 0,19 34 16,-18-52-16,-1-19 15,2-17-15,-2-17 31</inkml:trace>
  <inkml:trace contextRef="#ctx0" brushRef="#br0" timeOffset="-135447.3">18322 2457 0,'35'0'16,"1"0"-16,35-19 15,17 19-15,0-17 16,177-37-16,52 2 0,-141 34 16,0-17-16,19 0 0,-2 17 0,2 0 15,-2-16-15,2 15 0,386-50 16,-403 50-1,156-16-15,-210 35 0,123-36 16,-124 36-16,71-17 16,36-18-1,-177 35-15,-1 0 0,-16-18 0,16 18 16,-16 0-16,-19-18 16,1 18-16,0 0 0,-18-17 15,-36 17 1,19 0-16</inkml:trace>
  <inkml:trace contextRef="#ctx0" brushRef="#br0" timeOffset="-133805.54">19452 2315 0,'34'-18'15,"-16"18"1,0-18-16,0 18 16,-1-17-16,0 17 0,1 0 15,18-17-15,-19 17 16,0-18-16,2 18 0,16-18 0,-18 18 0,2-18 16,-2 18-16,18-17 0,-18 17 15,2-17-15,-2-2 0,0 19 0,19-35 16,-18 35-16,16-17 15,-15 0-15,16-19 0,-18 18 16,19 18-16,-19-17 0,1-2 16,-1 2-16,19 0 0,-19-1 0,1 0 0,18 0 15,16-16-15,-34 16 16,0 0-16,16 0 0,-15 1 16,-2 0-16,18-2 0,-18 2 0,2-1 15,16 1-15,-18-2 0,2 2 16,-2 0-16,0-1 0,1 18 0,0-36 15,0 19-15,-1 17 0,0-17 0,1-1 16,0 0-16,0 0 0,-1 1 0,0 0 16,-17-19-16,19 18 15,-2 1-15,1 0 0,-18-2 0,17 2 16,2-18-16,-2 16 0,0 2 16,-17 0-16,18-1 0,-1 0 15,2 0-15,-2 1 0,-17 0 16,17 17-16,1-18 0,-18 0 0,18 0 15,0 1-15,-1 0 0,-17-2 16,17 2-16,19-1 0,-18 1 16,-1 0-16,-17-2 0,17 2 0,2-1 15,-2 1-15,1-2 16,-18 2-16,17 0 0,2 17 0,-19-18 0,17 0 16,0 18-16,-17-18 0,18 18 15,-18-17-15,17 0 0,2-1 16,-2 18-16,0-18 15,1 0 1,0 1 0,0 17-1,-1 0-15,0 0 16,2 0-16,-2 0 16,-17 17-16,18-17 0,-1 18 15,0-18-15,2 0 0,-2 18 16,1 0-16,-1-1 0,2 0 15,15 1-15,-16 0 16,0 17-16,0-18 0,-1 2 16,0 16-16,1-35 0,0 17 15,0 2-15,-1-2 0,19 35 16,-1-16-16,-18-19 16,2 1-16,15 18 0,-16-19 15,18 18-15,-19-35 16,-17 18-16,17 0 0,1-1 0,0 0 15,0 2-15,-1 16 0,0-18 16,1 2-16,0-2 0,-18 0 16,18 1-16,-1-1 0,0 2 15,-17-2-15,19 0 0,-2 1 0,1-18 16,-1 18-16,-17 0 0,19-1 16,-2 0-16,0 2 0,1-2 15,18 35-15,-19-52 0,-17 19 0,35 16 16,-17-18-16,0 2 15,-1-2-15,19 18 16,-19-17-16,1 0 0,-1-1 0,0 0 16,2 19-16,-2-36 15,-17 18-15,18-1 0,-1-17 16,-17 17-16,19 2 0,-2-2 16,0 1-1,-51-53 16</inkml:trace>
  <inkml:trace contextRef="#ctx0" brushRef="#br0" timeOffset="-132810.02">21480 798 0,'17'17'0,"-17"1"0,17-18 16,-17 18-16,0 0 0,19-1 0,-19 0 16,0 2-16,0-2 0,17 1 15,-17 18-15,0-19 0,0 0 0,0 18 16,0-16-16,18-2 0,-18 0 15</inkml:trace>
  <inkml:trace contextRef="#ctx0" brushRef="#br0" timeOffset="-132672.6">21604 1381 0,'0'17'16,"0"0"-1,17 1-15,-34-70 0,34 121 16,-17-50-16,0-2 15,0 0-15,0 1 16</inkml:trace>
  <inkml:trace contextRef="#ctx0" brushRef="#br0" timeOffset="-132510.42">21692 1839 0,'17'35'0,"-17"36"31,0-54-31,0 0 16,-17-157-16,51 299 0,-34-142 0,0 1 15,0-1-15,0 2 0,0 15 16,0-16 0</inkml:trace>
  <inkml:trace contextRef="#ctx0" brushRef="#br0" timeOffset="-131994.62">21233 1115 0,'0'36'32,"0"-18"-32,0 34 31,0-34-31,0 0 0</inkml:trace>
  <inkml:trace contextRef="#ctx0" brushRef="#br0" timeOffset="-131660.18">21268 1591 0,'0'36'16,"0"-18"-16,-18-1 0,18 0 15,0 2 1,0-2-16,0 1 0,0-1 16,0 2-16,-17-19 0,17 17 15,17 0-15,-17 1 0,0 0 16,18 0-16,-18-1 15,17 18 1,2-17-16,-19 0 16,17-1-16,-17 0 15,0 2-15,17-2 0,-17 1 16,0-1-16,0 2 0,18-19 16,-18 17-16,0 0 0,0 1 15,0-1-15,0 2 0,0-2 0,18 0 16,-18 1-16,0 0 15,0 0-15,18-18 16</inkml:trace>
  <inkml:trace contextRef="#ctx0" brushRef="#br0" timeOffset="-130739.17">20880 1627 0,'17'71'16,"-17"-54"-16,0 18 0</inkml:trace>
  <inkml:trace contextRef="#ctx0" brushRef="#br0" timeOffset="-129269.67">22344 3673 0,'17'141'31,"-17"-88"-31,0 123 0,0 36 16,-17-106-16,17 0 0,0 17 16,-18 284-1,36-231 1,-18-123-16,17 16 0,2-33 0,-19 18 15,17-20-15,0 2 0,-17-18 16,18-1-16,0 0 0,0 1 16</inkml:trace>
  <inkml:trace contextRef="#ctx0" brushRef="#br0" timeOffset="-128919.33">21550 5014 0,'88'0'16,"-176"0"-16,282-17 0,-105-2 0,-1 2 15,35 17-15,-17-18 0,17 1 0,1 17 16,35-19-16,17 2 0,-18 0 15,20-1-15,-2 18 0,0-18 16,1 0-16,-1 1 0,-17 17 0,17-17 0,-52-1 16,17 18-16,18-18 0,-19 18 15,-34-18-15,17 18 0,-16 0 16,-2-17-16,-17 17 0,1 0 0,-19-17 16,-17 17-16,0 0 0,-1 0 0,2 0 15,-37 0-15,2 0 16,-2 0-16,-17-19 0,-53 19 15</inkml:trace>
  <inkml:trace contextRef="#ctx0" brushRef="#br0" timeOffset="-127696.56">22432 4873 0,'18'-36'31,"-18"18"-31,18 1 16,-18 0-16,17-19 16,0 18-16,2-16 0,-19 15 0,17-33 15,1 16-15,-1 1 16,-17 18-16,17-19 0,-17 19 15,19-37-15,-19 37 0,0-18 16,17-1-16,-17-17 0,18 18 16,-18-1-16,17-16 15,2 16-15,-19 2 0,17 16 0,-17-18 16,17 2-16,1-20 0,-18 37 16,17 0-16,2-37 15,-19 37-15,17-2 0,-17 2 16,17 0-16,-17-1 0,0 1 15,18 17 1,-18-19 0,18 38-1,-18-2 1,18-17-16,-18 18 0,0-1 16,17 19-16,-17-19 15,17 1-15,2-1 16,-19 2-16,17 15 0,1-16 15,-18-1-15,34 19 0,-34-19 16,19 1-16,-2 18 0,1-19 0,-1 0 16,2 19-16,-2-18 0,0-1 15,1 0-15,0 2 0,0-2 0,-1 1 16,18-1-16,-17 2 0,0-2 16,-1 0-16,0 1 0,19 0 0,-18-18 15,-1 18-15,19-1 0,-19 0 16,1 1-16,18 0 0,-19 0 0,36-1 15,-18 0-15,18 2 16,-18-2-16,-18 1 0,19-18 16,-1 17-16,1-17 0,-1 17 0,35 2 15,-34-19-15,-1 17 0,1-17 16,-1 18-16,-1-18 16,37 17-16,-35 2 0,-1-2 15,71 0-15,-18 1 16,-36-18-16,55 36 15,16-19-15,1 0 16,-71-17-16,106 36 16,-106-36-16,-18 18 0,-1-18 15,-15 0-15,16 0 16,1 17-16,16-17 0,-16 0 0,-19 0 16,0 0-16,1 0 15,-18-17-15,0-1 16</inkml:trace>
  <inkml:trace contextRef="#ctx0" brushRef="#br0" timeOffset="-127173.49">22749 3885 0,'19'36'16,"-19"-19"-1,0 18-15,0 1 0,0-19 16,0 0-16,0 19 0,0-1 15,0-18-15,0 19 16</inkml:trace>
  <inkml:trace contextRef="#ctx0" brushRef="#br0" timeOffset="-127036.02">22785 4538 0,'0'52'15,"0"-16"-15,0-19 16</inkml:trace>
  <inkml:trace contextRef="#ctx0" brushRef="#br0" timeOffset="-126308.92">22997 4202 0,'0'36'0,"0"-19"15,0 1-15</inkml:trace>
  <inkml:trace contextRef="#ctx0" brushRef="#br0" timeOffset="-126142.43">23032 4485 0,'0'0'0,"0"34"0,0-15 15,0-2-15,0 1 16,0-1-16,0 0 16,0 2-16</inkml:trace>
  <inkml:trace contextRef="#ctx0" brushRef="#br0" timeOffset="-126013.73">23049 4819 0,'0'88'47,"19"-34"-16</inkml:trace>
</inkml:ink>
</file>

<file path=ppt/ink/ink11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13:49.268"/>
    </inkml:context>
    <inkml:brush xml:id="br0">
      <inkml:brushProperty name="width" value="0.05292" units="cm"/>
      <inkml:brushProperty name="height" value="0.05292" units="cm"/>
      <inkml:brushProperty name="color" value="#FF0000"/>
    </inkml:brush>
  </inkml:definitions>
  <inkml:trace contextRef="#ctx0" brushRef="#br0">10998 13124 0,'17'0'63,"37"0"-48,16 17-15,142 54 31,-53-54-31,-19-17 0,1 0 16,18 0-16,-52 0 16,34 0-16,-36 0 15,-51 0-15,-37 0 16,0 0 0</inkml:trace>
  <inkml:trace contextRef="#ctx0" brushRef="#br0" timeOffset="4342.63">14967 8361 0,'35'0'78,"212"0"-63,-89 0 1,-16 0 0,-18 0-16,-54 0 0,1 0 15,-19 0 1</inkml:trace>
  <inkml:trace contextRef="#ctx0" brushRef="#br0" timeOffset="6953.77">8123 13212 0,'88'0'78,"176"17"-63,-105-17 1,177 0 0,-231 0-1,71 0-15,2 0 16,-56 0-16,37 0 15,-35 0-15,-1 0 16,-53 0-16,20 0 16,68 0-1,-87 0-15,-19 0 16,1 0-16,-18 0 16,53 0-1,-69 0 1,-2 0 78,-17-17-79,0-19 16,0 1-31,0-18 16,0 1-16,0-2 16,0-87-1,0 53-15,-36 17 16,19-17-16,-1 18 0,-16-72 31,15 125-31,2-36 16,17 35-16,-18-18 15,18 19-15,-17 17 188,-19 0-188,-140 0 16,52 0-16,-17 0 15,1 0 1,-2 0-16,-16 0 15,-20-17-15,20 17 16,-36-35-16,88 16 16,-53 2-16,-105-18 15,176 35 1,-19-18-16,-51-17 16,88 35-1,17-17-15,-71 17 16,72 0-1,16 0-15,1 0 16,-1 0-16,2 0 16,15 0 15,19 70 110,0 106-126,19-70 1,-2-18-16,-17-18 15,17 54-15,-17-36 16,0-17-16,36-35 16,-36 16-16,0-35 15,0 2 1,18-19 296</inkml:trace>
</inkml:ink>
</file>

<file path=ppt/ink/ink11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14:09.268"/>
    </inkml:context>
    <inkml:brush xml:id="br0">
      <inkml:brushProperty name="width" value="0.05292" units="cm"/>
      <inkml:brushProperty name="height" value="0.05292" units="cm"/>
      <inkml:brushProperty name="color" value="#FF0000"/>
    </inkml:brush>
  </inkml:definitions>
  <inkml:trace contextRef="#ctx0" brushRef="#br0">7537 6367 0,'0'-17'390,"0"0"-390,0-1 16,0 0 0,0 0-16,0 1 15</inkml:trace>
  <inkml:trace contextRef="#ctx0" brushRef="#br0" timeOffset="2054.27">16585 6279 0,'0'36'78,"0"-18"-63,0-1 17,0 0-17,0 1 17</inkml:trace>
  <inkml:trace contextRef="#ctx0" brushRef="#br0" timeOffset="3431.06">10641 5662 0</inkml:trace>
  <inkml:trace contextRef="#ctx0" brushRef="#br0" timeOffset="3969.91">12051 5698 0</inkml:trace>
  <inkml:trace contextRef="#ctx0" brushRef="#br0" timeOffset="4718.74">14979 5715 0</inkml:trace>
  <inkml:trace contextRef="#ctx0" brushRef="#br0" timeOffset="9686.76">6178 9349 0,'35'0'93,"35"0"-77,54 0-16,211 0 16,-70 0-16,-1 0 15,19 0-15,105 0 16,35 0-1,54 0-15,51 0 0,1 0 16,142 0 0,-142 0-16,54 0 15,122 0-15,-123 0 16,35 0-16,-70 0 16,-70 0-16,-1 0 15,-36 0-15,-51 0 16,-54 0-16,-106 0 15,35 0-15,-52 0 16,-70 0 0,-1 0-16,-70 0 0,-19 0 15,1 0-15,-18 0 16,-17 0 0,0 0-16,70 0 296,88 0-280,72 0-16,-38 0 16,20 0-16,52 0 15,-52 0 1,-1 0-16,-36 0 0,-103 0 16,-38 0-16,-16 0 15</inkml:trace>
  <inkml:trace contextRef="#ctx0" brushRef="#br0" timeOffset="20535.18">7325 6985 0,'0'-18'15,"17"1"-15,0 17 0,-17-17 0,19 17 16,-2-19-1,1 19-15,-1 0 16,-17 19 0,0-2-16,0 0 0,0 1 15,0 0-15,-17 34 16,-1-34-16,18 18 0,-17-19 0,17 0 0,-19 2 16,19-2-16,0 1 15,0-1 1,0 0-16,19-17 15,33-17 1,-16 17-16,-19-17 0,18 17 16,18-35-16,-17 35 0,-1-19 15,18 2-15,-18 0 0,53-19 16,-52 18-16,-1 18 16</inkml:trace>
  <inkml:trace contextRef="#ctx0" brushRef="#br0" timeOffset="21896.72">16691 6738 0,'-18'-17'15,"0"34"16,36 19 1,0-36-32,0 35 0,-1-18 15,-17 0-15,17-17 0,-17 19 16,0-2-16,19 1 0,-19 18 16,0-19-16,-19-17 15,19 17-15,0 1 16,-17 0-16,0-18 0,-1 18 31,53-54-15,-35 18-1,17 1-15,2 0 16,-19-2-16,17 19 0,-17-17 16,18-18-16,-18 16 0,17 2 15,-17 0-15,0-1 0,-17 1 16,17-19-1,-35 19-15,35-1 0,-19 0 16,-15 18-16,-20-18 0,37 1 16,-19 17-16,-16 0 0,16 0 15,-16 0-15,16 0 0</inkml:trace>
  <inkml:trace contextRef="#ctx0" brushRef="#br0" timeOffset="22781.53">10606 7021 0,'17'34'32,"-17"2"-17,0-18-15,0-1 0,-17 36 16</inkml:trace>
  <inkml:trace contextRef="#ctx0" brushRef="#br0" timeOffset="22918.12">10641 7531 0,'-18'19'0,"18"-2"15,0 1-15,0-1 16,0 2-16,0-2 0,0 0 16,0 18-16</inkml:trace>
  <inkml:trace contextRef="#ctx0" brushRef="#br0" timeOffset="23517.19">12034 7003 0,'0'18'0,"0"-1"32,-17 0-32,17 1 0,0 18 15,0-19-15,0 0 0,-18 2 16</inkml:trace>
  <inkml:trace contextRef="#ctx0" brushRef="#br0" timeOffset="23691.05">12105 7497 0,'0'17'0,"0"19"15,-18-36-15,18 52 16,-17-16 0,17-19-16,-19 1 15,19-1-15,0 2 0,0-2 16</inkml:trace>
  <inkml:trace contextRef="#ctx0" brushRef="#br0" timeOffset="24634.03">15157 6967 0,'0'18'16,"0"0"-1,0 0-15,0-1 0,0 0 16,0 1-16,0 0 0,0 0 16,0 16-16,0-15 0,0-2 15,0 1-15</inkml:trace>
  <inkml:trace contextRef="#ctx0" brushRef="#br0" timeOffset="24863.79">15245 7409 0,'-18'70'16,"18"-52"-16,0-1 0,0 0 16,-18 2-16,18-2 0,0 1 0,0-1 15,0 2-15,0-2 16,18 0-16,-18 1 0,18-1 16,-1 19-16,-17-19 15,0 1-15,17 0 0,-17 0 16,0-1-16,0 0 0,0 1 15,0 18-15,0-19 0,0 0 16,0 2-16,0-2 0,-17 1 0</inkml:trace>
</inkml:ink>
</file>

<file path=ppt/ink/ink11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14:47.332"/>
    </inkml:context>
    <inkml:brush xml:id="br0">
      <inkml:brushProperty name="width" value="0.05292" units="cm"/>
      <inkml:brushProperty name="height" value="0.05292" units="cm"/>
      <inkml:brushProperty name="color" value="#FF0000"/>
    </inkml:brush>
  </inkml:definitions>
  <inkml:trace contextRef="#ctx0" brushRef="#br0">6499 4811 0,'19'0'94,"104"18"-78,54 18-16,52-36 0,18 0 15,53 0-15,-71 0 16,53 0-16,-70 0 16,70 0-1,-71 0-15,-16 0 0,-19 0 16,89 0-16,-54 0 16,1 0-1,70 0-15,1 0 16,52 0-16,17 0 0,-70 0 15,230 0 1,-282 0-16,-37 0 16,2 0-16,-19 0 15,-35 0 1,-18 0-16,18 0 16,18 0-16,-35 0 15,34 0-15,18 0 16,-17 0-16,0 0 15,35 0-15,-35 0 16,17 0-16,-17 0 16,-35 0-16,17 0 15,-36 0-15,19 0 16,-1 0-16,1 0 16,-19 0-16,19 0 15,71 0 1,16 0-16,18 0 0,-17 0 15,0 0-15,-36 0 16,0 17 0,-52 0-16,-53 1 0,-37-18 15,2 36-15,-1-36 16,1 0 0,-19 0-16,18 0 15,-16 0 1</inkml:trace>
  <inkml:trace contextRef="#ctx0" brushRef="#br0" timeOffset="8015.81">679 3470 0,'35'0'250,"36"0"-235,-1 0-15,18 0 0,19 0 16,33 0-16,1 0 16,18 0-16,18 0 15,-1 0-15,-34 0 16,34 0-1,-18 0-15,1 0 0,-35 0 16,35 0-16,-54 0 16,36 0-1,-53 0-15,19 0 16,-38 0-16,38 0 0,-2 0 16,-17 0-16,-17 0 15,36 0 1,-37 0-16,70 0 15,-33 19-15,34-2 0,-18 18 16,1-35 0,17 18-16,-1 0 15,2-18-15,52 0 16,-18 17-16,0-17 16,2 0-16,-2 0 15,-18 0 1,-16 36-16,34-36 0,0 17 15,-35-17 1,-17 18-16,52-1 0,-88 19 16,19-19-16,34 1 15,-36-18 1,-34 17-16,17-17 0,36 36 16,-19-19-1,-17-17-15,18 0 0,-36 0 16,1 0-16,53 0 15,69 0 1,-103 0-16,32 0 16,-34 0-1,19 0-15,-36 0 0,-1 0 16,36 0 0,-18 0-16,0 0 15,0 0-15,-18 0 16,18 0-16,-17 0 15,0 0-15,-1 0 16,-16 0-16,16 0 16,-18 0-1,2 0-15,-18 0 0,-2 0 16,2 0-16,-18 0 16,16 0-16,2 0 15,-18 0 1063,52 0-515,72-34-548,104-37-15,125-17 0,-90 35 16,107-54-16,-52 19 16,-142 17-1,-17 19-15,-54 16 0,-70 19 16,-36 17 109,-17-17-78,0-19-32,0 1 1,0-1-16,0 1 16,0-35-16,0 16 15,0 20 1,0 16-16,-34-70 0,34 35 16,0 36-1,0-2-15,0 2 0,-19 17 125,2 0-78,-1 0-31,-18 0-16,-16 0 15,-18-18 1,-72 1-16,54 17 16,-106-36-16,0 1 15,-18-1-15,19 2 16,16 34-16,1-18 15,17 18-15,54 0 16,15 0 0,21 0-16,16 0 0,-18 0 15,18 0-15,-35 0 16,-18 0 0,-35 0-16,0 0 0,-18 0 15,0 0-15,-17 0 16,35 0-1,34 0-15,-15 0 0,-73 0 16,124 0 0,1 0-1,35 0-15,-53 0 0,-19 0 16,-15 0-16,15 0 16,-33 0-1,-37 0-15,18 0 0,-34 0 16,15 0-16,38 0 15,-125 0-15,89 0 16,-36 0 0,0 0-16,-52 0 15,52 0-15,-247-36 16,213 36 0,16-34-16,18 34 15,2-19 1,-2 19-16,-18 0 0,18 0 15,19 0-15,34 0 16,18 0-16,0 0 16,17 0-16,-18 0 15,54 0-15,-17 0 16,-36 0-16,53 0 16,0 0-16,-54 0 15,37 0-15,-19 0 16,36 0-16,0 0 15,0 0-15,17 0 16,-87 0 0,87 0-16,-36 0 15,37 0-15,-1 0 16,0 0 0,-51 0-16,86 0 15,-16 0-15,-2 0 16,37 0-16,-36 0 15,35 0-15,-18 0 16,2 0 0,16 0-1,1 0 32,-36 0-31,53 19-16,-54 15 15,1 2 1,53-18-16,-17 16 16,-1 2-16,18 16 15,0-16 1,-17-1-16,17 18 0,0-35 16,0 35-16,0 18 31,0-37-31,0-15 15,0 33-15,0-33 16,0 15-16,0-16 16,0 35-1,0-36-15,0 1 16,0 0-16,0 17 31,0 0-15,0 1-16,17-2 15,-17-15 1,0-2-16,0 1 0</inkml:trace>
  <inkml:trace contextRef="#ctx0" brushRef="#br0" timeOffset="10775.19">6589 5958 0,'52'0'78,"18"0"-78,54 0 15,35 0-15,0 0 16,-37 0 0,-51 0-16,-18 0 0,-35 0 15,0 0 1</inkml:trace>
  <inkml:trace contextRef="#ctx0" brushRef="#br0" timeOffset="12734.56">17047 5870 0,'36'0'78,"35"0"-63,34 0-15,-34 0 0,34 0 16,-15 0 0,15 0-16,-52 0 15,-18 0-15</inkml:trace>
  <inkml:trace contextRef="#ctx0" brushRef="#br0" timeOffset="20888.05">11051 11885 0</inkml:trace>
  <inkml:trace contextRef="#ctx0" brushRef="#br0" timeOffset="21270.72">11069 12431 0,'0'0'15,"0"18"-15,0-1 63,0 2-48</inkml:trace>
  <inkml:trace contextRef="#ctx0" brushRef="#br0" timeOffset="22799.75">30630 11919 0</inkml:trace>
  <inkml:trace contextRef="#ctx0" brushRef="#br0" timeOffset="23007.97">30665 12237 0</inkml:trace>
  <inkml:trace contextRef="#ctx0" brushRef="#br0" timeOffset="23215.71">30665 12237 0</inkml:trace>
</inkml:ink>
</file>

<file path=ppt/ink/ink11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15:21.237"/>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6513 1472 0,'18'0'62,"-1"0"-46,19 0-16,-1 0 0,106 0 31,-36 0-31,19 0 16,18 0-16,16 0 0,36 0 15,35 0 1,-52 0-16,17 0 15,-53 0-15,18 0 16,53 0 0,-19 0-16,-16 0 0,-1 0 15,18 19-15,-34-2 16,16 37-16,-18-37 16,36 0-16,-36-17 15,37 18 1,52-18-16,-1 0 0,196 0 15,-213 0 1,18 0 0,18 0-16,-1 0 0,248 0 15,-265 0 1,-53 0 0,17 0-16,1 0 0,-36 0 15,1 0 1,-1 0-16,18 0 0,-34 0 15,33 36-15,36-36 16,-17 0 0,18 0-16,16 0 0,-52 0 15,18 0 1,-35 0-16,-18 0 0,34 0 16,-34 0-1,-1 0-15,-34 0 16,35 0-16,-18 0 15,-35 0-15,18 0 16,-54 0-16,-18 0 16,-16 0-1,-18 0-15,-1 0 0,19 0 16,35 0-16,-1 0 16,53 0-16,-18 0 15,-15 0-15,-2 0 16,17 0-16,-34 0 15,-1 0-15,-52 0 16</inkml:trace>
  <inkml:trace contextRef="#ctx0" brushRef="#br0" timeOffset="10809.38">5649 5371 0,'-18'0'31,"0"0"-15</inkml:trace>
  <inkml:trace contextRef="#ctx0" brushRef="#br0" timeOffset="12137.63">5508 5706 0,'17'0'47,"1"0"-31,-1 0-1,2-18-15,-2 18 0,0-17 0,1 17 16,-18-17-16,18 17 0,0-18 16,-1 0-16,-17 0 0,17 18 15,1-17-15,-18 0 0,18-19 0,-18 18 16,18 1-16,-18-2 0,17 2 15,-17 0-15,0-1 0,0 1 0,0-2 16,0 2-16,0 0 0,0-37 16,-17 37-16,17-18 0,0 17 15,0-17-15,-18 18 0,18-2 0,-18-16 16,18 18-16,-18-19 0,18 19 16,-17-1-16,0 1 0,17-2 15,-18 2-15,0-18 0,-17 17 0,18 0 16,-2 1-16,-16 0 0,18-2 0,-19 2 15,19-1-15,-18 18 0,-1-17 16,1 0-16,17 17 0,-17-19 0,0 2 16,-1 17-16,2-18 0,-2 1 15,1 17-15,-1-19 0,1 19 0,-18-17 16,18 17-16,-1-17 0,2 17 0,-2 0 16,-16-18-16,16 18 0,1 0 15,-18-18-15,17 18 0,-16 0 0,16 0 16,-16 0-16,16 0 0,1-18 15,-18 18-15,-1 0 0,20 0 0,-37 0 16,18 0-16,-18 0 0,19 0 0,-89 0 16,87 18-16,-16-18 15,-1 0-15,19 0 0,-19 0 16,1 0-16,16 0 0,-16 18 0,18-18 16,-2 0-16,-16 0 0,-1 0 15,18 0-15,-18 18 0,19-18 0,-19 0 16,18 17-16,0-17 0,18 0 0,-18 0 15,1 17-15,-2-17 0,18 0 16,2 19-16,-1-19 0,-18 0 0,17 17 16,1-17-16,-1 18 0,1-18 0,-18 17 15,1-17-15,-1 19 16,-1-19-16,20 17 0,-20 0 0,1-17 0,18 18 16,1-18-16,-2 17 0,-18-17 15,2 19-15,16-19 0,-34 17 16,18 0-16,16-17 0,1 18 15,-1-18-15,1 18 0,-1-18 0,2 0 16,-2 18-16,1-18 0,-1 17 16,1-17-16,1 17 0,-2-17 0,1 19 15,-1-19-15,1 0 0,-1 17 16,2-17-16,16 18 0,-18-18 0,19 0 16,-19 17-16,19-17 0,-54 17 15,54 2-15,-18-2 0,16-17 16,-15 18-16,16-18 0,-18 17 15,2 2-15,-2-2 0,-16 18 16,33-35-16,-16 18 0,18 0 16,0-1-16,-19 0 0,18 1 15,1 0-15,-2 0 0,2-1 16,0 0-16,-1 2 0,0-2 0,0 1 16,1-1-16,17 0 0,-17 19 15,17-18-15,0-1 0,0 19 0,0-1 16,17 1-16,-17-2 0,17-16 15,1 18-15,0-2 0,17 2 16,-18-18-16,19 18 0,-1-2 0,18-16 16,-18-1-16,18 2 0,1-2 15,-2 0-15,18-17 0,54 36 16,-70-36-16,16 0 0,70 18 16,-69-18-16,17 0 0,-17 0 15,-1 17-15,18-17 0,-17 0 0,0 17 16,-1-17-16,1 18 0,0 0 15,53 0-15,-72-1 0,18 0 16,-16 2-16,16-2 0</inkml:trace>
  <inkml:trace contextRef="#ctx0" brushRef="#br0" timeOffset="14540.36">569 10451 0,'0'-17'16,"35"17"-16,18 17 0,-18-17 15,1 0-15,35 17 0,-19-17 0,18 19 16,1-19-16,0 17 0,17-17 16,0 0-16,0 18 0,18-18 0,0 0 15,123 0-15,-122 0 16,15 0-16,-15 0 0,33 0 0,108 0 16,-108-18-16,-16 18 15,140 0-15,1-17 16,-142 17-16,18 0 0,89-19 15,16 19-15,-139 0 16,228-17-16,-229 0 16,88-1-16,-89 18 0,2 0 15,-19-18-15,17 0 0,72 1 16,-89 17-16,-17-17 16,0 17-16,17-18 0,70 0 15,-16-17-15,-72 35 0,-18-17 16,72-19-16,-70 18 15,15 1-15,20-19 0,-37 19 16,36-18-16,-52 16 16,70-33-16,-70 34 15,-2 0-15,20 1 0,-1-19 16,-18 19-16,1-1 16,-2 1-16,37 0 15,-36-2 1,1 2-16,-19 17 0,0-18 0,19 18 15,-18-17-15,-1-2 16,19 2-16,16 0 0,-33-1 0,33-18 16,-35 19-16,2 0 15,-2-1-15,0 18 0,1-18 16,0 0-16,0 1 0,35-19 31,-53 19-31,0-1 0,17 1 16,-17-2-16,0 2 0,18 0 15,-18-1-15,-18-18 32,18 19-32,0 0 0,-17-19 15,-2 1-15,19 18 16,-17-1-16,0 18 0,-1-36 16,-35-17-1,17 36-15,1-18 16,-18 16-16,1 2 15,33 17-15,-15-17 0,-37-1 16,-53 1 0,55 17-16,15 0 15,18 0-15,-104-19 16,51 19-16,-34 0 16,53 0-16,16 0 0,1 0 15,-16 0-15,15 0 0,-51 0 16,-2 0-16,-51 0 15,87 0-15,-34 0 16,51 0-16,1 0 16,-52 0-16,-1 19 15,53-19-15,-18 0 16,-17 17-16,0-17 16,52 0-16,-34 0 0,18 18 0,-143-1 15,142-17 1,-17 0-16,-54 17 0,0 2 15,72-19-15,-72 0 16,19 17-16,34-17 16,-53 18-16,19-1 15,52-17-15,-1 0 0,20 0 16,-37 19-16,36-19 0,-18 0 16,0 0-16,-53 17 0,-18 0 15,72-17-15,-37 0 16,1 18-16,36-18 15,16 0-15,-35 0 0,37 0 16,-20 0-16,20 0 16,-2 0-16,-35 0 0,19 0 15,-19 0-15,35 0 16,-34 0-16,-1 0 16,-34 0-1,34-18-15,36 18 16,-1 0-16,-34 0 15,35 0-15,-72-17 0,73 17 16,-20 0-16,-51 0 16,17-17-1,52 17-15,1 0 0,-18 0 0,18 17 16,-18-17-16,-52 0 16,-19 17-16,70 1 15,2-18-15,-1 18 0,-123 17 16,69 0-16,-34 35 15,89-34-15,-72 35 16,1 17-16,70-35 16,0 35-16,18-36 15,35-33-15</inkml:trace>
  <inkml:trace contextRef="#ctx0" brushRef="#br0" timeOffset="15457.66">10252 7699 0,'-52'0'0,"33"0"16,73 0 15,-37 0-31,72-17 16,51-1-16,19 1 15,-88-2-15,17 19 0,1-17 16,87-18-16,-17 18 16,-89-2-16,-16 2 0,51 0 15,-70 17-15,-17 0 0,34-18 16,-33 18-16,16 0 15,-18-18 1,-34 0 15,51 36 16</inkml:trace>
  <inkml:trace contextRef="#ctx0" brushRef="#br0" timeOffset="16412.45">21471 7135 0,'-18'0'16,"72"0"-16,-37 0 16,0 0-16,54-17 15,53 17-15,-55 0 16,-15 0-16,16-18 0,-16 18 0,16 0 16,18 0-16,-53 0 15,1-18-15,-19 18 0,18 0 16,18 0-16,-17 0 15,-18 0-15,-1 0 0,19-18 16,-19 18 0,1 0-16,-1 0 0</inkml:trace>
  <inkml:trace contextRef="#ctx0" brushRef="#br0" timeOffset="17757.71">10059 7982 0,'0'34'31,"0"-15"-31,0 16 16,0 1-16,0-2 15,0-16-15,0 0 0,17 17 0,-17-18 16,0 19-16,17-1 15,-17-18-15,0 2 0,0-2 16,0 1-16</inkml:trace>
  <inkml:trace contextRef="#ctx0" brushRef="#br0" timeOffset="18171.84">9900 8616 0,'-36'36'31,"36"-18"-31,0-1 0,-17 0 16,17 2-16,0-2 15,0 1-15,0-1 0,0 2 16,0-2-16,0 0 16,0 1-16,17-18 15,2 0-15,15 0 16,-16 0-16,-1 0 15,2-18-15,-2 18 0,18-17 16,1 17-16,-2-17 16,-15-2-16,16 19 15,-18-17-15</inkml:trace>
  <inkml:trace contextRef="#ctx0" brushRef="#br0" timeOffset="18463.64">10252 8599 0,'0'17'31,"19"2"-15,-19-2-16,0 1 0,17-1 15,0-17-15,-17 17 16,18-17-16,0 0 15,17-17 1,-35 0 0,17 17-16,-17-18 15,18 1-15,-18-2 0,18 2 16,-18 0-16,0-1 0,18 0 16,35 0-1</inkml:trace>
  <inkml:trace contextRef="#ctx0" brushRef="#br0" timeOffset="19176.75">22635 7223 0,'-18'53'31,"18"-35"-15,-17-1-1,17 2-15,0-2 0,0 0 0,0 18 0,0 1 16,-17 17 0,17-35-16,0 16 15,17 20-15,-17-20 16</inkml:trace>
  <inkml:trace contextRef="#ctx0" brushRef="#br0" timeOffset="19555.11">22600 7982 0,'-17'34'31,"17"-15"-31,0-2 15,-19 1-15,19 18 16,0-19-16,0 18 16,0-17-1,0 0-15</inkml:trace>
  <inkml:trace contextRef="#ctx0" brushRef="#br0" timeOffset="19773.78">22917 7876 0,'18'-18'15,"-36"36"-15,36 0 32,-36 70-1,18-71-31,0 19 0,0-19 15,0 1-15,0 18 0,0-2 16,0-16-16,0 0 16</inkml:trace>
  <inkml:trace contextRef="#ctx0" brushRef="#br0" timeOffset="19976.36">22512 8140 0,'-19'0'15,"55"-34"-15,-18 34 16,18 0-16,16-19 16,-16 19-16,-2-17 15,-16 17-15,123-35 16</inkml:trace>
  <inkml:trace contextRef="#ctx0" brushRef="#br0" timeOffset="20237.34">23181 7928 0,'19'0'16,"-2"0"-16,-17 19 16,-36-38-16,72 55 0,-18-36 0,-18 18 15,17-1-15,0 0 31,2-17-31,-2 0 16,1 0-16,-18-17 16,17 0-16,2-18 15,-19 16-15,17 2 16,0-36-16,-17 35 16,18 1-16,0-19 15,-18 1-15,18 18 0,-1-19 0,-17 19 16,35-54-16,-17 36 0</inkml:trace>
  <inkml:trace contextRef="#ctx0" brushRef="#br0" timeOffset="22105.08">11628 7240 0,'0'-17'15,"17"53"16,2-1-31,-2 53 16,1-52-16,18 122 16,-19-52-1,-17-70-15,17 52 16,-17-71-16,0 18 16,18-17-16,-18 0 0,0-1 15,18-17-15,-18 17 0</inkml:trace>
  <inkml:trace contextRef="#ctx0" brushRef="#br0" timeOffset="22980.35">11381 6518 0,'-17'34'31,"17"-15"-15,0-2-16,0 1 0,0-1 0,0 36 15,0-35-15,0 18 0,0-19 16,0 18-16,17-17 16,-17 0-16,0-1 0,18 0 0,-1 2 15,2-19-15,-19 17 16,34-17-16,-16 0 16,0 0-16,0-17 15,-1 17-15,0-19 0,2 2 16,-2 0-16,-17-19 0,18 18 0,-18 1 15,0-18-15,0-18 16,-18 0-16,18 18 0,-17-1 16,-2 19-16,2-18 0,17 16 0,-35-33 15,17 34-15,0 0 16,1 18-16,0-17 16,-2 0-16,2 17 15,-1 17-15,1 0 16,17 1-16,0 0 15,0 0-15,17 16 0,-17-15 0,0 16 16,18-18-16,-1 19 0,-17-19 16,19 18-16,-2-16 0,0 15 0,1 20 15,0-20-15,0-16 16,-18 0-16,17 17 16,0-18-16,-17 2 0,19-2 15,-2 18-15,1-35 16</inkml:trace>
  <inkml:trace contextRef="#ctx0" brushRef="#br0" timeOffset="23367.15">11857 6588 0,'0'35'0,"0"-16"16,0-2-16,0 0 0,0 1 16,0 0-16,0 0 0,0-1 0,0 0 15,0 1-15,0 0 0,0 0 16,0-1-16,18-17 0,-18 17 15,0 2-15</inkml:trace>
  <inkml:trace contextRef="#ctx0" brushRef="#br0" timeOffset="26675.71">11645 7276 0,'-17'0'16,"70"-17"30,-18-2-30,-16 19-16,-2 0 0,54-17 16,-37 17-1,2-17-15,-1 17 0,18-18 16,18 0-16,-19 18 0,1-18 0,1 1 16,16 17-16,-18-17 0,19-1 15,-18 18-15,18-18 0,-18 0 0,18 18 16,-2-17-16,2 17 0,0-17 0,-1-2 15,1 2-15,141-1 16,-141 1-16,-1 0 0,1 17 16,0-19-16,-2 2 0,2 17 0,-1-18 15,1 18-15,0-17 0,-1-2 16,-16 19-16,16-17 0,-18 17 16,19-17-16,-18 17 0,18-18 15,-18 18-15,-1-18 0,2 18 0,34-18 16,-35 1-16,-18 17 0,18 0 15,-18-17-15,18 17 0,0-18 16,-18 18-16,1 0 0,16-18 0,-16 18 16,-1 0-16,1-18 0,16 18 0,-16 0 15,-2-17-15,2 17 0,-1 0 16,1 0-16,16-17 0,-16 17 0,-1 0 16,1-19-16,-2 19 0,20 0 15,-20-17-15,2 17 0,-1 0 0,1-18 16,16 18-16,-16-17 0,-1 17 15,18-19-15,0 19 0,-18 0 16,36-17-16,-35 17 0,16-17 16,-16 17-16,-2 0 0,2 0 0,-1-18 15,1 18-15,52-17 16,-53 17-16,1 0 0,-2 0 0,1-19 16,1 19-16,17 0 0,-18 0 15,1-17-15,-1 17 0,-1 0 16,20 0-16,-18-17 0,-2 17 0,2 0 0,16 0 15,-16 0-15,-1 0 0,1-18 0,-1 18 16,18 0-16,-18 0 16,1 0-16,-2-18 0,20 18 0,-20 0 15,2 0-15,16 0 0,-16-18 0,-1 18 16,18 0-16,-18 0 0,1 0 16,17-17-16,-18 17 0,1 0 0,16 0 15,-16 0-15,-1 0 0,1-17 16,-2 17-16,2 0 0,-1 0 0,0 0 15,18 0-15,-17-19 0,-1 19 16,-1 0-16,2 0 0,18 0 0,-20 0 16,20 0-16,-20 0 0,20-17 0,-20 17 15,2 0-15,18 0 0,-20 0 16,20 0-16,-20 0 0,2 0 0,16-18 16,-16 18-16,-1 0 0,1 0 15,16 0-15,-16 0 0,-1 0 0,35-17 16,-16 17-16,-20 0 15,2 0-15,-1-17 0,18 17 0,-18 0 16,1 0-16,-1 0 0,18-19 16,-18 19-16,1 0 0,-2 0 0,2 0 15,-1 0-15,1-17 0,-1 17 0,1 0 16,-2 0-16,-16 0 0,35 0 16,-36 0-16,19 0 0,-1 0 15,1 0-15,-1-18 0,1 18 0,-19 0 16,18 0-16,1 0 0,-2 0 15,-16 0-15,18 0 0,-19 0 0,19 0 16,-19 0-16,18 0 0,-18-17 0,19 17 16,-18 0-16,18 0 0,-19 0 0,0 0 15,19 0-15,-1 0 16,-18 0-16,1 0 0,18-19 0,-19 19 16,0 0-16,19 0 0,-18 0 15,-1 0-15,2 0 0,-2 0 0,0 0 16,-17-17-16,18 17 0,-1 0 15,2 0-15,-2 0 0,0 0 16,1 0-16,0 0 0,0-17 16,-1 17-1,0 0-15,1 0 16,0 0 0,0 0-1,-1 0 1,0 0-1,2 0 17,-2 17-17,-17 0 1,0 2 0,0-2-16,0 1 15,0-1 1,0 2-16,0-2 0,0 0 15,0 1-15,0-1 0,-17 2 16,17-2-16,0 0 0,0 1 16,0 18-16,0-19 0,-19 0 15,19 2-15,0-2 0,0 1 16,-17-1-16,17 0 0,0 2 16,0 16-16,-17-18 15,17 19-15,0-19 16,0 1-16,0 0 0,0 0 15,0-1-15,0 0 16,0 1-16,0 0 0,-18 0 16,18-1-16,0 0 15,0 2-15,0-2 0,0 1 16,0-1-16,0 2 16,0-2-16,0 0 0,0 1 15,0-1-15,0 2 16,0-2-16,0 0 0,0 1 15,0 0-15,0 0 16,0-1-16,0 0 16,18 1-16,-18 0 15,0 0-15,0-1 0,0 0 16,0 2-16,0-2 0,0 1 16,0-1-16,0 2 15,0-2-15,17 0 16,-17 1-1,-35-18 32,17-18-47,0 18 16</inkml:trace>
  <inkml:trace contextRef="#ctx0" brushRef="#br0" timeOffset="28289.28">11857 7947 0,'18'17'31,"-18"1"-31,0-1 0,18 0 16,0 54 0,-18-52-1,17-2-15,-17 0 0,17 1 16,-17 0-16,36 0 16,-18-18-16,-18 17 0,17-17 0,2 0 15,-2 0-15,0 0 0,18 0 0,-16 0 16,33 0-16,-16 0 0,17-17 15,-1 17-15,1-18 0,70 0 16,-52 0-16,-1 1 0,1 17 16,17-17-16,1-2 15,17 2-15,-18-1 0,0 1 0,18-2 0,0 2 16,-18 0-16,17-1 0,19 18 16,-19-17-16,107-19 0,-105 19 15,122-19-15,-123 18 0,-1 18 16,2-17-16,-2 0 0,0-2 15,2 2-15,-2 17 0,-17-18 0,19 1 16,-2 0-16,-17 17 0,0-19 0,19 2 16,-19-1-16,0 1 0,0 17 15,0-19-15,-17 2 0,70 0 16,-70 17-16,-1-18 0,1 18 16,0 0-16,-1-17 0,-18 17 15,19-19-15,0 19 0,-18 0 0,18-17 16,-1 17-16,-18 0 0,2 0 0,-18 0 15,33-17-15,-16 17 0,1 0 16,-1 0-16,-1 0 0,-16 0 0,35 0 16,-19 0-16,1 0 0,-18 0 0,71-18 15,-71 18 1,18 0-16,-18 0 0,18 0 0,1 0 16,-20 0-16,2 0 0,16 0 0,2 0 15,-1 0-15,-1 0 0,1-18 16,1 18-16,-2 0 0,-16 0 0,17 0 15,-18 0-15,18 0 0,-18 0 16,1-18-16,16 18 0,18 0 16,-34 0-16,-1 0 0,1 0 0,-1 0 15,1 0-15,-2 0 0,2 0 16,16 0-16,-16 0 0,-1 0 0,53-17 16,-17 17-1,-35 0-15,-2 0 0,2 0 0,-1 0 16,0 0-16,1 0 0,-19 0 15,19 0-15,-1 0 0,1 0 0,-2-17 0,-16 17 16,18 0-16,-2 0 0,-16 0 16,18 0-16,-2 0 0,-16 0 15,52 0-15,-51 0 0,16-19 16,1 19-16,-2 0 0,-16 0 16,18 0-16,-19 0 0,18 0 0,-17 0 15,0 0-15,35 0 16,-18 0-16,-18 0 0,0 0 0,2 0 15,16 0-15,-18 0 0,2 0 0,15 0 16,-16 0-16,0 0 0,17 0 16,-18 0-16,1 0 0,18 0 15,-19 0-15,0 0 0,19 0 0,-18 19 0,-1-19 16,19 0-16,-19 0 0,1 0 16,18 0-16,-19 0 0,18 0 0,-17 0 15,0 0-15,16-19 0,-16 19 16,18 0-16,-19 0 0,0 0 15,2 0-15,16 0 0,-18 0 0,2 0 16,-2-17-16,-17-1 16,-36 1-1,1 0-15</inkml:trace>
  <inkml:trace contextRef="#ctx0" brushRef="#br0" timeOffset="28970.32">16285 6552 0,'18'19'16,"-18"-2"-16,0 18 0,0-16 16,0-2-16,-18 71 15,18-71-15,-17 19 16</inkml:trace>
  <inkml:trace contextRef="#ctx0" brushRef="#br0" timeOffset="29140.69">16356 7100 0,'0'18'0,"0"-1"16,0 0-16,0 1 0,0 18 15,0-2 1,0-15-16,0 16 0,0-18 15,0 2-15,0 15 0,0-16 0,0-1 16,17 2-16,-17-2 0</inkml:trace>
  <inkml:trace contextRef="#ctx0" brushRef="#br0" timeOffset="29241.99">16444 7594 0,'0'17'16,"17"-17"-16,-34 17 15,17 2 1,0-2-1</inkml:trace>
  <inkml:trace contextRef="#ctx0" brushRef="#br0" timeOffset="29989.76">16127 8158 0,'-19'-18'0,"38"36"16,-55 0-1,18 17 1,18 0 0,-17-17-16,17 17 0,0 18 15,0-35-15,0-1 0,0 36 16,0-35-16,17 18 15,1-19-15,-1 0 16,2-17-16,15 0 16,-34-17-16,18 0 15,-18-19-15,18 18 0,-18 1 16,0-19-16,0 1 0,0 18 16,0-19-16,0 19 0,0-19 15,-18 18-15,18-16 0,-18 16 16,1 0-16,0 18 15,-2 0-15,2 18 16,-1 0-16,18-1 0,-17 18 16,17-17-16,0 0 0,0-1 15,0 19-15,0-19 0,17 18 0,-17-16 16,18 15-16,-1-16 0,-17 18 0,19-19 16,-2 18-16,18 1 15,-17-19-15,17 0 0,-18 2 16,19-19-1</inkml:trace>
  <inkml:trace contextRef="#ctx0" brushRef="#br0" timeOffset="30404.78">16532 8370 0,'71'0'16,"-54"17"-16,-17 2 0,0-2 15,0 0-15,0 1 16,-17 35-16,17-36 16,-18-17-16,18 18 0,-18 18 15,18-19-15,0 0 16,18-17 0,0 0-16,-1 0 15,0 0-15,2 0 16,-19-17-16,17 17 0,1 0 0,-1 0 15,0 0-15,19-17 16,-18 17-16,-1-18 16,2 18-16</inkml:trace>
  <inkml:trace contextRef="#ctx0" brushRef="#br0" timeOffset="33692.12">21048 7311 0,'0'36'47,"0"-19"-47,-19 18 16,19-16-1,0 15-15,-17 54 16,17-52-16,0-18 0</inkml:trace>
  <inkml:trace contextRef="#ctx0" brushRef="#br0" timeOffset="34352.8">20959 8158 0,'-35'-18'0,"18"18"16,17 18-16,-18-18 0,18 18 16,-18 34-16,0-34 15,18 0-15,0 0 0,0-1 16,0 0-16,0 2 0,18-2 15,-18 1-15,18-1 0,0-17 16,-1 0 0,0 0-16,37-52 15,-37 33-15,-17 2 0,0-71 16,0 71 0,0-19-16,0 18 0,-17-52 15,17 52-15,0 1 16,0-2-16,-18 19 0,18-17 15,-18 53 1,18 16-16,0-33 16,0 69-1,0-71-15,0 18 0,0 1 0,18-2 16,-18-15-16,0 16 0,18-18 16,-18 2-16,0-2 0,17 0 0,-17 1 15,17-1-15,-17 2 0,19-19 0,-2 17 16</inkml:trace>
  <inkml:trace contextRef="#ctx0" brushRef="#br0" timeOffset="35390.82">21312 8070 0,'17'17'0,"-17"2"0,0-2 16,-17 0-16,17 1 15,0 0-15,0 0 16,0-1-16,17 0 0,2 19 16,-19-18-1,17-18-15,-17 17 16,18-17-16,-18 17 0,17-17 16,-17 19-16,0-2 15,-35 54 16,18-54-31,17 1 0,-19 18 0,2-19 16,-18 54-16</inkml:trace>
  <inkml:trace contextRef="#ctx0" brushRef="#br0" timeOffset="35683.58">20907 9004 0,'17'-17'16,"0"17"-1,1 0-15,18 0 16,-19 17-16,0-17 0,-17 19 15,19-2-15,-2 1 16,-17-1-16,18 0 0,-18 2 16,0 33-16,0-33 0,17-2 15,-17 0-15,-17 1 16</inkml:trace>
  <inkml:trace contextRef="#ctx0" brushRef="#br0" timeOffset="36045.37">20995 9252 0,'-18'-18'0,"36"-17"15,-1 18 1,0-2-16,2 19 16,-2-17-16,18-1 0,18 1 15,-35-2-15,35-15 16,0 16-16,-35 18 0,16-17 15,-34-2 1,19 19-16,-2-17 16,1 34-1,-1-17 1,-17 19-16,17-2 16,2 1-16,-2-1 15,-17 0 1,0 2-16,0-2 0,-17 1 15,17-1-15,-19 2 16,-15-2-16,16 0 0,1-17 16,-36 18-16,17-18 0,-35 18 15,36-18-15</inkml:trace>
  <inkml:trace contextRef="#ctx0" brushRef="#br0" timeOffset="37658.86">12545 7135 0,'0'-17'16,"0"69"15,18-34-16,-18 0-15,0 16 0,0-15 0,0 16 0,18 18 16,-18-18-16,0 1 0,0-2 16,18 2-16,-18-18 15</inkml:trace>
  <inkml:trace contextRef="#ctx0" brushRef="#br0" timeOffset="37793.04">12757 7840 0,'0'71'15,"0"-54"-15,0 2 0</inkml:trace>
  <inkml:trace contextRef="#ctx0" brushRef="#br0" timeOffset="38155.85">12828 8123 0,'17'0'0,"-17"17"47,-34-17 140</inkml:trace>
  <inkml:trace contextRef="#ctx0" brushRef="#br0" timeOffset="39443.47">20236 6271 0,'17'35'16,"-17"-18"-16,0 2 0,0 15 0,0-16 15,0 18-15,0-2 0,0 2 0,0 35 16,0-36-16,0 1 16,0-19-16</inkml:trace>
  <inkml:trace contextRef="#ctx0" brushRef="#br0" timeOffset="39624.82">20324 7082 0,'-17'18'16,"17"0"-16,0-1 15,0 0-15,0 1 16,0 18-1,0-2 1</inkml:trace>
  <inkml:trace contextRef="#ctx0" brushRef="#br0" timeOffset="40071.49">20360 7470 0,'0'36'0,"-19"-19"15,19 0 1,0 2 0,0-2-1,19 1 1,-19-1 15,0 0 16,0 2 0,0-38 78,0 2-125,0 0 16,-19-1-16</inkml:trace>
  <inkml:trace contextRef="#ctx0" brushRef="#br0" timeOffset="40919.66">18013 6359 0,'0'35'16,"0"18"0,0-17-16,0-1 15,0-18-15,0 19 0,0-19 0</inkml:trace>
  <inkml:trace contextRef="#ctx0" brushRef="#br0" timeOffset="41094.98">18049 7011 0,'-18'36'0,"18"-19"16,0 19 0,-18-18-16,18-1 0,0 0 15,0 1-15,0 0 16</inkml:trace>
  <inkml:trace contextRef="#ctx0" brushRef="#br0" timeOffset="41246.22">18049 7347 0,'0'17'15,"0"1"-15,0-1 16,0 2 0,18-19-1,-18 17 1,0 0-16,0 1 15</inkml:trace>
  <inkml:trace contextRef="#ctx0" brushRef="#br0" timeOffset="41477.36">18101 7611 0,'0'36'0,"0"-19"0,0-70 0,0 124 16,-17-71-16,17 17 0,0 2 0,0-2 16,0 0-16,0 1 0,0-1 15,0 2-15,0 15 31,0 2-15,0-18 0,17 16-1,-17-15-15,0-2 16,-17 18-16,17 1 31,0-19-31,0 1 16</inkml:trace>
  <inkml:trace contextRef="#ctx0" brushRef="#br0" timeOffset="42215.81">14080 6871 0,'17'0'0,"-17"17"31,0 1-31,0 18 16,19 33-1,-19 20-15,0-54 0</inkml:trace>
  <inkml:trace contextRef="#ctx0" brushRef="#br0" timeOffset="42384.17">14239 7647 0,'-18'52'16,"18"-33"-1,0-2-15,0 0 0,0 1 16,0-1-16,0 2 15,18-2-15,-18 18 0,0-17 0,0 0 16,0-1-16,17 0 0</inkml:trace>
  <inkml:trace contextRef="#ctx0" brushRef="#br0" timeOffset="42537.51">14363 8140 0,'0'18'15,"17"0"1,-17 0-16,0-1 15,0 0-15,0 1 16,17 0-16,-17 0 16,0 16-16,0-15 0,18-2 15</inkml:trace>
  <inkml:trace contextRef="#ctx0" brushRef="#br0" timeOffset="42672.68">14521 8599 0,'0'17'15,"0"-34"-15,0 53 16,0-1 0,0-18-16,0 0 15,0 2-15,0-2 0</inkml:trace>
  <inkml:trace contextRef="#ctx0" brushRef="#br0" timeOffset="42823.52">14663 9092 0,'0'54'0,"0"-37"0,0 2 0,0-2 15,17 18 1,-17-17-16,0 0 0,17-1 16,-17 0-16</inkml:trace>
  <inkml:trace contextRef="#ctx0" brushRef="#br0" timeOffset="43702.98">12721 7559 0,'0'-19'0,"19"73"31,-19-37-31,0 0 0,0 19 16,0-1-16,17-16 16,-17 15-16,0 1 0,0 1 0</inkml:trace>
  <inkml:trace contextRef="#ctx0" brushRef="#br0" timeOffset="43851.95">12916 8176 0,'17'70'0,"-17"-52"0,0 0 16,0-1-16,0 19 15,0-19-15,18 18 16,-18-16-16,0-2 0</inkml:trace>
  <inkml:trace contextRef="#ctx0" brushRef="#br0" timeOffset="44120.06">13004 8582 0,'17'34'0,"-17"-15"16,19-19-16,-19 17 0,0 1 0,-53-124 15,70 124-15,19 87 0,-36-88 16,17 2-16,-17-2 0,0 18 16,0-16-1,0-2-15,0 0 0,0 1 0,18-1 16,-18 2-16,0-2 0,0 0 0,17 1 15,-17 0-15,17 0 16,2-1-16,-19 0 0,17 2 0,-17-2 16,18 1-16,-18-1 0,0 0 15,17-17-15,-17 19 16,0-2-16,0 1 0,19-1 16,-19 2-16,0-2 15,0 0 1,0 1-16,0 0 15</inkml:trace>
  <inkml:trace contextRef="#ctx0" brushRef="#br0" timeOffset="45112">18137 8246 0,'-36'70'0</inkml:trace>
  <inkml:trace contextRef="#ctx0" brushRef="#br0" timeOffset="45248.3">18155 8740 0,'0'18'15,"0"-1"-15</inkml:trace>
  <inkml:trace contextRef="#ctx0" brushRef="#br0" timeOffset="51919.74">26745 13115 0,'-70'35'15,"87"-35"1,0 0-16,1 0 15,18 0-15,17 0 0,16 0 0,214 0 16,-18 0 0,229 0-1,-300 0-15,-18 0 0,18 0 0,-17 0 16,-1 0-16,107 0 16,-143 0-16,1 0 0,0 0 0,1 0 15,-37 0-15,19 0 0,-19 0 16,-34 0-16,17 0 0,-17 0 0,-18 0 15,-18 0-15,-17-18 0,17 18 0,-18 0 16,-17-17-16,-17-2 16,-18 19-1,-1-17-15,-17-18 0,1 18 0</inkml:trace>
  <inkml:trace contextRef="#ctx0" brushRef="#br0" timeOffset="52580.23">27680 11827 0,'-17'-17'16,"-2"-1"-16,-33 0 16,-19 0-1,18 1-15,-18 0 0,1-2 16,-18-16-16,0 18 0,17-2 0,-17-15 16,0 16-16,-19-18 0,19 2 0,-17-2 15,-2 1-15,-15-18 0,34 18 16,-36-18-16,0-1 0,1-16 15,-1 18-15,1-2 0,-1 1 0,0-16 16,2 15-16,-2 1 0,-18 0 16,20 1-16,-2-2 0,1 1 0,-18 1 15,34-1-15,-16 18 0,17-18 0,0 17 16,18 1-16,-106-36 16,0-17-16,106 52 0,0 2 15,-1-1-15,18-1 0,-17 1 16,18 17-16,0-17 0,-36-1 15,52 19-15,2-1 0,16 1 16,2 0-16,-2-2 0,18 19 0,-16-17 16,15-1-16,2 18 15,-1-17-15,1 17 16</inkml:trace>
  <inkml:trace contextRef="#ctx0" brushRef="#br0" timeOffset="53061.13">22493 10239 0,'-34'-35'16,"16"-1"-16,1 2 15,17 16-15,-19 1 0,19-19 16,-17 1-16,0 17 0,17-34 16,-18 16-16,0 18 0,0-16 0,18 15 15,-17-16-15,17-1 16,0 19-16,-17 0 0,17-1 0,0 0 16,17 0-16,0 1 0,1 0 15,18-1-15,-19 18 16,19 0-16,-1-18 0,18 18 0,-1 0 15,19 0-15,53 0 0,-71 0 16,-1 0-16,-16 0 0,16 0 0,1 0 16,1 0-16,51 18 15,-88-18-15,19 18 16,-18-18-16,-1 0 0</inkml:trace>
  <inkml:trace contextRef="#ctx0" brushRef="#br1" timeOffset="122827.3">6513 13767 0,'-36'17'0,"19"2"16,-18 16-1,17-18-15,0 2 0,1-2 0,0 0 16,-37 37-1,37-37-15,0 0 0,-19 19 16,1-1-16,16-18 16,2 2-16,0-2 0,-18 1 15,16-1-15,2 0 16,0-17-16</inkml:trace>
  <inkml:trace contextRef="#ctx0" brushRef="#br1" timeOffset="123065.56">6177 13820 0</inkml:trace>
  <inkml:trace contextRef="#ctx0" brushRef="#br1" timeOffset="123232.69">6619 14084 0,'0'19'47</inkml:trace>
  <inkml:trace contextRef="#ctx0" brushRef="#br1" timeOffset="128512.53">7483 4719 0,'53'-19'0,"-36"2"0,2 17 0,-2 0 16,1 0-16,-1 0 16,0 0-1,-17 17-15,19 19 16,-19-18-16,0-1 0,0 36 16,0-35-16,0 18 15,0 16-15,0-16 0,17 17 16,1 106-16,-18-107 15,36 106-15,-36-87 16,0-18-16,17 18 0,-17-18 16,17 17-16,1 124 15,-18-123-15,0 0 0,18 70 16,-18-53-16,18 124 16,-1-143-16,0 143 15,1-158-15,-18 16 0,0-16 16,18 15-16,0 126 15,-18-142-15,0 140 16,17-139-16,-17 16 16,-17-18-16,17 2 0,0 140 15,0-142-15,0 72 16,-18-53-16,18-18 16,0 17-16,0-17 0,-18 18 0,18-18 15,-18 123-15,18-105 16,0 87-1,0-104-15,0-20 0,0 20 0,0-1 16,18 106 0,-18-107-16,18 54 15,-18-54-15,0 2 0,18-1 0,-18-1 0,17 1 16,0 89 0,2-54-16,-19-52 0,0-19 15,17 18-15,-17 35 16,18-52-16,-18 0 0,17 53 15,-17-54-15,0 1 16,0-1-16,0 0 0,0 2 16,17-2-1,-17 1-15,-17-1 16,0 2 0,-18-19-1,-1 17-15,19-17 0,-107 17 16,72 1-16,-178 18 15,141-19-15,-175 18 16</inkml:trace>
  <inkml:trace contextRef="#ctx0" brushRef="#br1" timeOffset="130947.5">26057 4595 0,'18'53'16,"-18"-35"-16,0 16 0,0 20 0,0 16 16,0 1-16,0-18 0,0 106 15,-18-71-15,18-35 16,0 17-16,0 0 0,-18-16 0,18-1 0,-18 106 15,18-125-15,0 2 16,0-18-16,0 16 0,-17 20 16,34-37-1,1-34 1,0-18 0</inkml:trace>
  <inkml:trace contextRef="#ctx0" brushRef="#br1" timeOffset="132423.51">26163 4630 0,'70'0'16,"-52"0"-16,18 0 15,-2-18-15,20 18 0,-1 0 0,16-17 0,2 17 16,17-17-16,231-19 16,-214 36-16,19-18 15,-1 1-15,54 0 0,-18 17 0,-1-19 0,-18 2 16,372-1 0,-336 1-16,-34 17 15,-1 0-15,0-19 0,-17 19 0,16 0 0,2 0 16,-18-17-16,210 17 15,-263 0-15,70 0 16,-70-17-16,-19 17 0,-16 0 0,-1 0 16,35 0-1,-51 0-15,33-18 16,-35 18-16,2 0 0,-2 0 16,1 0-1,-1 0-15,2-17 16,-2 34-1,0 1 1,1-1 0,0 0-1,0 2-15,-1 16 16,-17-18-16,0 2 16,17-2-16,-17 18 0,0 1 0,0-19 15,0 18-15,18 106 16,-18-88-16,0 1 15,18-2-15,-18 1 0,18 0 0,-18-1 16,17-16-16,0-1 0,-17 1 16,36 69-16,-36-87 15,0 18-15,18-19 0,-18 0 0,17 19 16,-17-1 0,19-18-16,-19 2 0,0-2 15,0 1-15,-19-1 16,-33-17-1,33 19-15,2-19 0,-18 0 0,-123 17 16,104-17 0,-122 0-16,70 0 0,0 0 15,18 17-15,-18-17 0,0 0 0,1 0 16,-124 18 0,105-18-16,0 0 0,18 0 0,-18 0 15,-228 18 1,228 0-16,19-18 0,-2 0 0,2 0 15,0 17-15,-2-17 0,19 17 0,-17-17 16,17 0-16,-19 18 0,19-18 0,0 0 16,0 18-16,17-18 0,1 0 0,-124 18 31,141-18-31,-71 0 16,89 17-16,18-17 0,-19 0 0,1 0 15,17 0-15,-53 0 16,36 0-16,18 17 0,0-17 15,-2 0-15,2 0 0,-1 19 0,-35-19 16,1 17 0,33-17-16,-15 0 15,16 0 1,0 0-16,18 18 0,-18-18 16,-16 0-1,15 0-15,2 0 0,-1 0 0,1 0 16,0 0-16,-19 0 15,18 0 1,1 0-16,-2 0 0,2 0 16,-18 0-1,17 0-15,0 0 16,1 0 0,0 0 15,-1 0-16</inkml:trace>
  <inkml:trace contextRef="#ctx0" brushRef="#br1" timeOffset="133420.32">26992 4560 0,'-17'35'78,"34"-18"-62,-17 1-16,0 0 0,0 0 0,-17-1 16,17 0-16,0 19 15,-19 35-15</inkml:trace>
  <inkml:trace contextRef="#ctx0" brushRef="#br1" timeOffset="133563.18">26956 5159 0,'0'19'16,"0"-2"-1,0 0-15,-17 19 16</inkml:trace>
  <inkml:trace contextRef="#ctx0" brushRef="#br1" timeOffset="133708.43">27027 5566 0,'-18'17'15,"18"0"-15,0 1 0,-17-18 16,17 18 0,-17 0-16,17-1 0</inkml:trace>
  <inkml:trace contextRef="#ctx0" brushRef="#br1" timeOffset="135098.15">26339 5142 0,'-18'17'0,"18"2"16,0-2-16,-17 36 15,17-35-15,0-1 0,0 18 0,0-17 16,0 34-1,0-33-15,17-2 0,1 1 16,-18-1-16,36-17 16,-2-17-1,-15-1-15,-19 1 0,35-19 16,-35 1 0,0 17-16,17-17 0,-17 0 0,0 17 15,0-17-15,0 18 0,0-2 0,0-33 16,0 33-1,0-15-15,-17 87 32,17-1-17,0 1 1,0-35-16,-18 18 0,36-19 0,-18 18 16,0 18-1,0-36-15,0 2 0,17-2 16</inkml:trace>
  <inkml:trace contextRef="#ctx0" brushRef="#br1" timeOffset="135264.29">26763 5371 0,'0'36'31,"0"-1"-31,-18 53 31,18-35-31,0 0 16,0-35-16</inkml:trace>
  <inkml:trace contextRef="#ctx0" brushRef="#br1" timeOffset="135803.4">28244 4454 0,'17'53'0,"-17"-36"0,0 37 16,0-2-1,-34 89-15,34-105 16,0-1-16</inkml:trace>
  <inkml:trace contextRef="#ctx0" brushRef="#br1" timeOffset="135967.32">28297 5283 0,'0'17'0,"0"1"16,0 0 0,0 0-16,0-1 0,0 0 15,0 2-15,0-2 16,0 1-16,0-1 0,0 0 0,-17 2 16,17 16-16,0-18 15,0 19-15</inkml:trace>
  <inkml:trace contextRef="#ctx0" brushRef="#br1" timeOffset="136480.37">27627 5000 0,'-18'0'16,"1"19"0,17-2-16,-19 1 0,19-1 15,-17 19-15,17-19 0,-17 37 16,17-37-16,0 0 0,0 1 15,17 18-15,-17-19 16,17-17-16,2 17 16,-2-17-16,18-17 15,-16 0 1,-19-1-16,17 0 0,-17-17 0,17 18 16,-17-2-16,0 2 0,18-1 0,-18-18 15,0 19-15,0 0 16,0-1-16,17 18 0,-17-17 15,0 52 17,0-18-32,0 0 0,0 54 15,19-52-15,-19 15 16,0-16-16,0 0 0,17 52 16,0-52-16,-17 0 15,18-1-15,-18 0 0,18 2 0,0 16 16</inkml:trace>
  <inkml:trace contextRef="#ctx0" brushRef="#br1" timeOffset="136922.64">28032 5230 0,'19'-18'0,"-19"54"16,0-18 0,0 16-1,0-16-15,0 0 0,0 0 16,0-1-1,17 0-15,0 2 0,19-19 16,-1 0 0,-18-19-16,107-15 15,-72-2-15,19 18 0,0-16 0</inkml:trace>
  <inkml:trace contextRef="#ctx0" brushRef="#br1" timeOffset="137528.54">29549 4878 0,'-17'17'31,"17"18"-15,0-17-16,-17 0 15,17-1-15,0 0 0,0 2 16,0-2-16,34-34 31,-16-2-15,0 2-1,0 0 1,-1 34 0,-17 19-1,17-19 1,-17 35-16,18-33 15,-18-2-15,0 1 0,18-1 16,-18 2-16,18-2 16,-1 0-16</inkml:trace>
  <inkml:trace contextRef="#ctx0" brushRef="#br1" timeOffset="137822.85">29884 5088 0,'-17'19'47,"-1"-2"-32,1 1-15,17-1 16,17-17 0,-17 19-1,18-2-15,-1 0 16,2-17-16,-19 18 0,34 0 15,-34 0-15,18 16 16,-18-16 0,0 0-1,0 0-15,-18-1 0,1 0 16,0 2-16,17-2 16,-19-17-16</inkml:trace>
  <inkml:trace contextRef="#ctx0" brushRef="#br1" timeOffset="140037.19">13921 13503 0,'18'35'16,"-18"-18"-16,0 2 0,0-2 15,0 18-15,0-17 0,0 17 0,0-18 16,18 54-16,-18-35 15,0-19-15,0 71 16,0-53 0,0-16-16,0-2 15,0 0-15</inkml:trace>
  <inkml:trace contextRef="#ctx0" brushRef="#br1" timeOffset="140301.5">13904 13432 0,'17'-17'0,"37"-2"16,-37 2-16,0 34 16,1-17-16,35 19 15,-36-2-15,2 1 0,-19-1 16,17 19-16,-17-19 0,0 1 0,-17 18 15,17-2 1,-19-16-16,2 0 0,17 0 0,-17 16 16,-1-15-16,0-19 0,0 17 0,1 1 15,0-18-15,17 17 16</inkml:trace>
  <inkml:trace contextRef="#ctx0" brushRef="#br1" timeOffset="140710.49">14309 13838 0,'0'0'0,"18"-35"15,0 16-15,-18 2 0,0 0 0,0-1 16,0 1 0,-36 34-1,19 18 1,0-18-1,17 2-15,-19-2 0,19 1 16,0-1-16,0 2 0,0-2 0,0 0 16,19 18-1,-2-35-15,0 19 16,1-19 0,0 0-16,0 0 0,-1-19 0,0 19 15</inkml:trace>
  <inkml:trace contextRef="#ctx0" brushRef="#br1" timeOffset="141504.15">14575 13644 0,'17'0'0,"0"0"0,-17 18 16,35 16-16,-35-15 15,0-2-15,0 1 0,0-1 0,0 0 16,0 19-16,0-18 15,0 18 1,-17-55 31,34-33-47,-17 33 16,19-15-16,-19 16 15,34-18-15,-16 19 16,18 17-1,-19 0 1</inkml:trace>
  <inkml:trace contextRef="#ctx0" brushRef="#br1" timeOffset="142209">15085 13608 0,'-17'-17'16,"17"0"0,-36 34-1,36 0-15,-17 1 0,-1 0 0,18 0 16,-17-1-16,0 0 0,17 2 16,-36 33-1,36-16-15,0-19 0,17 18 16,2-16-1,-2-19-15,35 0 16,-33 0-16,-2 0 16,0-19-16,1 19 0,-18-17 15,36-1-15,-2-18 16,-15 19-16,-19 0 0,17-1 16,-17 1-16,-17 34 46,-2 18-30,19-18-16,0 2 16,0-2-16,0 1 15,0-1-15,19-17 16,-19 19-16,17-19 16,1 0-16,-1-19 15,19 2 1,-19 17-16,-17-18 0,35 18 15,-35-17-15,19 17 16,-2 0 0,0 17-1,-17 1 1,0-1-16,18-17 16,-18 19-16,18-2 31,0-34-16,-1 17-15,0 0 0,1-19 16,0 19 0,0 0-16,-1 0 15,0-17 1,2 17-16,-2-18 16,1 18-16,-1-17 0,2 17 15</inkml:trace>
  <inkml:trace contextRef="#ctx0" brushRef="#br1" timeOffset="142396.2">15897 13415 0,'18'-53'0,"-36"106"0,53-106 15,-35 70 1,0 19 0,17 16-16,-17-16 15,0-19-15,0 18 0,0 1 0,0-1 16,0-17-16,0 17 0,0 36 15,0-18 1,-17-18 0</inkml:trace>
  <inkml:trace contextRef="#ctx0" brushRef="#br1" timeOffset="142679.34">15756 13750 0,'35'-18'32,"18"18"-17,-36 0-15,19-17 0,-1 17 16,-18 0-16,19 0 0,-18 0 0,18 0 0,-19 0 16,0 0-16,1 0 0,-1 0 0,2 0 15,-2 0 1,0 17-16,1-17 0,-18 18 0,18 16 15,-18-15 1,0-2-16,-18-17 16,18 18-16,0-1 15,-18 2-15</inkml:trace>
  <inkml:trace contextRef="#ctx0" brushRef="#br1" timeOffset="142820.26">16320 13450 0,'-35'0'0</inkml:trace>
  <inkml:trace contextRef="#ctx0" brushRef="#br1" timeOffset="143159.1">16496 13432 0,'-17'35'32,"17"-16"-17,0 15-15,0-16 0,-18-1 16,18 2-16,0-2 0,18 18 15,-1-35 1,19 18 0,-19-36-16,37 0 15,-37 1-15,19 0 16,-36-2-16,17 19 16,1 0 15,-1 36-31,-17-19 15,36 1 1,-36 0-16,35 0 16,-18-1-16,2-17 15</inkml:trace>
  <inkml:trace contextRef="#ctx0" brushRef="#br1" timeOffset="144336.22">14380 14896 0,'-17'35'0,"-1"-16"16,18-2-16,0 0 0,-18 71 16,18-70-16,0 18 15,0-2-15,0-15 0,0-2 0,0 35 16,18-33-16,-18-2 15,18 1-15,-18-1 0,17-17 0,0 0 16,-17 19-16,18-19 16,18-19-16,-19 19 0,0-17 15,2-1-15,33-52 16,-33-36 0,-19 53-16,0 0 0,-19 1 15,2-2-15,-37-87 16,-16 0-1,-36 53-15,72 70 16,15 1-16,2 17 0,-18-19 16,16 19-16,2 19 0,0-19 15,17 17-15,0 35 16,17-16-16,0-1 0,2 18 16,52 89-16,-37-72 15,-16-35-15,52 124 16,-34-123-16,-18 17 0,35 70 15,-36-87 1,-17-19-16,18 18 0,-18-17 0,17 17 16,2-35-16,-19 17 15,0 1-15,17-18 0,-17 18 0,17-18 16,1 0 0,-1 0-1</inkml:trace>
  <inkml:trace contextRef="#ctx0" brushRef="#br1" timeOffset="145101.32">14856 15038 0,'-35'17'15,"35"0"1,0 1-16,-18-18 16,18 18-16,0 0 0,0-1 0,18 19 15,-18-19-15,18-17 16,-18 18-16,17-18 16,0 0-16,2 0 0,-2 0 15,1-18-15,-1 1 16,2-19-1,-2 1-15,0 17 16,-17 0-16,18 18 0,-1 18 31,-17 18-15,19-19-16,-19 0 16,0 2-16,34-2 15,-34 1-15,18-18 0,0 0 16,17 0-1,-35-18-15,36-18 16,-19 19 0,1-18-16,-1 17 15,-17 0-15,17 1 16,2 34 15,-2 1-15,-17 0-16,0 0 15,0-1-15,18 0 16,-18 2-16,0-2 16,17-17-1,2 18-15,-2-36 16,18 1 0,-17-2-1,-18 2-15,0 0 0,18-1 0,-18 0 16,0 0-16,0 1 15,0 0-15,-18-2 16,18 2-16,-18 17 16,-17-18-16,18 36 15,-19-1 1,18 2-16,1-19 16,-2 34-1,2-16-15,17 0 0</inkml:trace>
  <inkml:trace contextRef="#ctx0" brushRef="#br1" timeOffset="145776.35">15544 15038 0,'-35'-19'0,"35"38"16,-18-2-16,18 0 16,0 1-1,0 0 1,0 0-16,18-1 16,-18 0-1,18-17 1,-1 0-16,19 0 31,-19-17-15,1 0-16,-1 17 0,-17-18 0,19 18 0,-19-18 15,17 0-15,0 1 16,1 0 0,-1 17-16,2 0 0,-2 0 15,0 17 1,-17 0-1,18 1-15,-18 0 16,18 0-16,-18-1 16,18-17-1,-1-17 1,0-1 0,-17 0-1,0 0-15,18 1 0,-18 0 16,0-19-1,0 18-15,18-16 16,-18 15-16,18 2 16,-1-1-16</inkml:trace>
  <inkml:trace contextRef="#ctx0" brushRef="#br1" timeOffset="146168.53">16073 14631 0,'18'-17'0,"-1"53"15,2-19-15,-19 0 0,17 1 16,-17 0-16,17 34 16,-17-34-16,18 18 0,-18-19 0,0 19 15,0-19-15,0 1 0,-18 18 16,18-19-16,-17 0 0,17 1 0,0-1 16,-17 2-16,17-2 0,-19-17 15,19 17-15,-17-17 0,17 18 16,17-70 15,2 33-15,-2 2-16,18-18 15,-17 35 1,-18-17-16,18 17 0,-1 0 0,0 0 16,19 0-1,-18 34 1,-1-34-16,-17 18 0,0-1 15,0 2 1,0-2-16,0 0 16</inkml:trace>
  <inkml:trace contextRef="#ctx0" brushRef="#br1" timeOffset="146284.21">16444 14631 0</inkml:trace>
  <inkml:trace contextRef="#ctx0" brushRef="#br1" timeOffset="146824.84">16725 14508 0,'0'0'0,"-17"35"15,17 1 1,-17-19 0,17 1-16,0-1 0,0 19 0,-18-19 15,18 19-15,0-18 0,18-1 0,-18 0 16,0 1-16,17 0 0,19 34 15,-19-33 1,1-19-16,18 0 16,-19 0-16,0-19 0,1 19 0,35-70 15,-36 52 1,1-16-16,0 16 0,-18 0 0,18 0 16,-18-35-1,-18 72 16,-18 33-15,36-34-16,0 0 0,0 16 16,0-16-16,0 0 15,36 0 1,-18-18-16,-1 0 0,36-18 16,-35 18-16,-1-18 15,19 18-15,-19 0 0,1 0 0,18-18 16,-19 18-16,18 0 15,-17 18-15,0-18 16,-1 18-16,-17 17 16,-17-18-1,-1 2-15,18-2 0,-18-17 16,0 18-16,1-18 0,0 17 0,-2-17 16,2 0-16</inkml:trace>
  <inkml:trace contextRef="#ctx0" brushRef="#br1" timeOffset="148368.99">6019 14950 0,'0'-19'15,"-35"55"17,18-19-32,-71 89 15,69-53-15,-16-17 0,-1 16 0,19-16 16,-18 16-16,-53 55 16,52-73-16,-17 37 15,36-54-15,-1-17 0,1 19 16,0-19-16,17 17 0,-19-17 15</inkml:trace>
  <inkml:trace contextRef="#ctx0" brushRef="#br1" timeOffset="148608.76">5243 14931 0,'18'0'0,"34"19"15,-16-19-15,52 52 16,-34-16-16,-2-2 0,1-16 16,18 18-16,105 69 15,-123-69-15,88 35 16,-106-37-16,1-16 16,-1 0-16,53 17 15,-71-35-15,2 17 0,69-17 16</inkml:trace>
  <inkml:trace contextRef="#ctx0" brushRef="#br1" timeOffset="149512.48">11205 15319 0,'-36'0'16,"-52"0"-16,35 0 15,-87 19-15,69-19 16,-229 17-1,212-17-15,-36 0 0,0 17 0,2-17 0,-161 0 16,142 0 0,1 0-16,-2 0 0,-16 0 0,-20 0 15,-280 0-15,318 0 16,16 0-16,0 0 0,18-17 16,1 17-16,-2 0 0,-122-17 15,177 17-15,-1 0 0,-18 0 16,35 0-16,19 0 15,-18-19 1</inkml:trace>
  <inkml:trace contextRef="#ctx0" brushRef="#br1" timeOffset="149913.51">7431 15019 0,'-142'36'0,"106"-19"15,-52 19-15,36-1 16,34-18-16,0 19 16,1-18-16,17-1 0,0 0 15,53 73 1,18-38-16,-36-16 0,18-2 0,18-16 16,139 71-1,-156-72-15,16-17 0,-16 18 0,122 16 16,-123-15-16,-18-19 15,35 17 1,-52-17-16,-1 0 0,-17 18 0,19-18 16,-2 0-1</inkml:trace>
  <inkml:trace contextRef="#ctx0" brushRef="#br1" timeOffset="155144.29">5508 16378 0,'17'36'32,"-17"-19"-32,0 0 0,-17 1 0,17-1 15,0 2-15,0-2 0,0 0 16,0 19-16,-17-18 0,17-1 0,0 19 15,0-19-15,-19 1 0,19-1 0,0 0 16,0 2-16</inkml:trace>
  <inkml:trace contextRef="#ctx0" brushRef="#br1" timeOffset="155513.69">5667 16483 0,'0'0'0,"-18"19"31,0 15-15,18-16-16,0 0 0,18 34 16,-18-16-16,18-18 15,-1 16 1,0-34-16,19 19 15,-18-19-15,-1 0 0,0-19 16,2 2 0,-19 0-16,17-1 0,-17-35 15,0 36-15,-17-1 16,17 0-16,0 0 0,-19 1 16,2 17-16,0-17 15,-19 34 1,18-17-1,1 17-15,17 1 16</inkml:trace>
  <inkml:trace contextRef="#ctx0" brushRef="#br1" timeOffset="155791.66">5879 16536 0,'17'18'15,"0"0"-15,-17 0 16,35 16-1,-35-15-15,19-19 0,-19 17 16,17-17-16,0 18 0,19-18 16,-18 17-16,-1-17 0,36-17 15,-35 17-15,-1-18 16,0 1-16,2-2 16,-19 2-16,0 0 0,-19-19 15,19 18-15,-17 18 16,0-17-16,-18-19 15,16 36-15,-33 0 16,34 0-16,0 0 16,1 19-16,-19-2 15,19 0-15</inkml:trace>
  <inkml:trace contextRef="#ctx0" brushRef="#br1" timeOffset="178380.38">24681 14720 0,'18'-18'32,"-1"0"-17,2 18-15,-2 0 0,0-17 16,1 17-16,-1 0 0,2-17 0,-2 17 16,0 0-1,1-19-15,18 19 16,-19 0-16,-17 19 15,17-19-15,-17 17 16,0 0-16,0 1 0,18 0 0,-18 34 16,0-16-1,0-18-15,-18-1 0,18 36 16,0-35-16,0 18 0,0-2 16,0 1-16,-17-16 15,17-2-15,17 0 16,-34 1-16,34-18 0,-17 18 0,0 0 15</inkml:trace>
  <inkml:trace contextRef="#ctx0" brushRef="#br1" timeOffset="178596.59">24804 15002 0,'0'-18'16,"19"18"-16,-2-17 16,0 17-16,1-17 15,0 17-15,0 0 0,-1-19 0,0 19 16,1 0-16,0-17 0,0 17 16,-1 0-16,0-18 0,2 18 15,-2 0-15,1 0 0,-1-17 16</inkml:trace>
  <inkml:trace contextRef="#ctx0" brushRef="#br1" timeOffset="178976.57">25421 14702 0,'-88'0'16,"71"0"-16,0 0 16,-1 18-1,0 0-15,0-1 16,36 0 0,0 1-1,-18 0-15,18-18 0,-1 18 16,0-1-16,2 0 15,-2 2 1,-17-2-16,-17 1 16,-19 35-1,19-53-15,-1 17 0,0 1 16,0-18-16,1 17 0,0 2 0,-2-2 16,2-17-16,17 17 15</inkml:trace>
  <inkml:trace contextRef="#ctx0" brushRef="#br1" timeOffset="179143.76">25511 14879 0,'0'-19'16,"0"2"-16,17 17 31</inkml:trace>
  <inkml:trace contextRef="#ctx0" brushRef="#br1" timeOffset="179633.98">25880 14684 0,'19'-17'15,"-55"34"32,36 1-47,-18-18 0,1 18 16,0-18 0,17 18-1,0-1 1,34 0-1,-16-17 1,-1 18 0,-17 0-1,-17 17 1,17-18-16,-18-17 0,1 36 16,0-36-16,-2 18 0,-16-1 15,18 2-15,17-2 0,-19-17 16,2 17-16,0-17 15,17 18-15</inkml:trace>
  <inkml:trace contextRef="#ctx0" brushRef="#br1" timeOffset="180092.71">26392 14631 0,'0'-17'16,"-17"53"15,-19-2-15,36-16-16,-35 18 16,18-19-16,17 0 0,-19 1 15,19 0-15,-17-18 0,17 18 0,-18-1 16,18 0-16,-17-17 0,17 19 15,-17-2-15,17 1 16,-19-18-16,19 17 16,-17 2-1,34-19 32</inkml:trace>
  <inkml:trace contextRef="#ctx0" brushRef="#br1" timeOffset="180532.53">26180 14950 0,'19'-19'125,"-19"2"-125,17-1 16,0 1-16,1-2 0,-1-33 16,19 16-16,-19 2 15,1-2-15,0-16 0,17 16 16,-18 1-16,2-1 0,16-16 15,-18 52-15,0-19 0,2 2 16,-2 0-16,1 17 0,-1 17 16,2-17-1,-19 17-15,0 2 0,0-2 16,0 1-16,-19-1 0,19 0 0,0 2 16,-17 16-16,-1-18 0,18 2 0,-17-2 15,-19 36-15,19-53 16,-1 18-16,1-1 0,-2 0 0,2-17 15,0 18-15,-1-18 0,0 18 0,0-18 16,1 0 0</inkml:trace>
  <inkml:trace contextRef="#ctx0" brushRef="#br1" timeOffset="181294.2">26621 14931 0,'54'-105'16,"-54"87"-1,0 0-15,0 0 0,0 1 16,-19 0-1,2 34 1,-1 18 0,18-17-1,18 0-15,-1-1 16,19 0 0,-19 2-16,1-19 15,18 0-15,-19 0 16,0 17-16,2-17 0,16 18 15,-18-18-15,0 0 16,-17 17-16,19-17 16,-19 19-16,17-19 15,-17 17-15,18-53 47,-18 19-31,17-1-16,-17 1 0,19 17 0,-19-19 15,34-15-15,-16 16 16,0 18-16,0-18 0,-1 0 16,0 18-16,1 0 15,0 0-15,0-17 0</inkml:trace>
  <inkml:trace contextRef="#ctx0" brushRef="#br1" timeOffset="181959.43">27327 14667 0,'-18'17'0,"1"-17"16,0 18-16,17 0 0,-19 0 15,19-1-15,-17 18 0,17-17 16,0 0-16,0-1 16,17 0-16,-17 2 15,36-2 1,-19-17-16,18 0 0,1-17 15,-19-2-15,1 19 16,0-17-16,0 0 0,-1-1 16,0-18-16,-17 19 0,0 0 15,19-1-15,-19 0 16,0 0-16,-19 36 31,2-18-31,17 18 16,0 17-16,-17-35 15,34 17-15,-17 1 16,17 0 0,2-18-16,-2 0 15,1 0 1,-1 0 0,0 0-16,2 18 15,-2-18 1,-17 17-1,18-17-15,-1 17 16,2-17 0,-2 0-1,0 0 1,1-17-16,-1 17 0,19 0 16,-19-17-16,19 17 0,-18-18 15</inkml:trace>
  <inkml:trace contextRef="#ctx0" brushRef="#br1" timeOffset="182255.84">28068 14350 0,'0'-18'0,"17"88"32,-17-52-32,0 17 0,-17-18 0,17 19 15,0-1-15,-17 53 0,-2-52 16,19 17-1,0-18-15,-17-18 16</inkml:trace>
  <inkml:trace contextRef="#ctx0" brushRef="#br1" timeOffset="182628.28">27873 14738 0,'19'-18'0,"-19"0"16,35 0-1,-18 18-15,19 0 0,-19-17 16,18 17-16,1-17 16,-19 17-16,1 0 0,0-19 0,17 19 15,-18-17-15,1 17 0,0 0 0,0-18 16,-1 18-1,0 0-15,-17-17 0,19 17 16,-2 17 15,-17 1-31,-17 18 16,17-19 0,-19 0-16,19 1 15,0 0-15,0 0 0,-17-18 16,17 17-16,0 0 15,0 1-15</inkml:trace>
  <inkml:trace contextRef="#ctx0" brushRef="#br1" timeOffset="182784.93">28315 14384 0,'-18'0'0</inkml:trace>
  <inkml:trace contextRef="#ctx0" brushRef="#br1" timeOffset="183157.47">28385 14420 0,'0'18'0,"0"-1"16,-17 0 0,34-69-16,-34 123 0,17-54 0,0 1 15,0 16-15,17 2 16,-17-18-16,0-1 16,18 2-16,-18-2 0,17-17 15,19 17-15,-19-17 16,19-17-16,16 0 15,-16-2 1,-18 2-16,-1-1 0,0 18 16,-17-17-16,-17 52 47,17-18-32,0 2-15,17 15 16,2-34-16,-2 18 15,1-18-15,-1 0 16,2 0-16,-2 0 0,0 0 0,18 0 16,-16 0-16</inkml:trace>
  <inkml:trace contextRef="#ctx0" brushRef="#br1" timeOffset="184161.68">23852 15143 0,'53'0'31,"-35"0"-31,-1 0 0,0 0 0,2 0 16,33 0-16,-33 0 15,15 0-15,2-17 0,-18 17 16,-1 0-16,0-18 0,1 18 16</inkml:trace>
  <inkml:trace contextRef="#ctx0" brushRef="#br1" timeOffset="184388.4">24169 14914 0,'18'0'16,"18"0"0,-90 0-16,142 17 0,-69-17 0,-2 0 15,1 19-15,-1-2 0,0-17 0,19 35 16,-18-18-16,-18 2 0,17-2 16,-17 0-16,0 1 15,-17 18-15,17-19 0,-18 0 16,1 2-16,-19 16 15,19-18-15,-1 0 0,1 2 16,-2-2-16,2-17 0</inkml:trace>
  <inkml:trace contextRef="#ctx0" brushRef="#br1" timeOffset="186417.72">25016 15426 0,'212'-36'0,"-71"36"15,-53 0-15,0-18 0,18 18 16,0 0-16,0-17 0,18 17 0,-19 0 16,124-17-16,-122 17 0,16 0 15,-18-19-15,19 19 0,-19-17 0,19-1 16,-18 18-16,0-17 16,-18-2-16,18 19 0,-17-17 0,-1 0 15,0 17-15,0-18 0,-17 1 0,-18 17 16,16-19-16,2 2 0,53-18 15,-53 35-15,34-36 16,-34 19-16,-18 0 0,0-19 16,-1 18-16,2 1 0,-1 0 15,52-19-15,-70 18 0,18 1 0,35-19 16,-34 19 0,34-19-16,0 1 15,-52 18-15,34-19 0,18 1 16,-53 18-16,1-19 15,-1 18-15,1 1 0,-2-19 0,-16 19 16,18-18-16,-19 16 0,0 2 0,1 0 16,-18-19-16,18 18 0,0 1 15,-18 0-15,17-1 0,-17 0 0,0-17 16,17 18-16,-17-2 0,0 2 16,0-1-16,-17 1 0,17-2 0,-17-15 15,17 16-15,-36-18 0,-16-16 16,16 16-16,-16 19 0,-2-19 15,1 1-15,-18 18 0,-17-19 16,18 1-16,-106-18 0,88 36 16,0-1-16,-19-18 0,19 19 0,-17 0 15,17-1-15,-19 0 0,-86 0 16,105 1-16,-19 17 0,19-17 16,-124 17-16,107 0 15,-1 0-15,0 0 0,0 0 0,0 17 16,-105 0-16,104-17 0,2 18 15,0-18-15,-19 18 16,18-18-16,0 18 0,18-1 0,-18-17 16,-88 36-16,88-36 0,18 17 15,0 1-15,-177 16 16,194-15-16,-105-2 0,106 1 16,-89 18-16,88-19 15,1 0-15,-1 1 0,-70 18 16,70-19-16,19 0 0,-19 19 15,1-18-15,-36 16 0,53 2 16,-54-1 0,2 18-16,52-18 0,1-16 15,16 15-15,-16-16 0,-19 35 0,18-18 16,17 1-16,1-2 16,-18 37-16,18-35 0,-18 52 15,35-53-15,1 1 0,-2-19 16,19 18-16,-17 18 15,0 0-15,17-18 0,0 18 16,0-18-16,17-16 16,-17 51-16,17-35 0,54 36 15,-35-37-15,17-15 0,17 16 16,0 1-16,1-2 16,17-16-16,1 0 0,17 17 0,-1-18 0,2 1 15,-2 0-15,0 0 0,2-1 16,-19 0-16,0-17 0,124 36 15,-159-36-15,17 0 16,-34 0-16,-2 0 0,37 18 16,-18-18-16,-35 0 15</inkml:trace>
  <inkml:trace contextRef="#ctx0" brushRef="#br1" timeOffset="206470.17">27433 15655 0,'0'-19'15,"0"55"-15,0-1 0,0-16 0,0-2 16,0 18-16,0 1 0,0-2 15,-18 20-15,18-20 0,-18 20 0,18-18 16,-17-2-16,17 1 0,-17 1 16,-2-1-16,19-17 0,-17 17 0,17-18 15,-18 1-15,18 0 0,-17 0 16,17-1-16,-17 0 0,-2 2 16,19-2-16</inkml:trace>
  <inkml:trace contextRef="#ctx0" brushRef="#br1" timeOffset="206769.58">27521 15636 0,'0'0'0,"-17"0"0,-36 19 16,-1 16 0,37-18-16,0 2 15,-2-2-15,2 18 0,-18 1 16,18-19-16,-2 0 15,2 1-15,17 0 0,-18 0 0,18-1 16,-17 0-16,-2 2 0</inkml:trace>
  <inkml:trace contextRef="#ctx0" brushRef="#br1" timeOffset="206976.38">27292 15760 0,'0'-17'0,"35"17"16,18 17 0,-18-17-1,-17 18-15,0-18 0,-1 18 16,0-18-16,2 18 0,-2-18 0,1 17 16,-1 0-16,19 1 15,16 0-15,-33-18 16,-2 18-16,0-18 0</inkml:trace>
  <inkml:trace contextRef="#ctx0" brushRef="#br1" timeOffset="207929.18">28703 15902 0,'-35'17'0,"35"0"15,-19 2-15,2-2 16,0 18-16,-19 53 0,1-35 0,18-17 15,-19 16-15,18-16 0,-16 16 16,15-16-16,-16-1 0,18 18 16,-19-18-16,19 1 0,-1-1 0,1-17 15,-2 17-15,-15 1 0,34-19 16</inkml:trace>
  <inkml:trace contextRef="#ctx0" brushRef="#br1" timeOffset="208164.58">28227 15972 0,'17'0'0,"0"18"16,-17-1-16,54 54 16,-20-54-16,2 19 0,-1-1 15,18 1-15,-17-2 0,16 2 16,-16-18-16,52 52 15,0-16-15,-53-37 0,1 18 16,69 1-16,-69-36 0,-1 17 16,-18-17-16,54 0 15</inkml:trace>
  <inkml:trace contextRef="#ctx0" brushRef="#br1" timeOffset="208725.72">29073 16290 0,'-17'0'16,"69"0"15,-33 0-31,-2 0 16,0 0-16,19 0 0,-18 0 15,-1-18-15,18 18 0,-17 0 16,34 0-16,-33 0 0,-2 0 16,1 0-16,-1-18 0,19 18 15,-19 0-15,-17-18 16</inkml:trace>
  <inkml:trace contextRef="#ctx0" brushRef="#br1" timeOffset="208947.33">29391 15972 0,'34'0'0,"-15"0"0,-2 18 0,1-1 15,-1 2 1,-17-2-16,19 0 0,-19 1 0,0-1 16,0 2-16,0 15 0,0 2 0,-36 16 15,36-16-15,-18-18 16,18 16-16,0 2 0,-17-1 16</inkml:trace>
  <inkml:trace contextRef="#ctx0" brushRef="#br1" timeOffset="209917.95">30432 15567 0,'0'-19'0,"0"90"31,0-54-31,0 54 15,0-35-15,0 35 16,-19-37-16,19 20 16,0-20-16,0 20 15,0-18-15,0-19 16,19 0-16,-19 18 16,0-16-16,-53-55 46,53 18-46,-18 18 0,0-17 0,0 17 16,-16-17-16,15 17 16,2 17-16,-35-17 0,33 0 15,2 17-15,-18 18 16,16-16-16,2-2 0,17 0 0,-17-17 16,17 36-16,0-1 15,17-18-15,0 1 16,19 0-16,-1-18 15,18 0-15,-18 0 16,1 0-16,52-36 0,-35 19 16,-18 0-16,18-37 0,-18 37 15,-16-19-15,33-16 16,-52 35-16,0-2 0,18 2 16,-18-1-1,-18 18-15,0 18 16,1-18-1,0 36-15,-2-19 16,19 0-16,0 1 16,0-1-16,0 19 15,19-19-15,-19 1 16,17-18-16,-17 18 0,17 0 16,1-18-16,0 0 15,0 0-15,-1 0 16,0 0-16,1 0 15,0 0-15,0 0 32,-18-18-17</inkml:trace>
  <inkml:trace contextRef="#ctx0" brushRef="#br1" timeOffset="210636.57">30925 15848 0,'-34'0'16,"-2"36"-1,18 16 1,1-33-16,-2 33 0,19-33 16,-17-2-16,17 18 0,0 1 15,0-19-15,17 0 16,2 1-16,-2 0 16,1-18-16,-1 0 0,19-18 15,-1 0 1,-18 1-16,2 0 0,15-19 15,-16 1-15,35-53 16,-36 69-16,1-33 16,0 34-16,0-17 15,-18 18-15,0-19 16,17 36-16,-17-18 0,-17 54 31,-1-18-31,18 34 16,-18-16-1,18-19-15,0 19 16,0-19-16,0 1 16,18-18-16,0 0 15,-1 0 1,0 0-16,2 17 16,-2 2-16,1-2 31,-18 0-31,0 1 15</inkml:trace>
  <inkml:trace contextRef="#ctx0" brushRef="#br1" timeOffset="210776.57">31348 15831 0,'0'-17'0,"0"-1"15</inkml:trace>
  <inkml:trace contextRef="#ctx0" brushRef="#br1" timeOffset="212366.57">31472 15919 0,'0'-17'0,"-17"51"31,17 2-15,-18-18-16,18-1 15,0 19 1,0-19-16,-18 1 16,18-1-16,0 2 15,36-38 63,-19 2-62,0 17 0,-17-18-16,19 18 0,-2 0 15,1 18 1,-18-1-1,17-17-15,-17 19 16,0-2-16,17 0 16,-17 1-1,36-36 17,-18 1-17,-1 17-15,2 0 0,-2 0 16,0-17-1,18 17-15,-16 0 16,-2 0-16,18 0 0,-17-19 16,0 19-16,-1 0 0,0-17 15,2 17-15,-2-18 16,18 18-16,-35-17 0,17 17 16,2-17-1,-19-2-15,-19 2 31,-15 17-15,16 36 15,1-36-31,17 17 16,0 0 0,17-17-1,1 0 1,-1 0-1,0 18 1,2-18 15,16-18-15,-18 18-16,-17-17 16,36-19-16,-36 19 15,17-1-15,1-18 0,18-34 16,16-18-16,-34 36 15,0-2-15,-1 18 0,0-16 16,2 16-16,-19 19 0,17 0 16,-17-1-16,-17 53 31,17-18-31,-19 2 0,2 16 0,17-18 16,-17 19-16,-1-19 0,0 37 15,0-2-15,18-34 16,-17 34-16,17-34 15,17 0-15,-17 0 16,18-18-16,0 0 0,17 17 16,1-34-16,-19 17 0,1 0 15,-1 0-15,19-18 16,-19 0-16,1 18 0,-1 0 0,2-18 16,-2 18-16,0-17 15,1 17 1,-18 17-1,0 1 1,0 0-16,0 0 0,0 16 16,18 20-1,-18-37-15,18 2 16,-18-2-16,0 0 16,0 1-16,0-1 0,-18-17 0,0 19 15,-53 15 1,36-16-16,-70 18 0,52-19 15</inkml:trace>
  <inkml:trace contextRef="#ctx0" brushRef="#br1" timeOffset="212619.97">30167 16678 0,'88'-35'15,"36"-1"1,69-17-16,19 18 16,-88 18-16,-1-19 0,159 1 15,-52-1-15,-106 19 16,-19-1-16,0 1 0,-17 17 16,-17-19-16,88 2 15,-141 17-15,0 0 0,-54 17 31,1-17-31</inkml:trace>
  <inkml:trace contextRef="#ctx0" brushRef="#br1" timeOffset="212900.82">29920 16854 0,'105'0'15,"-51"-18"-15,34 1 0,106-19 16,-88 19-16,140-18 0,-104-1 16,-18 19-16,16 17 0,-16-18 15,105-18-15,-17 2 16,-107 34-16,-34-18 0,0 18 0,-18 0 16,-18-18-16,18 18 15,-36 0-15,19-18 0,-18 18 0,-1 0 16,18 0-16,-17-17 15,-54 17 17</inkml:trace>
  <inkml:trace contextRef="#ctx0" brushRef="#br1" timeOffset="-212336.82">6108 17260 0,'0'-36'16,"-19"36"-16,2 0 0,0 18 31,17 35-15,-18-36-16,18 19 0,0-18 0,0 16 16,0-15-16,0 16 0,0-18 15,0 19-15,0-19 0,0 18 0,18-16 16,-18-2-16,17 0 0,-17 1 0,17-18 15,2 18-15,-2-18 16,1 0-16,-1 0 0,0 0 16,2-18-16,-19 0 15,0 1 1,0 0-16,0-2 16,-19 19-16,19-17 0,-17 17 15,0-18 1,-1 18-16,1 0 15,-2 0-15,2 0 16</inkml:trace>
  <inkml:trace contextRef="#ctx0" brushRef="#br1" timeOffset="-212004.85">6248 17383 0,'-17'36'15,"34"-19"-15,2 18 16,-19-16 0,17-19-16,-17 17 0,17 0 0,1-17 15,-1 18-15,2-18 16,-2 17-16,0-17 15,1 0-15,0-17 16,-18-1 0,-18 1-1,18 0 1,-18 17-16,18-19 0,-17 19 16,0-17-16,-2 17 15,2 0 1</inkml:trace>
  <inkml:trace contextRef="#ctx0" brushRef="#br1" timeOffset="-211627.93">6689 17295 0,'-34'0'0,"68"0"15,-87 0-15,36 0 16,-1-17-1,18 34-15,-17-34 32,-2 17 15</inkml:trace>
  <inkml:trace contextRef="#ctx0" brushRef="#br1" timeOffset="-211160.06">6707 17207 0,'36'35'0,"-2"1"15,-16-19 1,0 0-16,0-17 0,-1 18 0,0 0 0,-17 0 16,19-1-16,-19 0 15,17 2-15,-17-2 0,0 1 0,0-1 16,0 2-16,0-2 15,-17-17 1,17-17 15,0-19-15,17 18-16,-17 1 0,0-2 0,18 19 16,-18-52-16,17 16 15,-17 19-15,0 0 16,0-19-16,-17 1 15,17 18-15,-18 17 0,18-19 16,-17 19-16,-2-17 0,2 17 16,0 0-16,-1-18 0,-18 36 15,2-18 1,34 17-16,-18-17 16,18 19-16</inkml:trace>
  <inkml:trace contextRef="#ctx0" brushRef="#br1" timeOffset="-210928.41">7307 16907 0,'0'35'15,"0"-17"-15,-18 0 16,18-1-16,0 0 0,0 2 15,0 16-15,0 1 0,-17-2 0,17-16 16,0 18-16,0-2 0,0-16 16,-19 18-16,19-19 0,0 18 0,0-17 15,0 0-15,0-1 0,0 0 16,0 2-16</inkml:trace>
  <inkml:trace contextRef="#ctx0" brushRef="#br1" timeOffset="-210804.73">7165 17278 0,'0'0'0</inkml:trace>
  <inkml:trace contextRef="#ctx0" brushRef="#br1" timeOffset="-210671.05">7553 17278 0</inkml:trace>
  <inkml:trace contextRef="#ctx0" brushRef="#br1" timeOffset="-209297.83">15227 16624 0,'-18'19'0,"1"-2"0,17 1 0,-19-1 15,19 0-15,-17 19 0,17-1 16,0 36-16,0-53 0,0 17 0,0 0 15,0 1-15,17-2 0,-17 2 16,19-18-16,-19 18 0,17-19 0,1 0 16,-1 1-16,0-1 15,2 2-15,-2-19 0,18 0 16,-16 0-16,-2 0 16,0 0-16,-17-19 15,0 2 1,-17-1-16,0 1 15,-2 17-15,19-17 0,-17 17 16,-1 0-16,1-19 0,-2 19 0,2 0 16,0 0-16,-1 0 15,1 0-15,-2 0 16</inkml:trace>
  <inkml:trace contextRef="#ctx0" brushRef="#br1" timeOffset="-208983.1">15439 16854 0,'0'36'16,"0"16"0,0-34-1,17 0-15,-17-1 0,17 0 16,1-17-16,0 19 0,0-2 15,-1-17-15,0 0 0,2 18 0,-2-18 0,1 0 16,-1 0-16,2-18 16,-2 18-16,0-17 0,-17-2 15,18 19-15,-18-17 0,-18 0 16,18-1-16,-34-18 16,-2 19-16,18 0 15,1 17-15,-2-18 0,2 18 16,0 0-16,-1 0 0,0 0 0,0 0 15,1 0-15,0 18 16</inkml:trace>
  <inkml:trace contextRef="#ctx0" brushRef="#br1" timeOffset="-208864.13">15720 16802 0</inkml:trace>
  <inkml:trace contextRef="#ctx0" brushRef="#br1" timeOffset="-208438.92">15932 16678 0,'88'53'16,"-69"-36"-16,-2 1 0,0-1 16,-17 2-16,18-2 0,-18 18 0,17 1 15,-17-19-15,0 0 16,-17 1-16,17 0 15,-18-36 17,18-34-17,18 34-15,-18 0 16,0 0-16,0 1 0,0 0 0,17-2 16,-17 2-16,0-1 0,0 1 0,-17-2 15,17 2-15,0 0 0,-18-1 16,1 1-16,0-2 15,-2 19-15,2-17 0,-1 17 16,1 0-16,-2 0 16,2 0-16,17 17 0,-17-17 15,17 19-15</inkml:trace>
  <inkml:trace contextRef="#ctx0" brushRef="#br1" timeOffset="-207490.68">16708 16607 0,'-17'17'0,"17"19"15,0-18-15,0-1 0,0 0 16,0 19-16,0-1 0,0 1 16,17-1-16,-17-17 0,0 17 0,0 0 15,17 1-15,-17-19 0,0 0 16,0 19-16,0-18 0,19-18 0,-19 17 15,0 2-15,0-2 16,0-70 15,-19 35-31,19-18 0,0 2 16,0-20-16,0 2 0,-17 16 0,17 2 16,17-2-16,-17 1 0,0-1 15,19 19-15,-19-1 0,17 1 16,-17-2-16,18 2 0,-1 17 0,2-17 15,-2 17-15,-17 17 16,17-17-16,-17 17 0,0 2 16,18-19-16,-18 17 0,0 1 0,-18-1 15,18 0-15,0 2 0,-17-2 16,17 1-16,-17-1 16,17 2-16,-19-2 0,19 0 15,-17 1 1,17 0-16,17 0 15</inkml:trace>
  <inkml:trace contextRef="#ctx0" brushRef="#br1" timeOffset="-206603.11">16973 16802 0,'18'-54'16,"-36"54"0,18-17-16,-18 52 47,54 1-32,-19-19 1,0-17-16,-17 17 15,19-17-15,-19 18 0,35-18 32,-18 18-17,2-18-15,-2 0 16,-17-18-16,17 18 16,1 0-1,-1-18-15,2 18 31,-2-17 1,0 17-1,1 0 16,-18-17-16,18 34 63,0-17-79,-1 0 17,0 0-32,2-17 15,-19-2 1,17 19-16,1-17 16,-1-1 15,0 18-16,-17-17 1,19-2 0,-19 2-1,17 17 1,1-17 0,-1-1 30,2 18-30</inkml:trace>
  <inkml:trace contextRef="#ctx0" brushRef="#br1" timeOffset="-206181.94">17608 16448 0,'0'71'15,"0"-54"-15,0 1 16,17 18-16,-17-19 0,0 0 16,0 2-16,18-2 0,-18 1 15,0-1-15,-18 0 0,18 2 16,0-2-16,-17 1 15,17-1-15,-17-17 16,-2 0 0,2-17-1,17-1 1,17 1 0,19 17 15,-19 0-31,1 0 0,0 0 15,0 0-15,-1 17 16,0-17-16,-17 18 16,19-18-16,-19 17 15,17 2 1</inkml:trace>
  <inkml:trace contextRef="#ctx0" brushRef="#br1" timeOffset="-205788.04">17837 16624 0,'0'19'0,"0"-2"16,18 1 0,-18-1-16,17-17 15,2 0-15,15 0 16,2 0-1,-18 0 1,-1 0 0,-17 17-16,17-17 0,1 19 31,0-19-31,17-19 16,-18 19-16</inkml:trace>
  <inkml:trace contextRef="#ctx0" brushRef="#br1" timeOffset="-205677.82">18260 16712 0,'-17'19'0,"34"-38"16</inkml:trace>
  <inkml:trace contextRef="#ctx0" brushRef="#br1" timeOffset="-200956">9124 16942 0,'0'-18'0,"-36"54"47,19-1-31,17-18-16,-18 2 0,1-2 0,17 1 15,-19-1-15,2 19 0,0-19 16,-1 1-16,0 18 0,18-19 0,-18 0 15,1 1-15,0 18 0,17-19 0,-18-17 16,18 17-16,0 1 0,-18 0 0,18 0 16,-18-18-1</inkml:trace>
  <inkml:trace contextRef="#ctx0" brushRef="#br1" timeOffset="-200791.06">8824 17136 0,'0'-17'31</inkml:trace>
  <inkml:trace contextRef="#ctx0" brushRef="#br1" timeOffset="-200648.46">9265 17242 0</inkml:trace>
  <inkml:trace contextRef="#ctx0" brushRef="#br1" timeOffset="-200222.9">8436 16924 0,'-36'54'0,"72"-108"15,-89 125-15,53-35 0,-18-19 0,1 37 16,-2-20-16,19 20 0,-17-2 0,17 54 16,17-54-1,2 2-15,-2-18 0,1-2 0,-1 1 16,19 1-16,-1-19 0,-18 1 15,19 0-15,-1 0 0,-17-18 0,17 17 16,1-17-16,-19 0 0,18-17 0,1 17 16</inkml:trace>
  <inkml:trace contextRef="#ctx0" brushRef="#br1" timeOffset="-199927.5">8983 16554 0,'0'0'0,"34"0"0,20 0 15,-37 0-15,19 18 16,-1 17-16,18-18 0,-18 19 0,18 16 0,35 55 15,-35-54-15,-18-1 16,1 2-16,-1-1 0,1 18 16,-19-19-16,0 1 0,-17 0 0,18-1 0,-18 19 15,-35 53-15,35-72 16,-17 1-16,-2-17 0,2 16 0,-1-33 16</inkml:trace>
  <inkml:trace contextRef="#ctx0" brushRef="#br1" timeOffset="-197307.29">19760 16466 0,'-17'36'15,"-2"-2"-15,2 2 16,-1-18-16,18 16 0,-17 2 16,17-18-16,-17 16 0,-2 37 15,2-52-15,17-2 0,-18 18 16,18-17-16,-17 0 0,17-1 0</inkml:trace>
  <inkml:trace contextRef="#ctx0" brushRef="#br1" timeOffset="-197079.98">19477 16607 0,'36'0'47,"-18"17"-47,35 2 16,-36-2-16,1 1 15,-1-18-15,2 17 0,-2 0 16,0-17-16,1 19 0,-1-19 0,2 17 16,-2-17-16,0 0 15</inkml:trace>
  <inkml:trace contextRef="#ctx0" brushRef="#br1" timeOffset="-196794.71">19989 16078 0,'0'0'16,"0"-18"-16,-17 72 31,34-2-16,-17-34-15,0 0 16,0-1-16,0 0 0,0 19 16,0-18-16,0-1 0,0 0 0,0 2 15,0-2-15,0 1 0,0 18 16,0-19 0</inkml:trace>
  <inkml:trace contextRef="#ctx0" brushRef="#br1" timeOffset="-196427.12">20236 16026 0,'-17'52'0,"17"-35"16,0 2-16,0 33 15,0-34-15,0 0 16,0-1-16,0 0 16,17 1-1,0-18 1,2 0-16,-2 0 15,1 0 1,-1 0-16,0 18 0,2-18 16,-2 0-16,-17 18 15,18-18 1</inkml:trace>
  <inkml:trace contextRef="#ctx0" brushRef="#br1" timeOffset="-196240.95">19972 16148 0,'52'-17'0,"-33"0"0,15-2 0,-16 19 15,-1-17-15,19 17 0,-1-18 16,-17 18-16,17 0 0,-18-17 15,2 17-15,-2 0 0,1 0 0,-18 17 16</inkml:trace>
  <inkml:trace contextRef="#ctx0" brushRef="#br1" timeOffset="-195287.72">18543 17578 0,'17'0'16,"-34"17"46,-1 0-46,1 1-16,-2 18 0,2-19 16,17 0-16,-17 2 0,-1-2 15,18 1-15,-18-1 0,18 0 16,-18 2-16,18-2 16,-17-17-16,17 18 0,0-1 15,17 2 1,19-2-1,-18-17-15,52 0 16,-52 0-16,-1 0 16,2 0-16,-2 0 0,0 0 0,1 0 15,18 0 1,-19-17 0</inkml:trace>
  <inkml:trace contextRef="#ctx0" brushRef="#br1" timeOffset="-195068.69">18631 17595 0,'0'-17'16,"17"51"-16,-34-51 0,17 52 31,0-17-31,0 0 0,0-1 0,0 19 16,0-19-16,17 89 15,-17-18 1,0-71-16,19 2 16,-19-2-16,0 0 0,17 1 15,-17 0 1</inkml:trace>
  <inkml:trace contextRef="#ctx0" brushRef="#br1" timeOffset="-194761.86">18843 17754 0,'-18'17'15,"18"19"1,0-19-16,0 1 16,18-1-16,-18 2 0,17-2 0,0 0 15,19 1 1,-18-18-16,18 0 15,-36-18 1,17 18-16,-17-17 0,0 0 16,0-2-16,0 2 15,-17-18-15,-2 16 16,19 2-16,-17 17 0,-1-17 16,1-1-1,-2 18 1,2 0-16,0 0 0</inkml:trace>
  <inkml:trace contextRef="#ctx0" brushRef="#br1" timeOffset="-194538.71">19001 17383 0,'0'-17'0,"0"51"16,18 20 0,-18-37-16,0 2 15,0 15-15,0-16 0,0-1 16,0 2-16,18-2 0,-18 0 16,0 1-16</inkml:trace>
  <inkml:trace contextRef="#ctx0" brushRef="#br1" timeOffset="-194327.1">19196 17348 0,'0'0'16,"0"35"15,17 1-15,-17-19-16,0 1 15,0-1-15,0 2 0,0-2 16,0 0-16,18 1 0,-18-1 16,0 2-16,-18-19 15,18 17-15</inkml:trace>
  <inkml:trace contextRef="#ctx0" brushRef="#br1" timeOffset="-194183.76">18948 17612 0,'0'-17'0,"0"34"16,-17-34-16,53 0 16,-19-2-1,18 19-15,1-35 0,-2 35 16,2-17-16,-1 17 0,1 0 0</inkml:trace>
  <inkml:trace contextRef="#ctx0" brushRef="#br1" timeOffset="-193478.89">20165 17648 0,'18'-18'31,"0"0"-15,-36 36 15,0 0-31,1-18 16,-19 35-1,19-35 1,17 17-16,-18-17 0,18 19 15,0-2-15,18 1 16,-1 16 0,-17-15-1,19-19-15,-19 17 0,0 1 0,0 18 32,-19-2-32,2-16 0,-18-1 15,35 2 1,-36-19-16,19 17 15,17-34 17</inkml:trace>
  <inkml:trace contextRef="#ctx0" brushRef="#br1" timeOffset="-193180.26">20253 17700 0,'0'36'15,"0"-18"1,0-1-16,19-17 0,-19 17 16,17 2-16,-17-2 0,18-17 15,-1 18-15,19-1 0,-160-157 0,265 280 16,-265-299-16,266 318 0,-125-159 0,2 0 16,-2-17-16,0 17 0,1 0 15,0-18-15,0 1 0,-18-2 16,0 2-16,0 0 15,-18-1-15,0 1 16,0 17-16,1-19 16,0 19-16,-19 0 15,18-17-15,1 17 0,-2 0 16,2 0-16,0 0 16</inkml:trace>
  <inkml:trace contextRef="#ctx0" brushRef="#br1" timeOffset="-192968.65">20536 17224 0,'17'-17'16,"-34"34"0,34 19-1,-17-18-15,0-1 16,0 0-16,0 1 0,0 0 15,0 0-15,0 35 0,18-36 16,-18 1-16,0-1 16,18 2-16</inkml:trace>
  <inkml:trace contextRef="#ctx0" brushRef="#br1" timeOffset="-192743.06">20712 17224 0,'0'-34'31,"0"104"-15,-17-106-16,34 36 15,-34 18-15,17 0 0,0 17 16,0-18-16,0 19 16,0-18-16,0-1 15,0 0-15,0 2 16,17-19-16,-17 17 15</inkml:trace>
  <inkml:trace contextRef="#ctx0" brushRef="#br1" timeOffset="-192562.53">20483 17400 0,'18'-17'15,"-36"34"-15,54-51 16,-19 16-16,0 18 16,37-18-16,-20 0 0,-15 18 15,16-17-15,-18 17 0,19-17 0,35-1 16</inkml:trace>
  <inkml:trace contextRef="#ctx0" brushRef="#br1" timeOffset="-191480.36">16056 17824 0,'-36'18'0,"1"18"31,18-19-31,17 0 0,-19 18 0,19-16 16,-17-19-16,17 17 0,17 0 15,-17 1 1,19-18-16,-2 0 15,18-18 1,-16 1-16,-2 0 16,0 17-1,-17 17 1,18 18 0,-18-17-16,0 0 15,0-1-15,0 0 0,0 37 16,0-37-16,0 0 0,0 2 15,17-2-15,-17 1 0,19-1 16</inkml:trace>
  <inkml:trace contextRef="#ctx0" brushRef="#br1" timeOffset="-191059.02">16373 17895 0,'18'17'16,"-18"1"-16,17-1 16,2 2-16,-19-2 0,17 0 15,-17 19-15,0-1 16,0-18-16,0 2 0,0-2 15,0 1-15,0-1 16,-17-34 31,17-1-47,0-35 16,0 36-1,0-19-15,-19-52 16,19 70-16,-17-35 15,-1 36 1,1-1-16,17 1 0,-19 17 16,19-19-16,-17 19 15,0 0-15,-1 0 16</inkml:trace>
  <inkml:trace contextRef="#ctx0" brushRef="#br1" timeOffset="-190867.12">16567 17471 0,'0'36'32,"0"16"-17,0 1 1,0-35-16,0 18 0,0-19 15,0 0-15,0 19 0,0-18 16</inkml:trace>
  <inkml:trace contextRef="#ctx0" brushRef="#br1" timeOffset="-190665.84">16708 17559 0,'0'-17'16,"17"53"0,-17-19-16,19 0 0,-19 1 0,0 0 15,17 0-15,-17-1 0,0 0 16,0 2-16,0 16 16,0-18-16</inkml:trace>
  <inkml:trace contextRef="#ctx0" brushRef="#br1" timeOffset="-190491.18">16603 17788 0,'-18'-17'0,"18"0"31,18-1-31,-1 1 16,0-2-16,2 19 0,-2-17 15,18 0-15,-18 17 0,19-18 16,-1 0-16,18 0 0,1 1 15,51-19-15</inkml:trace>
  <inkml:trace contextRef="#ctx0" brushRef="#br1" timeOffset="-188600.73">13887 18000 0,'-19'0'0,"38"-34"16,-2 34-16,18-19 15,-35 2-15,18 17 16,0 0 0,-1 0-16,18 36 15,-35-19 1,0 0-16,18 1 0,-18 35 16,18-17-16,-18-1 0,17-18 0,-17 19 15,0-1-15,0-18 0,17 36 16,-17-17-16,19-18 0,-19-1 15,0 18-15,0-17 0,17 0 16,-17-1-16,0 0 0</inkml:trace>
  <inkml:trace contextRef="#ctx0" brushRef="#br1" timeOffset="-188399.76">14027 18388 0,'0'-17'0,"53"-18"15,-36 35 1,2-18-16,-2 18 0,1-18 0,16 18 0,-15-17 16,-2 17-16,1-17 15,18-2-15,-19 2 0,18-1 0</inkml:trace>
  <inkml:trace contextRef="#ctx0" brushRef="#br1" timeOffset="-188119.85">14539 17983 0,'-35'0'16,"16"17"-16,2-17 0,0 0 0,17 18 16,-18-18-16,18 18 0,0 0 15,18 35 1,-18-36-16,17 1 15,0-1-15,2 0 16,-2 2-16,-17-2 0,18 1 0,-18-1 16,17 2-16,-17-2 0,0 0 0,0 1 15,19-18-15,-19 18 0,-19 0 16,19-1-16,0 0 0,-17 1 16,-1 0-16,1 0 15,-2-1 1,2-17-16,0 0 15</inkml:trace>
  <inkml:trace contextRef="#ctx0" brushRef="#br1" timeOffset="-187377.97">14663 17719 0,'0'35'31,"17"-18"-31,-17 0 0,0 2 16,0-2-16,0 1 0,0 18 15,0-19-15,17 0 0,-17 18 16,0-16-1</inkml:trace>
  <inkml:trace contextRef="#ctx0" brushRef="#br1" timeOffset="-187047.62">14733 17683 0,'0'-17'15,"0"34"-15,0 0 31,18 2-31,-18 16 16,0-18-16,0 0 0,17 2 16,-17-2-16,0 1 0,0-1 0,0 2 15,17-2-15,-34 0 16,17 1-16,-17-18 16,-1 0-1,0 0 1,0 0-1,36-18 1,0-16 0,0 15-16,16 2 0,-16 17 15,0-18-15,17 1 0,1-2 16,-19 2-16,18 17 0,-16-17 0,-2 17 16,18-18-16,-18 18 0</inkml:trace>
  <inkml:trace contextRef="#ctx0" brushRef="#br1" timeOffset="-186125.15">19407 16060 0,'-35'18'0,"-1"-1"0,107-52 0,-177 89 15,89-20-15,-19 2 0,19-1 16,-1 0-16,-18 54 0,19-37 16,17-16-16,0-1 0,-17 1 0,17-2 15,17 37-15,0-35 16,2-1-16,-2-1 0,18 2 0,-18-1 16,19-16-16,-18-2 0,52 0 15,18-17-15,-52 0 16,35 0-16,34-34 0,-34 15 15</inkml:trace>
  <inkml:trace contextRef="#ctx0" brushRef="#br1" timeOffset="-185752">20465 15778 0,'54'18'0,"-37"0"16,18 34-16,-17-34 16,17 34-16,1-16 0,-1-1 0,-18 18 0,36 89 15,-35-108 1,-1 20-16,-17-20 0,0 2 16,0-1-16,0 36 0,-17-18 15,-1 0-15,-16-18 16,15 1-16,-33 16 0,-37 1 15,54-35-15</inkml:trace>
  <inkml:trace contextRef="#ctx0" brushRef="#br1" timeOffset="-169418.5">5825 14314 0,'-36'-18'0,"19"18"15,17 18 1,0 0 0,17 0-16,2-1 0,-2 0 0,1 1 15,18 0-15,-2 0 0,20-1 16,-20 0-16,20 2 0,51 16 16,-52-18-16,1-17 0,-2 17 15,1-17-15,-18 0 0,18 0 0,0 0 16,-1 0-16,19-17 0,-18 17 15,53-17-15,-53-1 0,0 18 16,-18-17-16,18-2 0,18-15 16,-54 16-16,19 0 0,-18 0 15,35-16-15,-36 16 16,1 0-16,-1 0 0,0-16 0,2 15 0,-19 2 16,17-1-16,-17-18 15,18 2-15,-1-1 0,-17-18 16,0 35-16,0-18 0,0 19 15,0-19-15,-17 1 0,17 18 16,-18-19-16,1 1 0,-2-1 0,-33-33 16,35 33-16,-19 1 15,19 17-15,-19-17 0,1-1 16,-1 19-16,1-18 0,1 18 0,-20-2 16,18 2-16,-52-18 0,54 16 15,-2 2-15,-16 17 0,16-17 0,1 17 16,-1-18-16,-52 18 15,17 0-15,18 0 0,18 0 16,-35 0-16,16 18 0,2-1 16,-18-17-16,16 17 0,1 2 0,-35 16 15,53-18-15,-18 19 0,-18-1 16,54-18-16,-36 19 16,35-1-16,-16 1 15,15-2-15,2-15 0,-1 16 16,1-1-16,0 2 0,17-1 0,-36 18 15,36-18-15,0 1 0,0-1 16,0-17-16,0 17 0,0 1 16,17-19-16,-17 18 0,53 18 15,-18-18-15,89 36 16,-53-71-16,-1 0 16,1 0-16,17-18 0</inkml:trace>
  <inkml:trace contextRef="#ctx0" brushRef="#br1" timeOffset="-168690.62">7624 13908 0,'141'-34'0,"-105"34"16,-1-19-16,18 19 15,-18-17-15,36 17 0,-37-18 16,56 1-16,-73 17 0,18 0 15,18-19-15,-36 19 16,19 0-16,-18 0 16</inkml:trace>
  <inkml:trace contextRef="#ctx0" brushRef="#br1" timeOffset="-168155.11">7836 13679 0,'0'-17'0,"-17"17"32,-1 0-17,0 17 1,0-17-16,18 17 0,-17 2 15,0-19-15,17 17 16,-19-17-16,19 18 0,-17-18 16,17 17-16,-18 0 0,18 2 15,-17-2-15,17 1 16,0-1 0,-19 2-16,19-2 15,0 0-15,0 1 16,19-1-1,-2 2-15,1-2 16,-1-17-16,-17 17 16,19-17-16,-2 0 15,18 0-15,-35 18 0,18-18 16,0 0-16,-1 0 0,0 0 16,1 0-16,0-18 15</inkml:trace>
  <inkml:trace contextRef="#ctx0" brushRef="#br1" timeOffset="-165472.55">8648 13679 0,'0'124'0,"0"-107"16,0 1-16,17 35 0,1-36 16,-18 1-16,17 18 15,0-19-15,-17 0 0,19-17 0,-2 18 16,18 0 0,-16-36-16,-2 18 15,0-18-15,1 1 16,0-19-16,0 19 0,-18-1 15,0-16-15,0 15 0,-18-52 16,18 54 0,0 0-16,-18-18 0,0-1 15,-16 19-15,15-1 16,2 18-16,-1-18 0,1 18 16,-2 0-16,2 0 0,0 0 15,-1 0-15,18 18 16,-17 0-1,34-1-15,1-17 16,-18 17 0,17-17-16,0 0 15,2 0-15,-2 0 0,1 0 16,-1 0-16,2 19 0,-2-19 16,18 17-16,1 1 15,-19-1-15,0-17 16,1 36-16,0-19 15,0 1-15,-18-1 16,0 2-16,17-2 16,0-53 15,-17 19-15,19-1-16,-19 1 0,17-19 15,1 19 1,-1-1-16,0 18 15,2 0 1,-2 18-16,1-1 16,-1 0-16,2 2 15,-2-19 1,0 0 0,19 0-16,-18-19 15,-1 2-15,0 17 0,-17-35 16,18 18-16,-18-2 15,0 2-15,0-18 32,-35 53-17,35 16-15,-17 2 16,17-18 0,0-1-16,17 0 15,-17 2-15,17-19 0,1 0 16,0 17-16,0-17 15,-1 0-15,0-17 0,37 17 16,-1-19-16,-1 2 16</inkml:trace>
  <inkml:trace contextRef="#ctx0" brushRef="#br1" timeOffset="-164168.68">9829 13256 0,'-17'0'0,"-19"35"16,19-18-16,17 1 0,-18 35 16,18-36-16,0 54 15,-18-52-15,18 15 0,18 1 16,-18-16-16,0 33 15,18-16-15,-18-19 0,34 19 0,-34-19 16,19 1-16,-2-18 0,1 17 16,-1-17-16,2 0 0,-2 0 15,0 0-15,1 0 0,-1 0 0,36-17 16,-35-1-16,0 18 16,17-36-16,-18 36 0,2-17 15,-19 0-15,17 17 0,1-18 16,-1-18-16,-17 19 15,0 0-15,0-2 16,-17 2-16,-1 17 31,1 0-15,-2 17-16,2 2 16,17-2-16,0 0 15,0 1-15,0 0 16,0 0-16,17-18 15,-17 17 1,19-17-16,-2 0 16,-17-17-1,18 17-15,-1-18 16,0 0 0,-17 0 30,0 54 17,19-18-47,-19-1-1,17 0 1,1 2-1,-1-19 1,2 0 0,-2-19-1,0 2 1,-17 0 0,18 17-16,-18-18 0,0 0 15,18 0-15,-18 1 16,18 17-1,-18-17-15,17 17 16,0 0 0,1 0-1,-18 17-15,18 0 16,0 19 15,-18-18-15,17-18-16,0 0 15,-17-18 1,19 18-16,-2-18 0,1 18 16,-1-18-16,-17 1 0,19 17 15,-19-17-15,17-2 0,-17 2 0,17-1 16,-17 1-16,-17 34 47,0-17-47,17 35 31,17-16-31,18-2 31,-18-17-31,2 0 16,-2-17-16,0 17 16,1-19-16,0 19 0</inkml:trace>
  <inkml:trace contextRef="#ctx0" brushRef="#br1" timeOffset="-163305.89">8577 12074 0,'18'-35'0,"-1"18"0,0-2 15,2 19-15,-2-17 0,1 17 16,16 0 0,-15 0-16,-19 17 15,17 2-15,1-2 0,-18 0 16,0 1-16,17-1 0,-17 2 15,19-2-15,-19 18 0,0-17 0,17 17 16,-17 0-16,0-17 16,17 0-16,-17-1 0,18 0 15,-18 2-15,18-2 16</inkml:trace>
  <inkml:trace contextRef="#ctx0" brushRef="#br1" timeOffset="-163099.96">8665 12303 0,'-17'0'16,"17"-17"-16,17-1 16,1 0-16,-1 0 0,0 1 15,54-18 1,-52 17-16,15 0 0,2 1 15,16-19-15,2 1 0,-20 18 16,-15 0-16</inkml:trace>
  <inkml:trace contextRef="#ctx0" brushRef="#br1" timeOffset="-162843.45">9159 11915 0,'-88'-17'47,"70"51"-32,18-15 1,0-2-16,0 1 16,18-1-16,-18 2 0,17-2 15,0 0-15,-17 1 16,19-1-16,16-193 0,-70 371 16,35-178-16,0 0 15,0 1-15,-19 0 0,19 0 16,-17-1-16,0 0 15,-1 1 1</inkml:trace>
  <inkml:trace contextRef="#ctx0" brushRef="#br1" timeOffset="-162231.75">9512 11563 0,'0'-19'0,"-17"90"31,17-54-31,0 19 0,0-1 16,0 1-16,0-1 0,0 1 16,-19 16-16,19 18 0,0-34 0,0-1 15,0 1-15,0-19 0,-17 18 16,17 1-16,0-19 15,17 1-15,-17 0 0,0 0 16</inkml:trace>
  <inkml:trace contextRef="#ctx0" brushRef="#br1" timeOffset="-162017.64">9723 11792 0,'-18'0'0,"36"0"16,-36 18-1,18-1-15,0 0 16,0 19-16,-17-1 16,17 1-16,0-19 0,0 1 15,0-1-15,0 2 0,0-2 16</inkml:trace>
  <inkml:trace contextRef="#ctx0" brushRef="#br1" timeOffset="-161736.54">9847 11932 0,'0'0'47,"0"36"-47,17-36 0,2 0 15,-2 0 1,0 0 0,1 0-16,-18-17 15,0-2 1,0 2 0,-18 0-1,1 17-15,17-18 16,-17 36-1</inkml:trace>
  <inkml:trace contextRef="#ctx0" brushRef="#br1" timeOffset="-161456.83">10023 11756 0,'18'18'0,"-36"-36"0,54 72 31,-19-37-31,-17 0 16,17-17-16,2 0 15,-2 18 1,1-36 0,-18 1-1,0 0 16,-18 17-31,1-18 16,-2 18-16,2 0 16</inkml:trace>
  <inkml:trace contextRef="#ctx0" brushRef="#br1" timeOffset="-161192.97">10393 11703 0,'36'-17'16,"-1"-1"15,-18 18-31,2 0 0,-2 0 0</inkml:trace>
  <inkml:trace contextRef="#ctx0" brushRef="#br1" timeOffset="-161018.67">10464 11844 0,'17'-17'0,"2"17"31,-55 17-31,89-34 0,-35 17 0,-1-17 16,2 17-16,-2-18 15,0 18-15,-17-18 0,18 18 0</inkml:trace>
  <inkml:trace contextRef="#ctx0" brushRef="#br1" timeOffset="-160687.91">10817 11439 0,'18'-17'0,"-18"-2"15,17 19 1,0 0-16,2 0 16,-2 19-16,-17-2 15,18-17-15,-18 17 16,17 1-16,-17 0 0,0 0 15,19-18-15,-19 17 0,0 0 16,17 2-16,-17-2 0,0 1 16,17-1-16,-17 0 15,0 2-15,18-19 16</inkml:trace>
  <inkml:trace contextRef="#ctx0" brushRef="#br1" timeOffset="-160495.2">10905 11632 0,'-17'0'0,"17"-34"31,17 16-15,1 18-16,-1-17 15,2 17-15,-2-19 16,18 19-1,-18-17-15</inkml:trace>
  <inkml:trace contextRef="#ctx0" brushRef="#br1" timeOffset="-159990.43">11347 11263 0,'17'-19'31,"-476"407"-15,901-757 47,-442 386-17,-19-17-30,2 18-16,-18-1 16,16 2-16,2-19 15,17 17 1,-17 0-16,17 1 16,0-1-1,17-17-15,-17 19 16,17-19-16,2 17 15,16 0-15,-18 1 16,2 0 0,-19 0-16,0-1 15,-19 0-15,19 2 16,-35 16 0,18-18-16,-19 0 15,36 2-15,-17-19 0,-1 17 0,1-17 16,-2 0-1</inkml:trace>
  <inkml:trace contextRef="#ctx0" brushRef="#br1" timeOffset="-159560.14">11664 11227 0,'0'36'0,"0"-19"15,-19-17-15,19 18 16,0 18-16,-17-2 0,17-16 15,-17 18-15,-1-2 0,18 2 16,-17-1 0,-2 1-16,19-19 0,0 1 15,-17-18-15,17 17 16</inkml:trace>
  <inkml:trace contextRef="#ctx0" brushRef="#br1" timeOffset="-159379.71">11435 11403 0,'0'-17'0,"0"34"46</inkml:trace>
  <inkml:trace contextRef="#ctx0" brushRef="#br1" timeOffset="-159242.84">11699 11492 0,'0'18'15,"0"-36"16</inkml:trace>
  <inkml:trace contextRef="#ctx0" brushRef="#br1" timeOffset="-146454.59">14751 11844 0,'0'-17'0,"-18"34"31,0 37-15,18-20-16,0-15 0,0-2 0,0 1 16,0-1-16,0 36 15,0-35-15,0-1 0,18-17 0,-18 19 16,18-2-16,-18 0 0,17-17 0,0 0 15,-17 18-15,18-18 0,0 0 0,0 0 16,35-35 0,-36 18-1,-17-2-15,18 2 0,-18-1 0,0-16 16,0 15-16,0 2 16,0-1-16,-18 1 0,18-2 0,-17 2 15,-2 0-15,2-1 0,0 18 0,-1-18 16,-35-17-1,36 35-15,-1-17 16,53 17 31,0 17-31,-17 0-16,0-17 15,-1 18-15,0-18 0,2 18 0,-2 0 16,1-1-16,-1 0 15,-17 2-15,19-19 0,-19 35 16,0-18-16,17-17 16,-17 19-1,0-2-15,17-34 32,1 17-17,-18-19-15,0 2 0,17 17 0,-17-18 16,19 1-16,-2 17 15,-17-19-15,17 19 0,1-17 16,0 34 0,0-17-16,-1 19 15,0-19 1,-17 17-16,19-17 0,-19 18 16,17-18-16,18 0 15,-35 17-15,17-34 16,2 17-16,-2 0 0,-17-18 0,18 18 15,-1-17-15,-17-2 0,19 19 0,-19-17 16,0 0-16,17-1 0,-17 0 16,0 0-16,0 1 15,0 0-15,-17 51 32,17 2-17,0-18-15,0-1 16,0 0-16,17 2 15,0-19-15,-17 17 16,18-17-16,0 18 0,0-18 16,-1 0-16,0 0 15,1 0-15</inkml:trace>
  <inkml:trace contextRef="#ctx0" brushRef="#br1" timeOffset="-145198.67">15844 11563 0,'-17'0'15,"-1"0"-15,18 17 0,-18-17 0,0 18 16,18-1-16,-17 0 15,17 19-15,-17-18 0,17-1 0,-19 19 0,19-19 16,0 1-16,0 0 0,0 17 0,0-18 16,19 19-16,-2-18 15,-17-1-15,17 0 0,1-17 16,0 19-16,0-19 16,16 0-16,-16 0 0,0 0 15,0-19-15,16 19 0,-15 0 0,16-17 16,-18 17-16,2-17 0,-2-1 0,0 18 15,1-18-15,-1 0 0,2 18 16,-2-17-16,-17 0 0,17 17 0,-17-18 16,0 0-16,0 0 15,0 1 1,-17 17-16,0-17 16,-2 34-1,2-17-15,-1 0 16,1 0-16,17 17 0,-17-17 0,17 18 15,-19 0-15,19 0 16,-17-18-16,17 17 16,0 0-16,17-17 15,-17 18-15,19-18 16,-2 0-16,0 0 16,1-18-16,-1 1 15,2 0 1,-19-1-1,17 18-15,-17-18 32,17 36-17,-17 0 1,0-1-16,18-17 16,-18 17-16,18-17 31,0 0-16,-1-17-15,0 17 16,-17-17-16,19 17 16,-2 17-1,-17 0 1,0 1 0,18-18 15,16 0-16,-34-18-15,19 1 16,-2 0-16,1 17 0,-18-18 16,17 0-16,-17 0 0,19 1 15,-19 0-15,17-2 16,-34 38 31,17-2-32,0 0-15,17 1 16,-17 0-16,17-18 16,1 18-16,-1-18 15,2 0-15</inkml:trace>
  <inkml:trace contextRef="#ctx0" brushRef="#br1" timeOffset="-144474.08">16973 11651 0,'-18'17'31,"18"1"-15,-18-1-16,36-17 15,-18 19-15,0-2 0,18-17 16,0 17 0,-1-34-1,0 17 1,2 0-16,-2-17 16,1-2-1,-1 19 16,2 19-31,-2-19 16,0 0 0,1 0-16,-1 0 15,2-19 1,-2 19-16,-17-17 16,0-1-16,17 18 15,-17-36 1,0 19-1,18 0 1</inkml:trace>
  <inkml:trace contextRef="#ctx0" brushRef="#br1" timeOffset="-144290.56">17379 11456 0,'0'0'16,"17"36"-1,-17-18 1,17-1-16,-17 0 16,0 2-16,0 16 15,0-18-15,0 0 16,19 2-16,-19-2 16</inkml:trace>
  <inkml:trace contextRef="#ctx0" brushRef="#br1" timeOffset="-143639.41">17643 11139 0,'0'0'0,"-18"35"47,18-17-47,0 53 16,0-54-16,0 18 15,0 18-15,0-18 0,0-16 0,0-2 16,0 18-16,18-17 0,-18 0 16,0-1-16,18 0 0,-18 2 15,18-19-15,-18 17 0,17-17 16,0 0-16,2 0 15,-2-17-15,1-2 16,-1 2-16,-17 0 0,17-1 0,2-35 16,-19 17-16,0 1 0,0 18 15,0-19-15,17 1 0,-17-18 16,0 18-16,0 17 0,0-17 16,-17 18-16,17-1 15,0 53 16,0-18-31,-19 1 0,38 0 16,-38 0-16,38 16 0,-19-15 16,0-2-16,0 1 0,0-1 0,0 2 15,0 15-15,0-16 0,17-1 16,-17 2-16,0-2 16,0 0-16,18 1 31</inkml:trace>
  <inkml:trace contextRef="#ctx0" brushRef="#br1" timeOffset="-143502.33">17643 11403 0,'-18'0'16,"36"0"-16,0-17 15,17-1 1,-18 18-16,2 0 0,-19-17 0,17 17 15,1-17-15</inkml:trace>
  <inkml:trace contextRef="#ctx0" brushRef="#br1" timeOffset="-143347.45">17203 11351 0,'0'0'15,"52"0"1,37 0 0</inkml:trace>
  <inkml:trace contextRef="#ctx0" brushRef="#br1" timeOffset="-142849.91">18489 11086 0,'-34'0'0,"-2"0"31,36 18-31,-18 0 0,18-1 15,0 0-15,18 1 0,-18 0 16,18 0-16,-18 16 0,18-15 0,-1-2 16,19 54-1,-19-54-15,-17 1 0,18-1 0,-18 2 16,0-2-16,0 0 16,-18 1-16,18 0 0,-17-18 0,-2 18 15,2-18-15,0 0 0,17 17 16,-18-17-16,0 0 0,0 0 0,1 0 15,0-17-15,-1-1 16</inkml:trace>
  <inkml:trace contextRef="#ctx0" brushRef="#br1" timeOffset="-142355.92">18772 11298 0,'17'-35'0,"-17"16"0,0 2 15,0 0-15,0-1 16,-17 18 0,0 0-1,17 18-15,-18-18 16,18 17-16,0 0 15,0 2 1,18-2-16,-1-17 0,0 0 16,37 0 15,-37 0-31,0-17 16,2 17-16,-2 0 15,1 0 1,-1 0-16,2 0 15,15 17 1,-16-17 0,0-17-1,0 17 1,-18-19-16,17 2 16,0 0-1,1-1 1,-18 0-1,18 18 1,-18-18-16</inkml:trace>
  <inkml:trace contextRef="#ctx0" brushRef="#br1" timeOffset="-142146.75">19160 11139 0,'17'-17'32,"-34"34"-1,34-17-31,-17 17 15,19-17 1,-2 18 0,1-18 31,-1-18-47,19 18 15</inkml:trace>
  <inkml:trace contextRef="#ctx0" brushRef="#br1" timeOffset="-113291.99">15351 12232 0,'-19'18'109,"72"-18"-78,53 0-15,-17 0-16,51 0 0,1 0 15,1 0 1,-18 0-16,17 0 0,18 0 31,-107 0-31,-35 0 0,2 0 16,-2 0 0,0-18 30,1 18-30,18 0-16,-2 0 16,-15-17-1,16 0-15,-35-1 16,17 18 0,-17-18 62,0-17-63,0-18 1,0 18 0,0-1-16,0-16 15,0-1-15,0-1 0,0 20 16,0-20-16,0 37 15,0-19-15,0 19 16,0-18-16,0 16 16,0-15-1,0 16 1,0 1-16,0-2 16,0 2-1,0 0-15,0-1 16,0 0 140,-35 18-140,-18-52-1,36 52 1,-37 0-16,20-19 0,-37 19 16,0-17-16,-17-18 15,-18 35-15,-17-17 16,-1-2-1,1 2-15,-159 17 16,140 0 0,18 0-16,55 0 15,-20 0-15,1 0 16,17 0-16,19 0 16,-1 0-16,35 0 15,-35 0-15,18 0 16,-1 0-1,2 0-15,-20 0 0,20 0 16,-56 0-16,20 0 16,-36 53-1,53-53-15,36 17 16,17 1 31,0-1-32,0 36-15,0-35 16,0 35 0,17 0-16,-17-35 0,36 52 15,-19-16 1,-17-20-16,36 2 16,-36-18-1,0-1-15,18 0 16,-1-17-16,-17 36 47,0-18 62,0-1-93,0 0-1,0 2-15,0 16 16,35-18-16,-35 2 16,0-2-1</inkml:trace>
  <inkml:trace contextRef="#ctx0" brushRef="#br1" timeOffset="-112323.84">17432 12022 0,'17'0'47,"37"0"-47,34 0 15,53 0-15,-1 0 16,267-54 0,-178 1-16,18 18 15,53-1-15,-54 19 16,1-36-1,-35 18-15,17 18 0,-35-19 16,0 18 0,-52 1-16,-1-2 0,-36-15 15,-51 34-15,-37-18 16,-70 18 109</inkml:trace>
  <inkml:trace contextRef="#ctx0" brushRef="#br1" timeOffset="-111541.04">17273 12198 0,'0'17'47,"0"0"-31,52 1-1,2-18 1,16 18-16,36-18 16,35 0-16,0 0 15,35 0-15,36 0 16,18 0-16,387 0 15,-353 0 1,19 0 0,-37 0-16,-16 0 0,-36 0 15,18 0-15,-53 0 16,-19 0-16,-33 0 16,-37 0-16,-18 0 15</inkml:trace>
  <inkml:trace contextRef="#ctx0" brushRef="#br1" timeOffset="-110148.29">16303 11315 0,'0'-35'94,"0"-1"-79,0-34-15,17-89 16,19 71-16,-1-35 16,35-18-1,-16-18-15,16 53 0,53-53 16,160-52 0,-125 105-16,-34 54 15,-1-2-15,18 18 16,71-34-1,-160 70-15,-52-18 16,54 18-16,-1 0 16,-18 0-1,1 0-15,16 0 0,-16 0 16,52 54 0,-35-37-16,-1 36 0,37-18 15,-71 1-15,34-1 16,-34 18-1,34 0-15,-33-1 16,-2-33-16,18 33 16,-16 1-1,-2-35 1,18-1 0,-18 36-1,2-35 1,-19 0-1</inkml:trace>
  <inkml:trace contextRef="#ctx0" brushRef="#br1" timeOffset="-109021.95">18296 10239 0,'17'0'16,"1"19"-16,18-2 15,-19 0-15,18 19 16,54-1 0,-72 0-16,1-35 15,-1 18-15,19 0 16,-36-1-16,17-17 15,18 17 48,-16-17 31,15-105-79,2 52-15,-18 1 16,-1 16-16,-17-18 16,36 37-16,-36 0 15,17-1 1</inkml:trace>
  <inkml:trace contextRef="#ctx0" brushRef="#br1" timeOffset="-88020.89">23535 962 0,'17'-18'0,"0"0"47,-51 36-16,16-18-31,0 0 0,18 18 16,-18-1-16,1 0 0,0 1 15,-1 0-15,-18 53 16,19 0-1,17-54-15,0 18 0,0-18 0,0 19 16,0-1-16,0-17 16,35 17-16,-35-18 15,18-17-15,0 19 0,-1-19 16,18-19-16,-17 19 0,0-17 16,16 0-16,-15-1 15,33-18-15,-52 2 0,19-2 0,-19 18 16,17-16-16,-17-2 15,0 1-15,0-1 0,-17-35 16,-2 1-16,2 35 0,-1 18 16,1-19-16,-2 18 0,19 1 15,-17 0-15,0 17 0,-19-19 16,18 19-16,1 0 16,0 19-16,17-2 15,0 18-15,0 1 0,0-2 16,17 2-16,0-1 0,-17 0 15,36 71-15,-36-71 16,18 18-16,-1-18 0,0 1 0,-17-1 16,19-17-16,-19 17 0,17-18 0,-17 37 15,18-54-15,-18 17 16,17 0-16,-17 2 0,0-2 16,19-17-16,-19 18 15</inkml:trace>
  <inkml:trace contextRef="#ctx0" brushRef="#br1" timeOffset="-86777.95">23781 1138 0,'0'-18'0,"-17"36"31,17-1-15,0 2-16,0-2 0,17-70 0,-34 141 0,34-52 16,-17-2-1,18-34-15,-18 18 0,18-18 0,0 18 16,-1-18-16,19 0 15,-19-18-15,-17 0 16,18 1 0,-1 0-16,-17-2 0,0 2 0,17-1 15,-17 1-15,0 0 0,19 17 16,-19-19-16,17 38 31,-17-2-15,0 0-16,0 1 15,0-1-15,18 2 0,-18-2 16,17 0-16,-17 1 16,19-18-16,-2 18 15,0-18-15,1 0 0,18-18 16,-19 18-16,18-18 16,-17 18-16,0-17 0,-1 0 0,0-2 15,2 2-15,-2-1 16,-17 1-16,0 0 15,0-2-15,0 2 16,0-1-16,-17 18 16,-2 0-1,2 18-15,0-18 16,17 17-16,-18-17 0,18 19 16,-18-19-1,18 17-15,18 0 16,0-17 15,16 0-31,-15 0 16,-2 0-16,1 0 0,-1 0 15,0 0-15,2 18 16,-2-1-16,1-17 0,-1 19 16,-17-2-16,19 0 15,-19 1 1,17 0-1,-17-54 17,17 19-17,-17 0-15,0-2 16,18 2-16,-18-1 0,0-16 16,18-2-16,-18 18 0,18-18 15,-1-16-15,0 34 16,1 0-16,0-34 15,0 16-15,-1 2 16,-17 15-16,17 2 16,-17-1-1,19 36 1,-2-1-16,-17 2 0,18 15 16,-1-16-16,-17 18 15,19-2-15,-19-16 0,17 0 0,-17 34 16,0 2-16,0-18 15,0-2 1,0-16-16,0-1 0,-17 19 16,17-19-16,0-51 31,17 15-15,-17 2-16,17 17 0,-17-18 0,18 1 15,-18 0-15,17 17 0,2-19 16,-2 2-16,0-1 15,1 18 1,0 18-16,0-18 16,-1 17-16,0 2 15,-17-2-15,0 0 16,0 1-16,0-1 16,0 2-1</inkml:trace>
  <inkml:trace contextRef="#ctx0" brushRef="#br1" timeOffset="-86606.83">24999 838 0,'0'-18'0,"-18"18"16,0 0-1,54 18 1</inkml:trace>
  <inkml:trace contextRef="#ctx0" brushRef="#br1" timeOffset="-86270.75">25140 820 0,'0'18'15,"17"52"1,1-52-1,-18 0-15,0 52 16,17-70-16,-17 18 16,19 0-16,-19-1 0,17 0 15,0-17-15,-17 19 0,18-19 16,18-19-16,-19 19 16,19-17-16,-36 0 15,17 17-15,1-18 0,-18 0 16,17 36 31,-17 0-47,17-1 15,-17 0 1,19-17 0,-2 0-16,1 0 15,-1 0-15,2-17 0</inkml:trace>
  <inkml:trace contextRef="#ctx0" brushRef="#br1" timeOffset="-85347.74">23711 1843 0,'0'36'16,"17"16"0,-17-16-1,0-19-15,0 54 0,0-54 16,19 19-16,-19-18 0,0 16 0,0 2 15,0-18-15,0 35 16,0-36-16,17-17 16</inkml:trace>
  <inkml:trace contextRef="#ctx0" brushRef="#br1" timeOffset="-85039.95">23605 1967 0,'0'-71'16,"0"142"-16,18-159 0,-1 71 15,2 17 1,-2 0-16,0 0 0,1 0 0,35 17 16,-18 0-16,35 37 15,-51-37-15,-2 18 16,-17-17-16,18 34 15,-18-16-15,0-18 0,0 16 0,-18 2 16,1-18-16,17 18 0,-19-19 0,2 18 16,0-18-16,-1 2 0,0-2 15,0 0-15,1-17 0,0 18 16,-2-18-16,19 18 16</inkml:trace>
  <inkml:trace contextRef="#ctx0" brushRef="#br1" timeOffset="-84684.67">23976 2390 0,'35'-52'0,"-18"33"15,-17 2-15,19-1 0,-19 1 16,0 0-16,17 17 0,-17-36 16,0 18-16,0 1 0,0-2 15,0 2-15,0 0 16,0-1-16,-17 36 31,-2-1-31,19 0 0,0 2 16,-17 16-16,17-18 15,0 2-15,17-19 16,-17 17-16,19 0 0,-2 1 16,0-18-16,1 0 0,0 0 15,17 0-15,18-18 16,-35 1-16</inkml:trace>
  <inkml:trace contextRef="#ctx0" brushRef="#br1" timeOffset="-84106.48">24557 1984 0,'-52'18'31,"34"-18"-31,0 36 16,18-19-16,0 0 0,0 1 15,0 18-15,0-19 16,0 0-16,0 2 0,18-2 0,0 1 15,0-1-15,-1 2 0,0-19 16,1 17-16,-36-300 16,72 566-16,-37-283 0,19-17 15,-19 17-15,18-36 16,-16 18-16,-19-18 16,17 19-16,-17-18 0,17-18 15,1 18-15,-18-1 0,0 2 0,17 15 16,-17-16-16,0 1 15,0 15-15,0 2 0,0-1 16,0 53 15,0-16-15,0-2-16,-17 0 0,34 18 16,-17-16-16,0 15 15,0-16-15,19 0 0,-19 0 16,17-18-16,0 17 15,1-34-15,0 17 16,0 0-16,-1-18 0,0 18 16,1-18-16,0 18 31,0 18-31,-1 0 16,0-18-16,-17 17 15,19 0 1,-2-17-1</inkml:trace>
  <inkml:trace contextRef="#ctx0" brushRef="#br1" timeOffset="-83956.2">25140 1755 0,'-17'0'0,"17"-17"16</inkml:trace>
  <inkml:trace contextRef="#ctx0" brushRef="#br1" timeOffset="-80530.41">23693 2231 0,'71'-35'0,"-18"35"0,18-17 15,69-36 1,-51 35-16,-19 0 0,19 0 0,-1 1 0,-17 17 16,-19-17-16,18-1 0,-16 18 15,-1-18-15,35 0 16,-71 18-16,37-17 0,-37 17 16</inkml:trace>
  <inkml:trace contextRef="#ctx0" brushRef="#br1" timeOffset="-80328.71">23799 2479 0,'-18'17'0,"301"-141"0,-548 231 0,265-72 16,18-35 0,0 0-16,16 0 0,-15 0 0,16 0 15,18-18-15,-1 18 0,1-17 0,1 17 16,16-19-16,-18 2 0,2 0 15,-1 17-15,-1-18 0,1 0 0,1-17 16,-2 18-16,1-2 0,0 2 16,-18-18-16,18 18 0,1-19 15,-20 18-15,20 1 0</inkml:trace>
  <inkml:trace contextRef="#ctx0" brushRef="#br1" timeOffset="-80044.93">25721 1738 0,'-17'0'16,"34"0"-16,-34 34 15,34 2 1,-17-18-16,0-1 15,0 19-15,0-19 16,19 1-16,-19-1 0,0 2 16,0-2-16,17-17 0,-17 17 0,0 1 15,0 0-15,18 0 0,-18-1 16,17-17-16,-17 17 16</inkml:trace>
  <inkml:trace contextRef="#ctx0" brushRef="#br1" timeOffset="-79726.42">25651 1684 0,'18'-34'0,"0"34"0,-54 34 0,89-86 16,-36 52-16,2 0 0,-2 0 15,1 0-15,-1 0 0,2 18 16,-2-18-16,18 17 0,-18 0 0,2 19 16,15-18-16,-34-1 0,36 36 15,-36-18-15,0-16 0,0 15 16,-18 1-16,18 1 0,-18-1 0,1 1 16,0-2-16,-19 20 0,18-37 15,1 19-15,17-19 0,-17 1 16,-2-18-16,19 17 0,-17-17 0,17 19 15,-18-19-15</inkml:trace>
  <inkml:trace contextRef="#ctx0" brushRef="#br1" timeOffset="-79279.77">26180 2055 0,'88'-124'15,"-88"89"-15,19 1 16,-38 15 0,19 2-16,-35 17 31,35 17-31,-17-17 0,17 19 15,-36 15 1,36-16-16,0-1 0,0 2 0,0-2 16,0 0-16,0 1 0,19 0 15,-2 0-15,-17-1 0,17-17 16,1 0-16,-1 0 0,2 17 16,15-17-16,-16 0 0,0-17 0,0 17 15,16 0-15</inkml:trace>
  <inkml:trace contextRef="#ctx0" brushRef="#br1" timeOffset="-78795.93">26763 1684 0,'0'0'0,"-18"0"15,-18 18 1,19 0 0,0 0-16,17-1 0,-36 36 15,18-35-15,18 18 16,-17-19-16,17 0 0,-17 1 15,17-1-15,0 2 0,0-2 0,0 0 0,17 1 16,0 0 0,18-18-1,-16-18-15,-2 18 0,0 0 0,-17-18 0,54 1 32,-37 0-32,19-2 15,-19 2-15,1 17 16,-18 17 15,17 2-31,-17-2 0,0 0 16,0 1-1,0 0-15,0 0 16,17-1-16</inkml:trace>
  <inkml:trace contextRef="#ctx0" brushRef="#br1" timeOffset="-78644.84">27027 1772 0,'-18'-17'0</inkml:trace>
  <inkml:trace contextRef="#ctx0" brushRef="#br1" timeOffset="-78288.68">27204 1367 0,'0'36'15,"0"-19"-15,0 1 0,0-1 0,0 19 16,0-1-16,0 1 0,-19-2 15,19 2-15,0-1 0,0 0 16,0 1-16,-17-2 0,17-15 0,0 16 16,0-18-16,0 19 0,0-19 15,0 1-15,0-1 0,0 2 0,0-2 16,0 0-16,17-17 16,-17 18-16</inkml:trace>
  <inkml:trace contextRef="#ctx0" brushRef="#br1" timeOffset="-77951.04">27380 1967 0,'53'-17'0,"-35"-2"0,35-16 15,-36 18 1,-17 0-16,18-2 15,-1 2-15,0-18 0,-17 16 16,19 2-16,-19 0 0,0-1 16,-19 18-1,-15 18 1,16-1-16,1 0 0,-2 2 0,19-2 16,-17 1-16,17-1 0,0 2 15,-17-2-15,17 0 0,17 18 16,-17-16-16,17-19 0,-17 17 15,19-17-15,-2 17 0,1-17 0,35 0 16,-36 0-16,1 0 0,35-17 16,-18 0-16,-18 17 0,19-19 15,-19 19-15</inkml:trace>
  <inkml:trace contextRef="#ctx0" brushRef="#br1" timeOffset="-77077.83">24416 2072 0,'-211'142'0,"193"-106"16,-17-2-16,-36 37 0,54-36 16,-19-17-16,19 17 0,17-18 15,-18 19-15</inkml:trace>
  <inkml:trace contextRef="#ctx0" brushRef="#br1" timeOffset="-76862.83">24611 1950 0,'17'-36'16,"-105"106"15,53-34-31,-18-1 0,0 18 0,18-1 16,-18 2-16,18-18 0,16-2 0,-15 1 15,16 1-15,0-19 0,18 1 16,0 0-16,18-18 0,0 0 15,-1 0-15,19 0 0,16-18 16</inkml:trace>
  <inkml:trace contextRef="#ctx0" brushRef="#br1" timeOffset="-76743.66">24893 2055 0,'18'17'16,"-54"54"-1,18-35-15,-16 16 0,-37 55 16,18-55-16,247-387 0,-423 706 0,193-318 15,-17-18-15,18 18 0,18-18 16</inkml:trace>
  <inkml:trace contextRef="#ctx0" brushRef="#br1" timeOffset="-75459.52">25633 2831 0,'0'36'31,"0"-1"-15,0-18-16,-17 0 15,17 2-15,0-2 0,0 18 0,0 1 16,0-19-16,0 1 15,0 0-15,0 0 16,-17-18-16,17 17 0,0 0 16</inkml:trace>
  <inkml:trace contextRef="#ctx0" brushRef="#br1" timeOffset="-75140.85">25563 2796 0,'0'-36'16,"0"72"-16,0-89 0,18 36 16,-18-2-16,18 19 0,-1-17 0,0 17 15,1-18-15,0 18 16,0 0-16,-1 18 0,19-1 15,-1 19-15,-18-19 16,-17 1 0,0 0-16,0 0 0,19-1 0,-38 0 15,19 2-15,-17 16 0,17-18 16,-18 0-16,18 2 0,-17-2 16,17 1-16,-19-1 0,2 2 15,17-2 1</inkml:trace>
  <inkml:trace contextRef="#ctx0" brushRef="#br1" timeOffset="-74789.65">25880 3148 0,'19'-34'16,"-19"16"-16,-19 70 0,55-140 16,-19 71-1,-17 0-15,0-2 0,0 2 16,0-1-16,0 1 31,-17 34 0,17 18-15,0-16-16,0-2 16,0 0-16,17-17 0,-17 18 15,18-18-15,0 18 16,0-18 0</inkml:trace>
  <inkml:trace contextRef="#ctx0" brushRef="#br1" timeOffset="-74486.1">26075 2990 0,'17'-18'16,"-17"1"-16,17 34 16,2-17-16,-19 18 15,17-1-15,-17 2 16,18-19-16,-18 17 0,17 0 15,2 1-15,-2-36 32,0 18-17,-17-17-15,18-19 16,-1 19-16,2-1 16,-2 1-16,0-19 15,1 36-15,0-17 16,0 17-16,-1 0 15,0 0-15,2 0 16,-2 0-16</inkml:trace>
  <inkml:trace contextRef="#ctx0" brushRef="#br1" timeOffset="-73743.5">26709 2814 0,'0'-18'0,"-17"53"15,17-18 1,-17 37-1,17-37-15,0 0 16,0 2-16,17-2 16,-17 1-16,17-1 15,1-17-15,0 0 0,0 0 16,-1 0-16,0-17 0,2 17 0,-2 0 16,1-18-16,-1 1 15,0 17-15,2-19 0,-2 2 0,-17 0 16,18-1-16,-18 1 0,17-2 15,-17 2 1,-17 17 0,-1 17 15,1 2-31,34-2 16,-17 1-1,0-1-15,18-17 16,-1 0-16,2 0 15,-2 17 1,0-17-16,1 0 16,0 0-1,0 0 1,-1 19-16,0-19 16,-17 17-16,18-17 0,0 0 31,0 0-16,-18-17-15,17 17 16,0-19 0,2 19-16,-2-17 15,1 17-15,-1 0 16,2 0 0,-2 0-1,0 0-15,1 0 16,-1 0-16,-17-17 15,19 17-15,-2 0 0</inkml:trace>
  <inkml:trace contextRef="#ctx0" brushRef="#br1" timeOffset="-73522.98">27592 2548 0,'0'-34'31,"17"51"-16,-17 0 1,18 19-16,-18-18 0,17-1 0,-17 2 16,19-2-16,-90-124 0,142 231 15,-54-89-15,0 18 16,1-35-16,-18 0 0,17 0 0,-17-1 16,19 0-16,-19 2 15,17-19-15,-17 17 16</inkml:trace>
  <inkml:trace contextRef="#ctx0" brushRef="#br1" timeOffset="-73231.48">27627 2796 0,'-18'0'0,"36"-18"16,-1 0-16,2 18 0,15-17 15,-16 17-15,35-17 16,-36 17-16,19-19 16,-18 19-16,-1 0 0,0 0 15,19 19-15,-318 51 16,582-140-16,-283 87 16,0 0-16,2 1 15,-19 0 1,0 0-1</inkml:trace>
  <inkml:trace contextRef="#ctx0" brushRef="#br1" timeOffset="-73088.17">28032 2567 0,'0'-19'0,"-17"19"16</inkml:trace>
  <inkml:trace contextRef="#ctx0" brushRef="#br1" timeOffset="-72639.99">28209 2372 0,'0'36'31,"0"-1"-15,0-18-16,0 19 15,18-1-15,-18-18 0,0 2 16,17-2-16,-17 1 0,17-1 0,-17 2 15,36 15-15,-18-16 16,-1-18-16,0 0 0,2 0 16,-2 0-16,1 0 0,-1 0 15,2-18-15,-2 18 0,18-17 16,-17 0-16,-18-2 0,0 2 16,18-1-16,-18 1 15,-18 17 1,0 17-1,0 1-15,18-1 16,0 2-16,0-2 16,0 0-16,0 1 0,18-1 15,0 2-15,0-2 16,-1-17-16,0 0 16,1 0-16,0 0 0,0 0 15,-1 0-15,0 0 0,19-17 16,-18 17-16,-1-19 0</inkml:trace>
  <inkml:trace contextRef="#ctx0" brushRef="#br1" timeOffset="-65271.81">19743 1791 0,'-19'52'0,"19"-33"16,0-2-16,0 35 16,0-33-16,0 15 0,19 2 0,-19-1 15,0 0-15,0 1 0,0-19 0,17 19 16,-17-19-16,0 37 16,0-37-16,0 0 0,17 1 0,-17-1 15,0 2-15,0-2 16</inkml:trace>
  <inkml:trace contextRef="#ctx0" brushRef="#br1" timeOffset="-64787.92">19584 1879 0,'0'0'0,"17"-36"0,1 19 0,-1 17 0,2-18 16,-2 18-16,0 0 15,1-17-15,18 34 0,-19-17 0,0 0 16,1 18-16,18 18 16,-36-19-16,0 0 15,0 1-15,0 18 0,-18-2 0,18 2 0,-18-18 16,0 16-16,18-16 0,-17 18 0,0-19 16,-2 36-1,2-35-15,17-1 16,0 2-1,36-2 1,-19-17-16,0 0 16,1 0-16,0 0 0,0 0 0,-1 0 15,36-17 1,-18 17-16,-18 0 0,2 0 0,-2-19 16,1 19-16,-1 0 0,19-17 15</inkml:trace>
  <inkml:trace contextRef="#ctx0" brushRef="#br1" timeOffset="-64334">20324 1896 0,'-123'18'16,"123"-1"-16,-18-17 0,0 19 0,-16 33 16,34-34-16,-19 34 15,19-34 1,0 0-16,0 0 0,19-1 16,15 0-1,-16-17-15,18-17 16,-19 0-1,0-19-15,2-16 16,-2 34 0,-17 0-1,0 0 1,18 18-16,-1 18 16,0 0-1,-17 0 1,19-18-16,-19 17 0,17-17 0,-17 17 15,18-17-15,-18 18 0,17-18 16,19 18 0,-19-18-1</inkml:trace>
  <inkml:trace contextRef="#ctx0" brushRef="#br1" timeOffset="-63950.82">20519 1896 0,'0'-17'0,"0"69"47,17-52-47,-17 36 15,0-19 1,0 19-1,17-18-15,-17-1 0,0 0 16,36-34 15,-36 0-15,18-1 0,-18 0-16,17 18 0,0-18 15,2 18 1,16 0-1,-18 0-15,2 0 16,-2 18-16,18-18 16,-18 0-16,19 0 15</inkml:trace>
  <inkml:trace contextRef="#ctx0" brushRef="#br1" timeOffset="-63395.06">21029 1772 0,'-34'0'16,"16"19"-16,18-2 15,0 1-15,0 18 16,18-2 0,-18-16-16,0-1 0,17 2 15,-17-2-15,17 0 0,-17 1 16,19 0-16,-19 17 0,0 0 16,0-17-16,0 0 0,-19-1 0,19 0 15,0 2-15,-17-19 16,17 17-16,36-53 31,-1-16-15,-18 34-1,2 0-15,-2-16 0,-17 16 0,17 0 16,1-17-16,-1 18 0,-17-2 16,0 2-16,19-1 0,-19 1 0,0 0 15,0-2-15,0 2 16,-19 17-1,2 17 1,-1-17-16,18 19 0,0-2 0,-17 0 16,17 1-16,0-1 15,17-17-15,-17 19 0,0-2 16,18-17-16,-1 17 0,2-17 16,-2 18-16,0-18 15,1 0-15,0 0 0</inkml:trace>
  <inkml:trace contextRef="#ctx0" brushRef="#br1" timeOffset="-63067.27">20024 2619 0,'88'-17'16,"-35"-1"-1,1 1-15,-1-2 16,35 2-16,-17 0 0,105-37 0,-106 37 15,18 0-15,-17-1 0,70-18 16,-70 19-16,-19 0 0,1-2 16,-18 19-16,36-17 15,-35-1-15,-19 18 0,0 0 16</inkml:trace>
  <inkml:trace contextRef="#ctx0" brushRef="#br1" timeOffset="-62783.98">20377 2743 0,'71'-17'0,"-36"-2"0,1 2 16,-2-1-16,20 1 0,16 0 0,72-37 15,-72 37-15,0-2 16,0 2-16,-16 0 0,87-37 16,-88 37-16,70-18 0,-70 17 15,35 0-15,-70 1 16,18 0-16,-2 17 16,-16-19-16,18 2 0,-2-18 15,-15 18-15</inkml:trace>
  <inkml:trace contextRef="#ctx0" brushRef="#br1" timeOffset="-61959.7">23481 1632 0,'71'-18'15,"-35"0"-15,16 18 0,-16-17 0,35 0 16,-19-2-16,54-16 0,-54 18 15,19-2-15,-18 19 0,1-17 16,-2 0-16,1-1 0,-17 1 16,16 17-16,-16-19 0,-19 19 0,18-17 0</inkml:trace>
  <inkml:trace contextRef="#ctx0" brushRef="#br1" timeOffset="-61762.08">23835 1632 0,'34'0'15,"-15"0"-15,-2 0 0,18-18 16,1 18-16,-1-18 0,89-16 16,-72 15-16,18 2 15,18-1-15,-34 1 0,34-2 0,0 2 16,1 0-16,-18-1 0</inkml:trace>
  <inkml:trace contextRef="#ctx0" brushRef="#br1" timeOffset="-61219.49">26551 2408 0,'229'-53'15,"-158"36"-15,-18-2 0,35 2 16,-17-1-16,17 1 0,36-19 15,-72 19-15,18 17 16,-16-18-16,-20 18 0,2-17 0,16 17 16,-33 0-16</inkml:trace>
  <inkml:trace contextRef="#ctx0" brushRef="#br1" timeOffset="-61047.94">26745 2655 0,'18'17'16,"16"-34"-16,2 17 15,16 0-15,55-36 0,-354 72 16,565-72-16,-248 19 0,1-1 0,17 1 16,-17-19-16,-1 19 0</inkml:trace>
</inkml:ink>
</file>

<file path=ppt/ink/ink11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22:58.047"/>
    </inkml:context>
    <inkml:brush xml:id="br0">
      <inkml:brushProperty name="width" value="0.05292" units="cm"/>
      <inkml:brushProperty name="height" value="0.05292" units="cm"/>
      <inkml:brushProperty name="color" value="#0070C0"/>
    </inkml:brush>
  </inkml:definitions>
  <inkml:trace contextRef="#ctx0" brushRef="#br0">23548 2510 0,'0'17'0,"17"0"16,-17 1-1,0 0-15,0 0 0,0-1 0,0 0 0,0 1 16,0 0-16,19 17 16,-19-18-16,0 2 0,0-2 15,0-70 32,-19 0-31,19 18-16,0 18 0,-17-19 15,17 1-15,0 18 0,0-2 0,0 2 16,0-1-16,-18-16 16,36 15-1,-1 38 1,2-2 0,-19 0-16,17 1 0,18-1 15,-17 2 1,0-38-1,-1-33 1,0 35-16,-17-2 0,18-16 16,0 18-16,-18-2 15,0 2-15,18 0 16,16 34 0,2 19-1,-36-1-15,18-18 16,-1 2-16,-17 15 0,19 1 15,-2-16-15,-17-2 0,0 18 0,17-35 0,-17 18 16,0 0-16,18-1 0,-18 0 16,17 1-16,2 0 15,-2-18 1,0-18-16</inkml:trace>
  <inkml:trace contextRef="#ctx0" brushRef="#br0" timeOffset="446.88">24165 2632 0,'36'-70'16,"-36"52"-16,17 1 0,-17 0 15,0-2-15,0-16 16,-17 1-1,-19 68 17,36-16-32,0-1 0,0 2 15,-17-2-15,17 0 0,0 1 16,34 35 0,-15-36-16,-2-17 0,1 18 15,-1-18-15,2 0 0,15 0 16,37-18-1,-36 18-15,1-17 0,-19 17 0,19-17 0,-19 17 16</inkml:trace>
  <inkml:trace contextRef="#ctx0" brushRef="#br0" timeOffset="1235.81">24748 2298 0,'-19'-18'16,"2"18"-16,-1 0 16,-16 0-1,15 18 1,19-1-16,-17 0 0,-1 2 16,18-2-16,-17 1 15,17-1-15,0 2 0,0-2 16,0 0-16,0 1 15,17-18-15,-17 17 16,18-17-16,-1 0 0,2 0 16,-2 0-16,0-17 15,18-18 1,-35 18 0,19-2-16,-19 2 0,0-18 15,17 35 1,-17-19-16,0 2 31,17 34 16,1 2-31,-18-2-16,18 1 15,-18-1 1,18 2-1,-1-19 1,0 0 15,19-19 1,-18 2-32,-1-1 15,0 18 1,2 0-1,-2 18 1,1-18-16,-18 17 16,17-17-1,2 19 17,15-38-17,-16 2-15,0-1 16,0 18-1,-1-17 1,0 17 0,1 0-1</inkml:trace>
  <inkml:trace contextRef="#ctx0" brushRef="#br0" timeOffset="1858.14">24060 3532 0,'0'54'16,"17"-37"-1,-17 54-15,17-37 16,-17-16-16,0 18 0,18-2 0,-18 2 15,18-1-15,-18-16 0,18 15 16,-18-16-16,17 35 0,0-18 16,2-35-16,-19 18 0,17 0 15</inkml:trace>
  <inkml:trace contextRef="#ctx0" brushRef="#br0" timeOffset="2080.78">24060 3638 0,'34'18'47,"-16"-18"-47,0 0 15,0 0-15,-1 0 0,19 0 0,16 0 16</inkml:trace>
  <inkml:trace contextRef="#ctx0" brushRef="#br0" timeOffset="2270.06">24553 3462 0,'0'0'16,"-35"17"-16,-1 19 15,19-19-15,0 1 16,-1 35-16,0 0 16,0-35-16,1 16 15,17 2-15,-17 16 0,17-33 16,0 16-16,0-18 0,0 2 16</inkml:trace>
  <inkml:trace contextRef="#ctx0" brushRef="#br0" timeOffset="2468.33">24501 3567 0,'0'-17'31,"17"34"-15,1 2-16,-18 15 0,17 2 15,0-18 1,-17 34-16,19-34 0,-2 34 15,1-16-15,-1-18 16,2 18-16,-2-19 16,0 0-16</inkml:trace>
  <inkml:trace contextRef="#ctx0" brushRef="#br0" timeOffset="2903">24836 4008 0,'17'-53'16,"0"53"0,-17-35-16,19 1 0,-2-37 15,-17 52-15,0 2 16,0-18-16,0 17 16,0 0-1,0 1-15,-36 52 16,36-17-1,0 17-15,0 1 16,0-1-16,19-18 0,-2 19 16,1-19-16,-1 1 15,36-1-15,1-17 16,16 0-16,-18-17 16,-16-1-16</inkml:trace>
  <inkml:trace contextRef="#ctx0" brushRef="#br0" timeOffset="3617.07">25453 3603 0,'-53'0'15,"35"17"-15,-16 1 16,34 0-16,-19 0 15,2-1-15,17 0 0,-18 1 16,18 0-16,0 17 16,0-18-16,0 2 15,18-19-15,-1 0 16,19 0 0,-1-19-1,-18-15-15,2 16 16,-19 0-16,17 0 15,-17 1-15,0 0 16,0-1-16,17 18 16,-17-18-16,0 0 15,18 36 32,-18 0-31,0 0-16,18-1 15,0 0 1,-1 1 15,19-36-15,-19 18 0,1-17-16,-1 17 31,0 0-31,2 0 15,-2 0 1,1 17 0,-1 1 15,2-18-15,-2 0-1,0 0 1,18-18-1,-16 1 1,-2 17 0,0 0-16,1-17 0,0 17 15,0 0-15,-1-18 0</inkml:trace>
  <inkml:trace contextRef="#ctx0" brushRef="#br0" timeOffset="4672.22">26476 2932 0,'17'36'31,"-17"-18"-15,0-1-16,19 54 0,-19 34 15,0-69-15,0-1 0,17 18 0,-17-18 16,35 106 0,1-105-1,-19-1 1,0-35-16,1 0 0,0 0 31,-18-18-31,0 1 16,-18 0-16,18-2 0,-18 2 15,-16-1-15,16 18 16,0 0-16,0 0 0,-16 0 16,-20 18-16,37-18 15,-2 17-15,-50 19 16,50-19-16,19 1 0,-17 18 15,17-19-15,0 0 16,17-17-16,2 18 0,16-18 16,-1 0-16,90-18 15,-70 1-15,-20 0 16,54-19-16,-69 18 16,16 1-16,18-36 15,-36 18-15,1 16 0,-18 2 16,0 0-16,17-1 15,-17 0-15,-17 0 16,-1 36 0,18 0-1,0 0 1,0 16-16,18-15 16,-1-2-16,19 1 15,-19-18-15,19 17 16,-18-17-1,-1 0-15,19-17 0,-19 17 16,1-18-16,-1 1 16,0-2-16,-17 2 0,19 0 15,-2-1 1,-17 0-16,18 18 16,-1 18 15,2 0-31,-2-1 0,0 0 31,-17 2-31,18-19 16,0 17-16,0-17 15,-1-17 1,0 17 0,-17-19-16,18 2 15,-18 0-15,18-1 0,0 0 16,-18 0-1,34 1-15,-34 0 16,19 17-16,-2-18 0,1 18 31,-1 0-15,-17 18-16,17-18 16,-17 17-16,19-17 15,-2 0 1</inkml:trace>
  <inkml:trace contextRef="#ctx0" brushRef="#br0" timeOffset="5060.12">27464 2950 0,'-18'-18'16</inkml:trace>
  <inkml:trace contextRef="#ctx0" brushRef="#br0" timeOffset="6186.27">27764 3144 0,'-18'-17'0,"0"17"16,0 17 0,1 1-1,0-1-15,17 2 0,-18-19 16,18 17-16,-18 0 16,18 19-16,0-18 15,18-18 1,17 0-1,-18-18-15,1 0 16,-18 0 0,18 18-16,0-34 15,-1 51 17,0-17-17,-17 17-15,19 1 0,-2-18 16,1 0-16,-1 0 15,19 0 1,-19 0-16,1-18 16,18 1-16,-36-19 15,17 1-15,-17 18 16,17-90-16,1 55 16,-18-18-1,0 34-15,0 18 16,18 1-16,-18 0 15,-18 69 17,18-16-32,18-2 15,-18-16-15,18 35 16,-1-17-16,0-19 16,1 1-16,0-1 0,0 0 15,-1 2 1,0-2-1,-51-17 1,16 0 0,0 0-16,0 0 15,-16 0-15,16 0 0,0 0 16,0 0 0,1 0-16,0 0 15,51-36 1,-16 36-1,18-17-15,-19 0 16,36-1-16,-35 18 16,52-36-16,-35 19 15,1 17 1,-19-17-16,1 17 16,-1 0-16,2 0 31,-2-18-16,0 36 1,-17-1 15,0 0-31,0 2 16,18-2-16,-18 1 16,0-1-16,18 19 15,-18-19-15,0 1 16</inkml:trace>
  <inkml:trace contextRef="#ctx0" brushRef="#br0" timeOffset="6348.69">28452 2810 0,'-36'-19'16,"18"38"-16</inkml:trace>
  <inkml:trace contextRef="#ctx0" brushRef="#br0" timeOffset="6958.52">28593 2879 0,'-19'36'15,"19"-19"-15,0 19 16,-17-18 0,34-1-16,-17 0 15,0 19-15,19-18 16,-2-18-1,1 17-15,-1-17 16,2 0-16,15-17 0,-16 17 16,18-35-16,-19 35 15,-17-19-15,17 2 0,1 0 16,-18-19-16,0 1 16,-18 18-1,18-2-15,-17 2 16,-18 17-16,-1 0 15,19 17-15,0-17 16,-2 0 0,19 19-16,19-2 31,-2-17-31,0 0 16,37-17-16,-20 17 15,-16 0 1,18 0-16,-19 17 0,36-17 15,-35 0-15,18 17 16,-19-17-16,0 18 16,1-18-16,18 18 15,-19-18-15,0 0 0,1 0 16,18 0 0,-19 0-1,18-18 1,-17 0-16,0 18 15</inkml:trace>
  <inkml:trace contextRef="#ctx0" brushRef="#br0" timeOffset="7877.89">26829 3886 0,'247'-90'16,"-123"38"-16,-36 16 0,652-245 31,-404 157-15,-231 89-16,90-18 15,-19 17-15,-123 19 16,35-18-16,-17 35 15,-37-19 1,2 19-16,-72 19 31,2-19-15,-2 17-16</inkml:trace>
  <inkml:trace contextRef="#ctx0" brushRef="#br0" timeOffset="8147.82">27393 3867 0,'495'-211'15,"-407"193"-15,88-53 0,-1111 478 16,2028-866-16,-969 423 0,-72 19 16,55-18-16,-36 16 15,-1342 478-15,2576-935 0,-1287 476 16,0 0-16,0 0 0,-1-17 16</inkml:trace>
  <inkml:trace contextRef="#ctx0" brushRef="#br0" timeOffset="9539.11">24324 4467 0,'-18'0'0,"53"-17"0,-16 17 16,103-54 0,-86 37-16,35-19 0,-19 19 0,19-18 0,-1 18 15,18-19-15,-17 18 0,17-18 16,-17 19-16,-1 0 0,-16-1 0,-1 1 16,52-19-16,-70 36 15,1-17-15,-19 17 0,1 0 0</inkml:trace>
  <inkml:trace contextRef="#ctx0" brushRef="#br0" timeOffset="9754.74">24448 4520 0,'0'0'16,"34"0"-16,-15 0 15,-2-17-15,18 17 0,1-19 0,69-15 16,-51 16-16,-2 0 16,1 0-16,0 1 0,53-19 15,-70 19-15,-2-1 0,37 1 16,-54 17-16</inkml:trace>
  <inkml:trace contextRef="#ctx0" brushRef="#br0" timeOffset="21941.84">25188 5472 0,'53'-53'0,"-36"53"16,-69 19 15,34-2-16,-17 0 1,18 1-16,-1-18 0,0 18 0,0 0 16,1-18-16,0 17 0,-2-17 0,19 17 15,-17-17-15,17 19 0,17-2 16,19 1 15,-1-1-31,1-17 0,-19 0 0,18 17 16,-17-17-16,0 0 0,-1 19 0,19-2 15,-19-17 1,-17 18-16,0 18 16,-36 16-1,19-34-15,0-18 0,-19 18 16,18-1-16,1 0 0,0-17 0,-1 18 16,-18-18-16,19 18 15,0-18-15</inkml:trace>
  <inkml:trace contextRef="#ctx0" brushRef="#br0" timeOffset="22423.57">25805 5560 0,'71'-34'31,"-53"34"-31,17-18 0,1 18 16,16-18-16,-16 0 0,16 1 0,37 0 15,-54-2-15,0 19 16,1-17-16,-2 17 0,2-18 0,-18 18 16,16-17-16,-15 17 0,-2 0 15,1 0-15,-1-17 0,2 17 16,-2 0-16,0-19 16,19 19-1,-36-17-15,18 17 16</inkml:trace>
  <inkml:trace contextRef="#ctx0" brushRef="#br0" timeOffset="22735.67">26334 5208 0,'36'-17'32,"-18"34"-32,-1-17 0,19 0 15,-19 0-15,1 0 0,18 18 0,-19-18 16,18 17-16,1-17 0,-2 17 16,20 2-16,-37-2 0,36 1 15,-35-1-15,-1 2 16,-17-2-16,19 18 0,-19-18 15,-19 2-15,19-2 0,-17 18 0,-1-17 16,1 17-16,-2-18 0,2 2 16,0 16-16,-1-18 0,-35 19 15,36-19-15</inkml:trace>
  <inkml:trace contextRef="#ctx0" brushRef="#br0" timeOffset="23599.99">27146 4802 0,'0'-18'0,"0"72"15,0-37-15,18 0 16,-18 2-16,0-2 0,0 1 16,0 18-16,17-19 0,-17 0 0,0 18 15,19-16-15,-19-2 0,0 0 16,0 1-16,0 0 15,17-36 17,0 0-32,1 1 31,-18 0-31,18-2 0,0 19 16,16 0-1,-16 0 1,0 0-16,0 0 15,-18 19-15,17-19 0,19 17 16,-19-17-16,1 0 16,-1 0-16,0 0 15</inkml:trace>
  <inkml:trace contextRef="#ctx0" brushRef="#br0" timeOffset="24384.78">27728 4838 0,'-35'-18'16,"18"18"-16,-19 18 15,18-1 1,1 0-16,17 2 0,-17-19 16,17 17-16,0 1 0,0 35 15,17-36 1,0-17-16,1 0 15,-18 18-15,36-18 0,-19-18 16,0 18-16,-17-17 16,18 0-16,-18-2 15,-18-33 1,18 33-16,-17-15 16,0 34-1,-1-18-15,0 18 16,0 18-1,36-1 17,0-17-17,17 0 1,-18 0-16,1-17 16,0 17-1,0 0 1,-1 0-1,-17 17 1,17-17 0,-17 17-16,19 2 15,-2-19 1,1 0 0,-1 0-1,2 0 1,-2 0-16,0 0 15,1 0 1,-1 17 0,2-17-1,-2 0-15,0 0 16,1 0-16,0-17 16,0 17-1,-1-19-15,0 2 16,-17 0-1,18-1 1,-18 0 0,18 18 15</inkml:trace>
  <inkml:trace contextRef="#ctx0" brushRef="#br0" timeOffset="25401.77">28398 4362 0,'18'34'16,"0"37"-1,0-35-15,-1-1 16,-17-1-16,17 20 0,-17-18 15,0-2-15,19 2 0,-19-18 16,0 16-16,17 2 0,-17 16 0,-17-33 16,17-2-16,0 1 0,-19-1 0,19 2 15,-17-2-15,0-17 16,-1 17-16,0-34 16,18-19-1,18-16 1,-18 33-1,18 2-15,-1 0 0,0-37 16,2 37-16,-2-18 16,18 17-16,-18 0 0,2-16 0,-2 15 0,1 2 15,-1-1-15,2 1 0,-19-2 16,17 19-16,-17-17 0,17 0 0,-17-1 16,18 18-16,-53 18 46,18 16-30,17-15-16,0-2 16,0 1-1,17-1 1,18-34 0,-17-1-1,0 18-15,-18-17 0,17 17 16,0-19-1,19 38 17,-36-2-17,18 1 1,-1-1-16,19-17 31,-19-17-15,1 17-16,-18-18 15,17 18-15,-17-17 0,19 17 0,-19-19 16,17 19-16,0-17 16,1 17-1,-1 0-15,2 17 16,-2-17 0,-17 19-1,17-2-15,1-17 31,0-36-15,0 19 15,-1 0-15,0 17 0</inkml:trace>
  <inkml:trace contextRef="#ctx0" brushRef="#br0" timeOffset="25670.65">29352 4484 0,'17'-52'0,"0"52"15,-51 18 16,15-1-31,19 0 16,-17 2 0,17-2-16,0 1 15,0-1-15,17-17 16,2 0 0,-2 0-16,0 0 15,18 0 1,-35-17-16</inkml:trace>
  <inkml:trace contextRef="#ctx0" brushRef="#br0" timeOffset="27824.17">25558 6160 0,'0'-34'0,"0"15"16,0 2-16,19-1 15,-19 1-15,0-19 0,17 19 16,-17-18-16,0-1 0,18 1 0,-18-1 16,0-16-16,0-1 0,-18-54 15,18 55-15,-17-1 0,-2 0 16,-15 18-16,-2-1 0,1 1 16,-1 1-16,-16-2 0,-1 18 0,-1 1 15,2-2-15,-1 2 0,0 17 0,-53 17 16,53 2-16,-70 33 15,53-16-15,16-1 0,1 18 16,-52 71-16,51-55 16,20 2-16,-2 18 0,1-19 0,18 19 15,-2-20-15,19 55 0,0-70 16,19 16-16,-2-18 0,18 2 0,1-1 16,-2-18-16,20 1 0,16-19 15,-16 0-15,15 1 0,2 0 16,-1-18-16,125-18 0,-107 0 15,0-16-15,0 15 0,-17 2 16,-18-18-16</inkml:trace>
  <inkml:trace contextRef="#ctx0" brushRef="#br0" timeOffset="30166.02">4198 1592 0,'71'-36'0,"-19"19"0,1 0 15,35-1-15,0-18 0,160-17 16,-108 18-16,2 1 0,16-2 15,-16 1-15,16-1 0,1 1 16,0 17-16,-1-17 0,178-18 0,-177 18 16,-36 18-16,-17-2 0,0 2 15,0 17-15,0-18 0,-18 1 0,-18 17 16,-16-19-16,-2 19 0,1 0 16,-36 0-16,19 0 0,-1-17 15,-18 17-15</inkml:trace>
  <inkml:trace contextRef="#ctx0" brushRef="#br0" timeOffset="30428.6">5416 1451 0,'52'0'15,"-16"0"1,34-17-16,1 17 0,17-19 16,0 2-16,17 17 0,2-18 0,-2 1 15,125-19-15,-125 19 0,2 17 16,-19-18-16,0 1 0,-18 17 16,-16-19-16,16 19 0,-35 0 0,0-17 15,-17 17-15,17 0 0,-18 0 16,2 0-16</inkml:trace>
  <inkml:trace contextRef="#ctx0" brushRef="#br0" timeOffset="31122.88">812 3567 0,'-71'-17'0,"124"17"16,87-18 0,-52 18-16,2-17 15,15 17-15,0-17 0,19-2 16,-18 2-16,0 17 0,0-18 0,0 1 15,-18 17-15,88-36 16,-105 36-16,-18 0 0,-1-17 0,2 17 16,-20 0-16,-15 0 0,16-18 15,-18 18-15,2 0 0,15-18 16</inkml:trace>
  <inkml:trace contextRef="#ctx0" brushRef="#br0" timeOffset="31375.31">1570 3550 0,'18'0'0,"-1"0"16,0 0-16,2 0 0,16 0 0,-1 0 15,2-18-15,18 18 0,16 0 16,-18 0-16,19-17 0,-18 17 0,18 0 16,-19 0-16,19 0 0,-1-17 15,1 17-15,0 0 0,-1 0 0,-16 0 16,16 0-16,0 0 0</inkml:trace>
  <inkml:trace contextRef="#ctx0" brushRef="#br0" timeOffset="31830.52">4762 3268 0,'124'-18'15,"-72"0"-15,19 18 0,0-17 0,17 17 16,18 0-16,0-17 0,-1 17 16,2 0-16,15-19 0,-15 19 0,-2 0 15,2 0-15,-19 0 0,17-17 16,-34 17-16,17 0 0,-17 0 0,-1 0 16,-16 0-16,-2 0 0,-16 0 0,-19 0 15,19 0-15,-19 0 0,1-18 16,-1 18-16,0 0 0,2 0 15,-2 0-15</inkml:trace>
  <inkml:trace contextRef="#ctx0" brushRef="#br0" timeOffset="35774.71">8678 3586 0,'54'0'32,"-20"0"-17,-16 0-15,0 0 0,17 17 0,0-17 16,1 0-16,34 0 0,-16 0 0,104 0 16,-87 0-1,17 0-15,0 0 0,105 0 0,-105 0 16,19-17-16,-2 17 0,73 0 15,-73 0-15,-34 0 16,17 0-16,0 0 0,0 0 16,18 0-16,0 0 0,-1 0 0,-16 0 0,17-19 15,-36 19-15,18 0 0,71 0 16,-54 0-16,-15 0 0,120 0 16,-122 0-16,2 0 15,-20 19-15,18-19 0,142 0 16,-142 0-16,-18 0 15,1 0-15,17 0 0,-17 0 0,69 17 16,-70-17-16,1 0 16,0 0-16,-18 0 0,18 17 0,-1-17 15,1 0-15,-19 0 0,19 0 16,-1 0-16,1 0 0,0 0 0,53 0 16,-54 0-16,-18 0 0,19 0 15,17 0-15,-17 0 16,-18 0-16,0 0 0,18 18 0,-19-18 15,1 0-15,1 0 0,-2 0 16,18 0-16,-16 0 0,-20 0 0,20 0 16,-1 0-16,-1 0 0,1 0 0,18 0 15,0 0-15,-18 0 0,-1 0 0,19 0 16,-1 0-16,-16 0 16,16 0-16,1 18 0,0-18 0,-2 0 15,72 0-15,-70 0 0,0 0 16,-1 0-16,18 0 0,-17 0 15,0 0-15,17 18 0,-18-18 0,1 0 16,88 0-16,-89 17 0,1-17 16,0 0-16,-1 17 0,72 1 15,-72-18-15,18 0 0,-17 0 16,-2 18-16,2-18 0,0 0 16,-18 0-16,18 18 0,-1-18 0,-16 0 15,15 0-15,-16 0 0,-17 0 16,16 0-16,19 17 0,-35-17 15,16 0-15,1 0 0,-18 0 0,1 0 16,17 0-16,18 0 0,-36 0 16,-1-17-16,2 17 0,-1 0 15,1 0-15,-19 0 0,19 0 0,-18 0 16,16 0-16,-16 0 0,0 0 0,0 0 16,16 0-16,-15 0 0,33-18 15,-33 18 1,-2 0-16,0 0 0,1 0 0,18 0 15,-2 0 1,-34-18-16,18 18 16,0 0-16,0-18 15,-1 18 1,0-17-16,1 17 16,-18-17-1,18 17-15,-18-18 16,18 18-1,-18-18 1,17 18 0,-17-18-16,17 18 15,-17-17 1,19 0 0,-2-2-1,-17 2 1,18 17-16,-18-35 15,17 35-15,2-17 0,-19-2 0,17 2 16,0-1-16,-17-18 0,18 19 16,-1-18-16,19-1 0,-19 2 0,19-37 15,-18 18-15,-1 18 0,19-1 16,-19 1-16,1-1 16,16-34-16,2 35 0,-18-1 15,35-52-15,-36 53 0,37-35 16,-37 34-16,36-34 15,-35 34-15,35-17 16,-36 18-16,1 18 0,-1-19 0,0 19 16,-17-1-16,19 1 0,-2-2 15,1-15-15,-1 16 16,-17 0-16,19 0 0,-19 1 16,17 17-1,-17-17-15,0-1 16,0 0 15,-17 0-31,-2 18 31,2-17-31,-18 0 16,16 17-16,2 0 16,0 0-16,-37-19 0,37 19 15,0-17-15,-54 17 16,18-18-16,18 1 0,-36 17 15,35-19-15,-52 19 16,54-17-16,-108 0 16,89-1-16,1 18 15,-55-17-15,-15-2 16,68 2-16,1 17 0,-18 0 16,19-17-16,-18 17 0,-37-18 15,55 18-15,-1-18 0,-1 18 0,20 0 16,-20-18-16,-16 18 15,-1 0-15,-34-17 0,34 17 16,18-17-16,-18 17 0,-52 0 16,53-18-16,-1 18 0,0 0 15,1-18-15,-72 18 16,72 0-16,0-18 0,-36 18 0,18 0 0,17-17 16,-17 17-16,0 0 0,-71-17 15,89 17-15,-1 0 16,-88-19-16,89 19 0,-1 0 15,0 0-15,1 0 16,16-17-16,-15 17 0,-2 0 0,1 0 16,16 0-16,-70-18 0,55 18 0,-38 0 15,37 0-15,18 0 16,-19-17-16,18 17 0,-1 0 0,2 0 16,-54 0-16,52 0 15,20 0-15,-54 0 16,34 0-16,20 0 0,-20 0 0,-34 0 15,35 0-15,18 0 0,-18 0 16,-18 0-16,18 0 0,1 0 16,-19 0-16,1 0 0,16 0 0,-16 0 15,-1 0-15,19 0 0,-19 17 0,1-17 16,-1 0-16,0 0 0,1 18 16,-72-18-16,72 0 15,-1 0-15,-52 17 0,70-17 0,18 0 16,-71 0-16,71 0 15,-70 0-15,-73 0 16,90 0-16,18 0 16,16 0-16,2 0 0,16 0 15,-16 0-15,16 0 0,-16 0 16,16 0-16,2 0 0,-2 0 0,-35 0 16,36 0-16,-1 0 0,2 0 15,-20 0-15,-34 0 16,0 19-16,35-38 15,0 38-15,1-19 0,-2 0 0,1 0 0,1 0 16,-1 0-16,-53 0 16,0 0-16,54 0 0,16 0 15,-18 0-15,2 0 0,16 0 16,-16 0-16,-1 0 0,0 0 16,18 0-16,-18 0 0,18 0 0,-18 0 15,-35 0-15,52 17 0,-16-17 16,16 0-16,1 0 0,-1 0 15,1 0-15,-1 0 0,2 0 0,-2 0 16,1 0-16,-53 17 0,52-17 16,1 0-16,-1 0 0,2 0 15,16 0-15,-18 0 0,-34 18 16,-18-18-16,53 0 0,-1 0 16,19 0-16,-54 0 15,36 0-15,-35 18 0,52-18 16,-18 0-16,2 0 0,-2 0 15,18 0-15,-16 18 0,-2-18 16,-18 0-16,-16 17 16,35-17-16,18 0 0,-19 0 0,1 17 15,-1-17-15,1 0 0,18 18 16,-19-18-16,19 0 0,-37 0 16,20 18-16,16-18 0,-18 0 0,19 0 15,-18 18-15,-1-18 16,19 0-1,0 0-15,-2 0 0,19 17 16,-17-17-16,-1 0 16,1 0-16,-2 0 15,2 0 1,0 17 0,-1-17-1,1 0 1,-2 19-16,2-19 15,0 0-15,17 17 16,-18-17-16,0 18 16,0-1-1,1 0 1,17 2-16,0-2 16,-17 1-16,17-1 15,0 2-15,0-2 0,0 0 16,0 1-16,0 0 0,0 0 0,0-1 15,0 18-15,0 1 16,0-19-16,0 0 0,0 2 16,0-2-16,-19 18 0,19 1 15,0-1-15,0 18 16,0-36-16,-17 1 0,17 18 16,0-19-16,0 54 15,0-18-15,-18-1 0,18-33 16,0 15-16,0 1 0,0 18 15,0-35-15,0 18 16,18-19-16,-18 19 0,0-1 0,0 18 16,0-36-16,17 37 15,-17-37-15,0 18 0,19 1 16,-19-19-16,0 0 0,0 37 16,17-37-1,-17 0-15,0 2 0,0-2 16,0 1-16,0-1 15,0 2 1,0-2-16,0 0 16,0 1-1,0-1-15,0 2 16,17-2 0,1 0-1,0-17-15,0 0 16,-1 0-16,0 0 0,37 0 15,-20 0-15,-15 0 0,16 0 16,1 0-16,16 0 0,-16 0 0,52 0 16,-54-17-16,2 17 0,18 0 15,-20 0-15,-16 0 0,18 0 0,69 0 16,-52 0 0,-35 0-16,-1 0 0</inkml:trace>
  <inkml:trace contextRef="#ctx0" brushRef="#br0" timeOffset="42046.91">917 5472 0,'53'0'0,"18"0"0,0 0 16,-1 0-16,18-17 0,35 17 15,-16 0-15,15-17 0,2 17 0,0-19 16,35 19-16,17-17 0,-17-1 0,17 18 15,0-17-15,1 0 0,-18 17 16,-18-19-16,0 19 0,-1 0 16,-16-17-16,18 17 0,-20 0 0,2-18 15,0 18-15,-18 0 0,-18 0 0,0 0 16,-18 0-16,1-17 0,-18 17 16,-18 0-16,1 0 0,-19 0 0,1 0 15,18 0-15,-19 0 0</inkml:trace>
  <inkml:trace contextRef="#ctx0" brushRef="#br0" timeOffset="42451.72">2328 5526 0,'70'0'15,"-34"0"-15,123-36 0,-54 36 0,19-18 16,-1 1-16,18 17 0,18-17 0,141-2 16,-123 2-16,-54 17 0,18-18 15,-17 18-15,-1 0 0,1-17 16,-19 17-16,-17 0 0,0 0 15,107-17-15,-142 17 16,-18 0-16,53 0 16,-69 0-16,15 0 15,-16 0-15,-1 0 16,-17-19 15,0 55 0</inkml:trace>
  <inkml:trace contextRef="#ctx0" brushRef="#br0" timeOffset="57657.5">812 10482 0,'34'0'78,"2"0"-62,-1 0-16,53 0 15,-17 0 1,53 17-16,17-17 0,52 0 16,-17 0-1,19 0-15,-36 0 0,-35 0 16,-54 0-16,-35 0 15</inkml:trace>
  <inkml:trace contextRef="#ctx0" brushRef="#br0" timeOffset="58625.08">3669 10640 0,'17'0'31,"54"36"-15,53-36-16,-1 18 15,1-18-15,52 0 16,36 0-1,52 0-15,-52 0 16,70 0-16,0 0 0,18 0 16,-54 0-1,54 0-15,-17 0 16,-54 0-16,18 0 16,-52 0-16,122 0 15,-194 0 1,-34 0-1,-37 0-15,-16 0 0,-19 0 16,18 0-16</inkml:trace>
  <inkml:trace contextRef="#ctx0" brushRef="#br0" timeOffset="60530.61">10318 10323 0,'36'17'0,"-18"2"16,16-19-16,2 17 0,-18-17 15,18 0-15,-19 0 0,18 18 0,18-18 16,-36 0-16,19 0 16,-18 0-16,-1 17 0,0-17 0,19 0 15,-18 0-15</inkml:trace>
  <inkml:trace contextRef="#ctx0" brushRef="#br0" timeOffset="60839.32">10654 10164 0,'35'0'0,"-18"18"15,2-18-15,-2 18 0,1 0 0,-1-1 16,0 0-16,-17 2 0,19-19 0,-2 17 16,-17 1-16,18 16 15,-18-15-15,0-2 0,17 1 0,-17-1 16,0 2-16,0-2 0,0 0 0,-17 1 15,17 18-15,0-19 16,-18 0-16,18 1 0,0 0 0,0 0 16</inkml:trace>
  <inkml:trace contextRef="#ctx0" brushRef="#br0" timeOffset="61170.58">11430 10111 0,'0'53'31,"0"1"-31,0 16 31,0-52-31,0-1 0,0 19 0,0-19 16,0 1-16,18-1 0,-18 2 0,0-2 16,0 0-16,0 1 0,0-1 15,17 2-15</inkml:trace>
  <inkml:trace contextRef="#ctx0" brushRef="#br0" timeOffset="61427.33">11306 10130 0,'18'17'32,"0"-17"-32,0 17 0,-1-17 15,0 18-15,1 0 0,35 34 32,-36-52-32,19 19 0,-18-2 15,-1-17-15,2 0 0,-19 18 0,17-18 16,0 0-16,1 0 0</inkml:trace>
  <inkml:trace contextRef="#ctx0" brushRef="#br0" timeOffset="61663.77">11818 10111 0,'0'0'15,"-17"0"-15,-2 19 16,2-2-16,17 0 0,-17-17 16,-1 18-16,18 0 0,-18 0 15,18 16-15,-18 2 16,18-18-16,-17-1 0,17 0 16,0 2-16,0-2 0,0 1 15</inkml:trace>
  <inkml:trace contextRef="#ctx0" brushRef="#br0" timeOffset="61899.77">11889 10094 0,'-19'36'31,"19"-19"-16,0 0-15,0 1 0,0 52 16,0-51 0,0 33-16,19-35 0,-19 37 15,0-37-15,0 19 16,17-19-16,-17 1 16,18-1-16</inkml:trace>
  <inkml:trace contextRef="#ctx0" brushRef="#br0" timeOffset="62265.09">12136 10288 0,'0'-17'15,"-18"52"1,36 18-1,-1-36 1,-17 1-16,17-18 0,-17 17 0,19-17 16,-2 19-16,1-19 0,-1 0 15,0 0-15,19 0 16,-18 0-16,-1 0 0,2 0 0,-2-19 16,0 2-16,1 17 15,-18-18-15,18 18 0,-18-36 16,0 19-16,0 0 0,0-1 15,-18 1-15,0-2 16,18 2-16,-17 17 0,0-17 16,-2 17-16,2-18 0,-1 18 15,1 0-15,-19 18 16,19-18-16,-1 17 16,1-17-16</inkml:trace>
  <inkml:trace contextRef="#ctx0" brushRef="#br0" timeOffset="62563.16">12682 10111 0,'0'36'31,"0"-19"-31,0 1 0,0 0 16,0 17-16,0-18 0,0 2 16,0-2-16,0 1 0,0-1 0,0 19 15,0-19-15,0 1 16,0-1-16,18 2 0,-18-2 0</inkml:trace>
  <inkml:trace contextRef="#ctx0" brushRef="#br0" timeOffset="62889.83">12629 10042 0,'36'-19'16,"-19"19"-16,-70 19 0,124-38 0,-35 19 0,-19 0 0,0 0 16,19 0-16,-1 0 15,53 36-15,-35-1 0,-18-18 16,-16 2-16,-2-2 0,0 0 0,1 1 15,-18 35-15,0-36 16,0 19-16,-52 35 0,-38 0 16,56-37-16,-2 1 0,-16-16 15,-2 33-15,1-16 0,18-19 16,-18 0-16,1 2 0,-1-2 0,-1 1 16</inkml:trace>
  <inkml:trace contextRef="#ctx0" brushRef="#br0" timeOffset="65818.6">6456 12828 0,'36'18'0,"16"-18"16,18 17-16,1-17 0,-18 0 15,18 0-15,17 0 0,-17 0 16,34 0-16,124 17 0,-105-34 16,-1 17-16,1 0 0,159 0 15,-161 0-15,20 0 0,-1 0 16,18 0-16,17 0 0,0 0 0,1 0 15,-36 0-15,194 0 0,-159 0 16,1 17-16,-37-17 0,2 0 16,-1 0-16,212 0 15,-213 0-15,2 0 0,-1 19 0,0-19 16,1 0-16,34 0 0,-35 17 0,-17-17 16,16 18-16,-16-18 0,0 0 15,123 17-15,-125-17 0,2 0 16,88 0-16,-106 0 15,-18-17-15,89 17 0,-108 0 16,-15 0-16,70-18 0,-72 18 16,-16 0-16,-19 0 0,0 0 15,2-17-15,-2 17 0,1 0 16,-1 0-16,2 0 16,-19-19-16,17 19 15,-17-17 1</inkml:trace>
  <inkml:trace contextRef="#ctx0" brushRef="#br0" timeOffset="66908.17">6085 11487 0,'36'0'0,"-19"0"0,1 19 0,18-19 16,-2 0-16,2-19 16,34 19-16,0 0 0,1 0 0,36 0 15,-19 0-15,17-17 0,2 17 0,-2 0 16,19-18-16,-1 18 0,18-17 16,18 17-16,17-19 0,177 2 15,0 0-15,-177-1 0,36 18 16,-18-18-16,0 0 0,0 18 15,0-17-15,17 17 0,-16-17 0,-2 17 16,2-18-16,-2 0 0,196 0 16,-213 1-16,212 0 15,-212-2-15,0 19 0,-16-17 0,-20-1 16,108 1-16,-108 17 0,-33-19 16,16 19-16,-35-17 0,1 17 15,-18 0-15,-19-17 0</inkml:trace>
</inkml:ink>
</file>

<file path=ppt/ink/ink11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24:11.642"/>
    </inkml:context>
    <inkml:brush xml:id="br0">
      <inkml:brushProperty name="width" value="0.05292" units="cm"/>
      <inkml:brushProperty name="height" value="0.05292" units="cm"/>
      <inkml:brushProperty name="color" value="#0070C0"/>
    </inkml:brush>
  </inkml:definitions>
  <inkml:trace contextRef="#ctx0" brushRef="#br0">11425 2946 0,'18'0'93,"71"0"-77,-1-35-16,-36 35 16,55-19-16,-19 2 15,-35 17-15,-18 0 16</inkml:trace>
  <inkml:trace contextRef="#ctx0" brushRef="#br0" timeOffset="582.41">12501 2822 0,'18'0'156,"0"0"-156,0 0 15,16 0 1,-15 0 0</inkml:trace>
  <inkml:trace contextRef="#ctx0" brushRef="#br0" timeOffset="1296.48">13436 2946 0,'19'0'94,"15"0"-79,-16 0-15,-18 17 16,17-17 31</inkml:trace>
  <inkml:trace contextRef="#ctx0" brushRef="#br0" timeOffset="6399.97">12907 15522 0,'-18'-18'0,"18"54"0,0-18 16,18 16-16,-18 2 0,0-1 15,0 1-15,18 16 0,-18 1 16,18 35-16,-18-52 0,0-1 16,0 18-16,0 18 15,0 0-15,0-19 0,0-16 16,0-19-16,0 0 15,0 19-15,0-18 0,0-1 16,0 0-16,-18-51 47,18 16-47</inkml:trace>
  <inkml:trace contextRef="#ctx0" brushRef="#br0" timeOffset="6707.84">12907 15611 0,'-18'0'0,"1"0"15,52 0-15,-87 0 16,34 17-16,0-17 16,-17 52-16,-1-16 15,19-18-15,-1 18 0,1-19 16,17 0-16,-19 1 0,-15 18 16,16-2-16,18-16 0,-17 0 15,-2 17 1</inkml:trace>
  <inkml:trace contextRef="#ctx0" brushRef="#br0" timeOffset="6956.5">12801 15575 0,'18'0'0,"35"17"32,-36 2-32,19-19 0,35 35 15,-54-18-15,1 0 16,-1 2-16,19-19 0,-19 17 0,1 1 16,-1-18-16,2 17 15,-2 2-15,-17-2 0,17-17 0,-17 17 16,18 1-16</inkml:trace>
  <inkml:trace contextRef="#ctx0" brushRef="#br0" timeOffset="7651.9">13207 16580 0,'-106'-34'16,"89"51"-16,-2-17 0,2 17 15,0 1-15,-1 0 0,1 0 16,-19 35 0,36-36-16,0 1 0,0-1 15,0 0-15,17 2 16,19-19-1,-18-19-15,16 19 16,-15-17-16,-2 17 0,1-17 0,-1-1 16,2 18-16,-2-17 15,0 17-15,1 0 16,0 0-16,0 35 16,-1-18-16,-17 19 15,0-19-15,0 18 0,0-16 16,17-2-16,-17 18 0,0-18 0,0 36 15,0-35-15,0 0 16,18 17-16,-18-18 16,0 2-16</inkml:trace>
  <inkml:trace contextRef="#ctx0" brushRef="#br0" timeOffset="7992.99">12713 16527 0,'-53'89'15,"53"-71"-15,-17 52 16,17-35-16,0 1 0,17 16 16,-17 36-1,17-35-15,2 1 0,-2 16 0,1-52 16,-1 16-16,2-15 0,-2-2 15,0 1-15,1-18 0,18 17 16,-19-17-16,0 0 0,19-17 0,-18 17 16</inkml:trace>
  <inkml:trace contextRef="#ctx0" brushRef="#br0" timeOffset="8302.04">13295 16351 0,'18'0'0,"-36"0"16,71 17-16,-36 2 0,19-2 15,-18 18-15,18-16 0,-2 15 16,20 54-16,-37-52 0,36 52 15,-35-36-15,-1 2 0,-17-1 16,17-1-16,-17-16 0,0 17 16,-17-1-16,17 2 0,-17-1 0,-1 35 15,0-53-15,0 1 0,1-2 16,17 2 0,-17-18-16</inkml:trace>
  <inkml:trace contextRef="#ctx0" brushRef="#br0" timeOffset="11742.96">27848 2028 0,'-71'-17'0,"53"17"16,0 0-16,-16 0 15,-2 0-15,1 0 16,-53 0-16,52 0 0,19 0 15,-18 17-15,16-17 16,-15 0-16,16 0 0,0 18 16,-17-18-16,35 18 15,-17-18-15,17 18 0,-19-18 0,19 17 16,-17 0-16,17 1 0,0 18 16,0-19-16,0 0 0,0 19 15,0-18-15,0 52 0,0-16 16,17-2-16,-17 1 0,19 0 0,-19 18 15,17-19-15,0 55 16,1-37-16,-18-18 0,18 2 16,0-1-16,-18-1 0,0-16 0,17-1 0,-17 1 15,0-2-15,17-16 0,-17 18 16,0-19-16,0 36 16,0-35-16,0-1 0,0 0 0,0 2 15,19-19-15,-19 17 0,17 1 16,18-18-1,-18 0 1,37-18-16,-1 1 0</inkml:trace>
  <inkml:trace contextRef="#ctx0" brushRef="#br0" timeOffset="12730.45">29805 2064 0,'18'-18'16,"18"18"-16,-19 0 15,0 0-15,71 0 16,-52 0-16,-1 0 0,1 0 0,-1-18 16,35 18-16,-35 0 15,1 0-15,-19 0 0,19 0 16,-18 0-16,16 0 0,-15 0 16,-2 0-16,1 0 0,16 0 15,-15 0 1,-2 18-1,-17 0 1,18-18-16,-18 18 16,0-1-16,0 0 0,0 1 15,0 0-15,0 17 0,0 1 0,0 16 16,0 1-16,0-18 16,0 1-16,0-1 15,17 89-15,-17-54 16,0-16-16,19 15 15,-19-33-15,0 35 0,0-37 16,17 37-16,-17-54 0,0 37 16,0-18-1,0-19-15,17 0 0,-17 19 16,0-18-16,0-1 16,0 0-1,18 1-15,-18 0 16,0 0-1,0-1 17,-18 0 30,1-17-62,0 0 0,-37 0 16,-34 19-16,35-19 15,-18 0-15,1 0 0,-106 0 16</inkml:trace>
  <inkml:trace contextRef="#ctx0" brushRef="#br0" timeOffset="16320.73">24108 3668 0,'-159'0'15,"142"0"1,-36 19-16,18-19 0,16 0 0,-15 17 16,16 1-16,0-1 0,18 2 15,-18-2-15,18 0 0,0 1 16,18 18-16,0 34 0,0-18 15,16 36-15,37 71 16,-54-88-16,19-1 16,-1 72-16,1-1 15,-36-88-15,0 18 0,0 0 16,0 17-16,-17 0 0,-2 0 16,2 0-16,-54 70 0,36-70 0,-1 0 15,-69 54-15,17-1 16,35-70-16,-106 87 15,54-52 1,34-70-16,18-2 0,-35 20 16,17-37-16,18 2 15,35-19-15,1 0 0,0-19 16,-2 2-16,19-1 0,0 1 16,36-19-16,-19 19 15,19-19-15,-18 18 0,34 1 16,-16 17-16,-19 0 0,19 17 15,-1 1-15,-1 0 0,2 17 16,-1 1-16,36 69 0,-35-51 16,16 175-16,-34-70 15,0-71 1,-1 105-16,-17 19 0,17-107 16,2 161-16,16 16 15,-35-142-15,17 2 16,19 140-16,-1 18 15,1-141-15,34 264 16,-52-282-16,35 124 0,-1-71 16,-35-88-1,2 0-15,16-1 0,1 72 0,-2-18 16,2-54-16,-18-51 16,-1-2-1,18-16-15</inkml:trace>
  <inkml:trace contextRef="#ctx0" brushRef="#br0" timeOffset="20332.05">26172 4022 0,'88'0'16,"-71"0"-16,1 0 0,0-18 16,0 18-16,-1 0 15,0 0 1,2 0-16</inkml:trace>
  <inkml:trace contextRef="#ctx0" brushRef="#br0" timeOffset="20917.96">26824 3792 0,'-52'0'15,"33"0"-15,-15 0 32,34 18-32,-36-1 0,36 2 15,-18-19-15,18 17 0,0 0 16,0 1-1,18 0 1,0-18-16,0 0 16,-1 0-16,-17-18 15,17 18-15,2-18 16,-2 18-16,1 0 16,-18-17-16,17 17 15,-17 17 1,0 19-1,0-18-15,0 16 16,0-16-16,-17 35 16,17-36-16,0 2 15,0-2-15,0 18 16,0-16-16,-18-2 16</inkml:trace>
  <inkml:trace contextRef="#ctx0" brushRef="#br0" timeOffset="21647.34">26207 4815 0,'53'0'15,"-18"0"-15,-17 0 16,0 0-16,-1 0 0,0 0 16,2 0-16,-2 0 15,18-17-15</inkml:trace>
  <inkml:trace contextRef="#ctx0" brushRef="#br0" timeOffset="22097.17">26789 4586 0,'-17'-18'0,"-2"18"0,2 0 16,0 18-16,-1-18 16,0 18-16,0 0 15,1-1-15,0 0 16,-2 1-16,19 0 0,0 0 16,0-1-1,19 0 1,15-34-1,-16 17-15,0-17 0,0 17 16,-18-18-16,17 18 0,0 0 16,2-18-1,-2 36 1,-17 17 0,-17-18-16,17 2 15,0-2-15,0 18 16,0-16-16,-19-2 0,19 0 15,0 1-15,0-1 0,0 2 0</inkml:trace>
  <inkml:trace contextRef="#ctx0" brushRef="#br0" timeOffset="22870.62">26224 5662 0,'36'0'0,"-19"0"15,19 0 1,-1 0-1,-18 0-15,2 0 0,-2 0 0,1 0 16,-1-18-16,0 18 16,2 0-16</inkml:trace>
  <inkml:trace contextRef="#ctx0" brushRef="#br0" timeOffset="23336.97">26841 5468 0,'-17'-17'15,"0"17"1,-1 17-16,-18-17 16,19 18-16,0-18 15,17 17-15,-18 0 16,18 2-16,0-2 16,18-17 15,16-17-31,-15-2 15,-2 19-15,-17-17 0,18 17 0,-1-17 16,0 17 0,2 17-1,-19 0-15,0 2 16,17-19-16,-17 17 16,0 18-1,18-16-15,-18 15 0,0 1 16,17-16-1</inkml:trace>
  <inkml:trace contextRef="#ctx0" brushRef="#br0" timeOffset="23927.16">26277 6491 0,'-17'0'16,"70"0"-16,-1-17 16,-16 17-1,16-18 1,-33 18-16,-2 0 0,18-18 16,-16 18-16,-2 0 0</inkml:trace>
  <inkml:trace contextRef="#ctx0" brushRef="#br0" timeOffset="24348.54">26931 6279 0,'0'0'0,"-19"0"15,-16 0 1,18 19-16,-2-19 16,2 17-16,0 0 0,-1 18 15,1-35 1,17 19-16,0-2 0,0 0 15,17 1 1,18-36 0,-18 1-16,2 17 15,-2-17-15,1-2 16,-1 19-16,2 0 16,-2 0-16,-17 19 0,0-2 15,0 18 1,0-17-16,0 17 15,0-18-15,0 2 0,0-2 0,0 18 0</inkml:trace>
  <inkml:trace contextRef="#ctx0" brushRef="#br0" timeOffset="24924.96">26313 7408 0,'52'-17'32,"-33"17"-32,-2 0 0,1 0 0,-1 0 15,0-19-15,19 19 0,-18 0 16,18-17-16,-19 17 0,0-17 0,18 17 16,-16 0-16,-2-18 0</inkml:trace>
  <inkml:trace contextRef="#ctx0" brushRef="#br0" timeOffset="25310.45">27019 7091 0,'-18'0'16,"36"0"-16,-54 0 0,18 0 15,-16 0-15,15 17 0,2-17 16,-1 18-16,1-18 0,17 18 16,-19-18-16,19 35 15,19-35 1,16 0 0,-18 0-1,19-17-15,-19 17 0,1-18 16,0 18-16,0 18 15,-1-1 1,-17 18 0,-17 1-16,17-19 0,0 36 15,0-35 1,0-1-16,0 0 0,0 19 16,0-18-16,0-1 15</inkml:trace>
  <inkml:trace contextRef="#ctx0" brushRef="#br0" timeOffset="26094.76">26419 8272 0,'53'0'32,"-36"0"-32,1 0 0,-1 0 15,2 0-15,-2 0 16,0-17-16,18 17 15,-16 0-15,-2 0 0</inkml:trace>
  <inkml:trace contextRef="#ctx0" brushRef="#br0" timeOffset="26444.71">26948 8079 0,'-36'0'15,"19"0"-15,70 0 0,-106 17 0,35-17 16,1 0-16,-2 18 0,-15-1 16,16 2-16,1-2 15,17 0 1,17-17-16,1 0 15,16 0 1,-15 0-16,-2 0 16,1 0-16,-1 0 15,-17 18-15,0 0 0,19-18 16,-38 70-16,19-52 16,0 17-16,0-18 0,-17 2 15,17 16-15,0-18 0,0 0 16,0 19-16</inkml:trace>
  <inkml:trace contextRef="#ctx0" brushRef="#br0" timeOffset="26993.08">26365 9136 0,'54'0'0,"-37"-17"15,19 17-15,-19 0 0,1 0 16,18 0-16,-19-17 0</inkml:trace>
  <inkml:trace contextRef="#ctx0" brushRef="#br0" timeOffset="27311.89">26895 8943 0,'-35'17'0,"70"-34"0,-89 34 0,20 1 15,16-18-15,18 18 16,-17-18-16,17 18 0,-19-18 16,19 17-16,-17 0 15,34-17 1,2 0-16,16 0 15,-35-17-15,17 17 0,0 0 16,2 0 0,-19 17-16,17-17 0,-17 18 15,0 18-15,0-19 0,0 0 16,0 2-16,0-2 0,0 1 16,0 35-16,0-18 15</inkml:trace>
  <inkml:trace contextRef="#ctx0" brushRef="#br0" timeOffset="27698.63">26313 10036 0,'35'-34'31,"-18"34"-31,19 0 16,-18 0-16,-1-19 0,19 19 16,-19 0-16,18-17 15,1 17 1</inkml:trace>
  <inkml:trace contextRef="#ctx0" brushRef="#br0" timeOffset="28157.76">26824 9790 0,'-17'17'16,"-1"0"-16,18 2 0,-17-2 16,17 1-1,17-1 1,18-34 0,-18 17-16,2-18 15,16 18 1,-18-17-16,2 17 15,-19 17 1,0 1-16,17-18 0,-17 17 0,0 19 16,0-19-16,0 1 15,0-1-15,0 2 0,0 33 16,0-34-16,17 0 0</inkml:trace>
  <inkml:trace contextRef="#ctx0" brushRef="#br0" timeOffset="29731.82">27424 4127 0,'159'0'15,"-142"0"-15,2 0 0,-2-17 16,18 17-16</inkml:trace>
  <inkml:trace contextRef="#ctx0" brushRef="#br0" timeOffset="30063.48">27724 3951 0,'35'17'15,"-17"-17"1,-18 18-16,18 0 0,-1-18 0,0 18 16,2 16-16,-19-15 15,17-2-15,-17 1 16,0-1-16,0 2 0,0-2 0,0 0 16,0 1-16,0-1 0,-17-17 15,17 19-15,0-2 0</inkml:trace>
  <inkml:trace contextRef="#ctx0" brushRef="#br0" timeOffset="33836.82">25396 3722 0,'17'17'16,"-17"2"-1,18-2-15,-18 0 0,0 1 16,0-1-16,0 36 0,0-35 0,0 18 16,0-19-16,0 18 0,0-17 15,0 0-15,0 16 0,0-15 16,0-2-16,0 1 0,0-1 0,0 2 16,0-2-16,0 0 15,0 1-15,0-1 16,17-17-1</inkml:trace>
  <inkml:trace contextRef="#ctx0" brushRef="#br0" timeOffset="34668.97">27001 3704 0,'-18'35'15,"18"-16"-15,0 15 0,0 54 32,0-70-32,0 0 0,0 34 15,0-16-15,0-18 16,0-1-16,0 0 0,18 2 16,-18-2-16,0 1 0</inkml:trace>
  <inkml:trace contextRef="#ctx0" brushRef="#br0" timeOffset="35272.11">25572 4674 0,'-17'53'31,"17"-17"-15,0-19-16,0 1 0,0-1 0,0 54 16,-18-54-1,18 19-15,18-1 16</inkml:trace>
  <inkml:trace contextRef="#ctx0" brushRef="#br0" timeOffset="35766.3">27001 4656 0,'-18'142'0</inkml:trace>
  <inkml:trace contextRef="#ctx0" brushRef="#br0" timeOffset="36343.96">25607 5415 0,'0'36'16,"0"-19"-16,0 18 16,-18 53-16,1 53 15,17-105 1,-17 35-16,17-19 15,0-16-15</inkml:trace>
  <inkml:trace contextRef="#ctx0" brushRef="#br0" timeOffset="36805.12">27160 5415 0,'-36'247'16,"19"-194"0,17 52-16,-18 2 15</inkml:trace>
  <inkml:trace contextRef="#ctx0" brushRef="#br0" timeOffset="37360.97">25696 6244 0,'-19'35'16,"19"1"-16,0-1 15,0 1-15,-17 86 16,17-34-16,0 54 15,0-89-15,0 18 16,0-54-16</inkml:trace>
  <inkml:trace contextRef="#ctx0" brushRef="#br0" timeOffset="37856.68">27124 6262 0,'-17'88'0,"17"-52"0,-18 16 15,0 18-15,18-34 16</inkml:trace>
  <inkml:trace contextRef="#ctx0" brushRef="#br0" timeOffset="38384.78">25501 7232 0,'0'35'16,"0"18"-1,0-1-15,0-16 0,0-1 16,0 89 0,18-53-16,0-18 15,-18-36-15</inkml:trace>
  <inkml:trace contextRef="#ctx0" brushRef="#br0" timeOffset="38807.94">27177 7020 0,'0'54'0,"0"-2"0,0-158 16,0 265-16,0-124 0,0 1 15</inkml:trace>
  <inkml:trace contextRef="#ctx0" brushRef="#br0" timeOffset="39340.76">25589 7920 0,'0'71'0,"0"-2"16,0-33-16,0-1 16,18 230-1,-18-213-15,18 55 16,0-72-1,16 1-15</inkml:trace>
  <inkml:trace contextRef="#ctx0" brushRef="#br0" timeOffset="39807.89">27265 7972 0,'-34'195'16,"34"-142"-16,-19-1 0,19-16 16,-52 140-1</inkml:trace>
  <inkml:trace contextRef="#ctx0" brushRef="#br0" timeOffset="40300.87">25448 8890 0,'19'36'16,"-19"-19"-16,0 36 16,0 35-16,0-53 15,0 1-15,0 52 0,0 17 16,34 2-16,-16-72 16,18 18-16</inkml:trace>
  <inkml:trace contextRef="#ctx0" brushRef="#br0" timeOffset="40743.82">27141 8819 0,'-17'141'0,"17"-105"15,0 16-15,-17 2 0,17-1 0,-18 52 16,18-51-16,0 51 16</inkml:trace>
  <inkml:trace contextRef="#ctx0" brushRef="#br0" timeOffset="41321.01">25360 9807 0,'17'53'16,"-17"-35"-1,0 18-15,0-19 0,19 71 16,-19-35-16,17 53 0,-17-53 16,18-1-16,-18-16 15,0 16-15,36 19 0,-19-53 16,0 0-16</inkml:trace>
  <inkml:trace contextRef="#ctx0" brushRef="#br0" timeOffset="41828.33">27160 9578 0,'0'141'16,"0"-88"-16,0-18 0,-19 53 15,2-35-15,17 18 16</inkml:trace>
  <inkml:trace contextRef="#ctx0" brushRef="#br0" timeOffset="42619.92">26912 9824 0,'0'-34'47,"-35"34"-32,18 0 1,-2 0 0</inkml:trace>
  <inkml:trace contextRef="#ctx0" brushRef="#br0" timeOffset="55703.31">20457 14340 0,'0'18'0,"18"-1"0,16-17 16,20 0-1,-20-17 1,-15 17-16,-2 0 0,71-35 16,-70 35-16,18-17 15,-19 17-15,36-36 16,-35 36-16,-1-18 0,0 1 16,1-2-16,0 19 0,0-17 0,-18 0 15,17-1-15,0-18 0,2-16 16,-19 34-16,0 0 15,0 1-15,0-19 0,0 19 0,0-18 16,0 18-16,0-19 0,0 18 0,0-52 16,-19 34-16,19 18 15,0-16-15,-17-2 0,17 18 0,-17-16 16,17-2-16,-18 18 0,0 1 16,-17-36-16,18 35 15,-1-18-15,0 19 0,0 0 0,1-1 16,0 0-16,-2 18 0,-16-18 0,18 1 15,-19 17-15,19 0 0,-18 0 16,-1 0-16,1 0 0,-1 17 0,2-17 16,-2 18-16,-16 0 0,16 0 15,-18 16-15,20-15 0,-37 33 16,54-35-16,-19 2 0,18-2 0,1 18 16,0-16-16,17 15 0,-19-16 15,19 0-15,-17 17 0,17-18 0,0 19 16,0-18-16,0 16 0</inkml:trace>
  <inkml:trace contextRef="#ctx0" brushRef="#br0" timeOffset="56444.56">20597 14658 0,'-34'0'31,"-2"0"-31,1 17 15,0-17-15,-18 19 0,0-2 16,-70 18-16,52 1 16,1-19-16,-160 71 15,160-71-15,-18 19 0,17-1 0,-17-16 16,-19 15-16,19 1 16,-17 1-16,-2-1 0,2-17 0,-36 17 15,-71 36-15,72-37 0,33 2 16,2-18-16,-2 18 0,2-2 15,-1 1-15,0 1 0,0-1 0,1 1 16,16-2-16,-17 20 0,18-20 0,-36 20 16,2-1-16,15-18 0,19 1 15,-17-2-15,17 20 0,-19-20 0,19 2 16,-105 52-16,103-53 16,2 1-16,0-1 0,18 1 15,-72 16-15,90-16 0,-1-19 16,-35 19-16,35-1 15,35-35-15,-16 17 0,15-17 0,2 19 16,-1-19-16,1 17 0,-2-17 16,19 17-1,-17-17-15,0 18 16,-1-18 0</inkml:trace>
  <inkml:trace contextRef="#ctx0" brushRef="#br0" timeOffset="56764.01">15607 16246 0,'-54'17'0,"37"0"16,-19 1-16,19 18 0,-19-2 0,18 2 16,-16-1-16,-2 1 0,18-1 15,-52 35-15,16-16 16,54-37-16,-17 19 0,0-19 16,-1 18-16,18-18 15,0 2-15,18-2 16,-1-17-16,0 0 0,2 0 0,16 0 15,35-17-15,-16 17 0,34-19 16,0 2-16,17 0 0,-16-1 0,17 1 16,-1-2-16,-17 19 0,19-17 15,-2 0-15,19-1 0</inkml:trace>
  <inkml:trace contextRef="#ctx0" brushRef="#br0" timeOffset="57167.01">17493 16246 0,'54'-18'16,"-37"0"-1,18 18 1,1 0-16,-2 0 31,-34 18-31,19 0 0,-19-1 0,0 0 16,17 37-16,-17-37 15,0 19-15,0-19 0,0 18 0,0-16 16,0 15-16,0-16 0,0-1 16,0 2-16,0-2 0,0 0 0,0 1 15,-17 0-15,34 0 0</inkml:trace>
  <inkml:trace contextRef="#ctx0" brushRef="#br0" timeOffset="57361.06">17511 16580 0,'36'-17'0,"-19"0"16,18-2-16,-17 19 0,17-17 15,1-1-15,-1 1 0,18-19 0,35 1 16,-53 18-16,18-19 15,-18 19-15,18-19 0,-17 18 0,-1 1 16,18-18-16,-18-1 0</inkml:trace>
  <inkml:trace contextRef="#ctx0" brushRef="#br0" timeOffset="64185.78">13048 6967 0,'36'0'15,"157"0"1,-122 0-16,36 0 16,-2 0-16,19 0 0,-19 0 15,37 0-15,-20 0 0,196 17 16,-141-17-16,-1 19 0,177-2 16,-177-17-16,0 0 15,-34 18-15,-18-18 0,16 17 0,-16-17 16,88 19-16,-107-19 0,71 17 15,-105-17 1,-18 0-16,0 0 0,-18 0 0,18 17 16,-35-17-16,35 0 0,-36 0 15,1 0 1,-53 0 0,-1 0-1</inkml:trace>
  <inkml:trace contextRef="#ctx0" brushRef="#br0" timeOffset="67535.31">5252 5380 0,'35'0'0,"-17"-18"16,17 18-16,36-18 0,53 1 15,-19 17-15,0-17 0,19 17 16,0-19-16,140 2 0,-105-1 16,-18 1-16,-17 17 0,-1-17 0,1 17 15,-19-19-15,19 19 0,-36-17 16,142-1-16,-142 18 15,-54 0-15,-15 0 16,16 0-16,1 0 0,-19 0 16,0 0-1,1 0-15,0 0 0,0-17 16,-1-2-16</inkml:trace>
  <inkml:trace contextRef="#ctx0" brushRef="#br0" timeOffset="68299.89">9573 3986 0,'0'0'16,"-17"-18"-16,17 1 0,0 0 16,-17 17-16,17-18 0,-19 18 0,2-18 15,-1 18-15,1-18 16,0 18-16,-19 18 15,1-18-15,16 18 0,2 0 0,-36 16 16,35 2-16,1-18 16,0-1-16,-19 36 15,36-18-15,0 1 0,0-19 16,0 1-16,0-1 16,36 2-16,-19-2 15,18-17-15,1 0 0,-19-17 16,0 17-16,2-19 0,16 2 15,-18-1-15,36-16 16,-18-2-16,-16 18 0,-2 1 16,0 17-16,1-36 15,0 36-15,0-17 16,16 51-16,-34-15 16,36 33-16,-18 1 15,-1-18-15,-17 18 0,36 71 16,-36-89-1,17 1-15,-17-1 0,0 35 16,18-16-16,-18 16 16,0-52-16,0-1 15,0 0-15,0 2 16</inkml:trace>
  <inkml:trace contextRef="#ctx0" brushRef="#br0" timeOffset="72400.69">29505 3687 0,'106'0'16,"-88"0"-16,17 17 16,-18 1-16,2-1 15,-2 2-15,-17-2 0,18 35 16,-1-16-16,-17-19 16,0 54-16,19-36 0,-19 18 15,-19 54-15,19-55 0,-17 18 16,17 18-16,-18-17 0,18 17 15,-17 1-15,17-19 0,-19 19 16,2-1-16,17 0 0,-17 17 0,17-17 0,-18 2 16,18-2-16,0 0 0,0 0 15,18-18-15,16 89 16,-15-88-16,16-18 0,-18 16 0,19 2 16,16-18-16,-16-17 0,-1-1 0,1 0 15,-2 1-15,2-2 0,16 2 16,-33-18-16,-2-18 0,1 0 15,-1 0-15,2 0 0,-2 0 16,0 0-16,1-18 0,-1 1 16,2-2-16,-19 2 0,0 0 0,17-1 15,-17 0-15,0 0 0,0 1 16,0 0 0,-17-1-16,17 0 15,-36 36-15,36 0 16,-18-1-16,1 18 0,17-17 15,-53 158 1,35 0 0,18-122-16,18 16 0,-18 1 0,17 176 15,2-159-15,-19 0 16,17 0-16,0 1 0,1-1 0,-1 17 16,2-17-16,-2 19 0,0-19 15,-17 17-15,18 2 0,18 140 16,-19-142-16,0 19 0,2 17 0,-2-18 15,-17 1-15,18-19 16,-18 1-16,17 0 0,-17 0 0,0 0 16,0-18-16,0 18 0,0-18 0,0 0 15,0 1-15,0-37 0,0 19 16,0-1-16,0 1 0,-17-18 0,17 18 16,0-19-16,0 1 0,-18 1 15,18-2-15,-17-16 0,-2-2 16,2 2-16,17-18 0,-17-1 0,-1 0 0,0 2 15,0-2-15,-16 1 16,15-18-16,2 0 0,-1 0 16,1-18-16,0 18 0,-19-17 15,18-2-15,1 2 0,-19 0 0,-17-37 16</inkml:trace>
</inkml:ink>
</file>

<file path=ppt/ink/ink11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25:34.085"/>
    </inkml:context>
    <inkml:brush xml:id="br0">
      <inkml:brushProperty name="width" value="0.05292" units="cm"/>
      <inkml:brushProperty name="height" value="0.05292" units="cm"/>
      <inkml:brushProperty name="color" value="#0070C0"/>
    </inkml:brush>
  </inkml:definitions>
  <inkml:trace contextRef="#ctx0" brushRef="#br0">4044 2677 0,'176'17'16,"-105"-17"-16,17 0 0,17 19 0,2-19 15,16 17-15,-17-17 0,264 17 16,-264 1-16,17-18 16,-16 17-16,-2-17 0,160 19 15,-194-2-15,88 0 16,-107-17-16,-16 0 16,-2 0-16,2 0 0,52 18 15,-53-18-15,-16-18 16</inkml:trace>
  <inkml:trace contextRef="#ctx0" brushRef="#br0" timeOffset="439.16">8595 2642 0,'35'-19'0,"18"19"16,18 0-16,87-17 16,-52 34-16,0-17 0,17 0 0,18 0 15,18 19-15,17-19 0,-35 17 0,18 1 16,0-18-16,265 53 16,-302-53-16,2 17 0,-18-17 15,0 18-15,-18-1 0,-17-17 0,0 0 16,-19 19-16,-16-19 15,-2 0-15,-15 0 0,-2 0 0,1 0 16,-1 17-16,2-17 0</inkml:trace>
  <inkml:trace contextRef="#ctx0" brushRef="#br0" timeOffset="4487.63">16655 4723 0,'-105'88'0,"51"-17"15,54-36 1,-17 1-16,17-19 0,17 54 16,2-37-16,-2-16 0,1 0 15,-1-18-15,2 18 0,15-18 16,-16 0-16,18 0 0,-19-18 0,18 18 15,1-18-15,17-34 0,-18 16 16,-18 1-16,0-1 0,2 1 16,-2-1-16,-17 19 0,0-18 0,0 18 15,0-2-15,-17 2 0,-2 0 16,2-1-16,0 18 0,-1 0 0,-18 0 16,19 0-16,-18 0 0,-1 18 15,-17-1-15,18 19 0,1-19 0,15 18 16,2-18-16,17 2 0,0-2 15,0 1-15,0-1 0,17 2 0,-17-2 16,19 0-16,-2 1 0,18-18 16,1 0-16,16-18 15,-16 18-15,-2-17 0,2-19 16,-1 19-16,1-18 0,-19-1 0,18 1 0,-35 18 16,19-19-16,-19 19 0,0-1 15,0 0-15,-19 18 16,-16 0-1,18 18-15,17 0 0,-19-1 16,19 19-16,0-19 0,0 18 16,19 1-16,-2-19 0,1 1 15,18-1-15,-19 2 0,18-2 16,-18-17-16,19 0 0,17 0 16,-35 0-16,16-17 0,2-2 15,-18 2-15,-1-1 0,0 1 16,2-2-16,-2 2 0,-17 0 0,0-1 15,0 1-15,-17-2 16,-2 19 0,2 19-16,-18-2 15,35 1-15,-17-1 0,17 0 16,17 2-16,-17-2 0,18 1 16,-1-18-16,19 17 15,-19-17-15,18 0 0,1 0 16,-19-17-16,19-1 0,-18 18 15,-1-17-15,0-2 0,-17 2 16,18 0-16,-18-1 0,0 1 16,0-2-16,-18 2 0,1 0 15,0 17-15,-19 0 16,18 17-16,1 0 16,17 2-16,0-2 15,17 1 1,1-1-16,0-17 0,0 0 15,-1 0-15,0 0 0,1 0 16,18-17-16,-19 17 0,0-18 16,2 18-16,-2-36 0,-17 19 15,0 0-15,0-1 16,-17 18-16,-2 0 16,2 0-16,0 0 0,-37 18 15,20-1-15,16-17 0,-18 36 16,19-19-16,17 1 15,0 35-15,17-36 16,1-17-16,-18 18 0,36-18 16,-19 0-16,18-18 15,1 18-15,-19-17 0,0-2 16,2-15-16,-19 16 0,17 1 16,-17-36-16,-17 35 15,17-18-15,-36 2 0,1 16 16,-18 0-16,18 18 0,-1 18 15,-52 0-15,35-1 16,-18 36-16,1 18 16,52-36-16,-16 53 15,34-71-15,0 36 16,0-35-16,17 35 16,18 0-16,-17-53 15,0 18-15</inkml:trace>
  <inkml:trace contextRef="#ctx0" brushRef="#br0" timeOffset="6108.05">19478 4705 0,'-194'18'15,"105"0"-15,20 16 16,33-34-16,18 19 15,1 33-15,34-16 16,1-19-16,18 18 0,-2-16 16,20-2-16,-2 0 15,1-17-15,123 0 16,-52-34-16,-19-2 16,-51 1-16,-20 16 0,2-15 15,-18-1-15,-1-1 0,-17-17 16,-52-17-16,16 52 15,-69 0-15,34 18 0,0 18 16,-17-18-16,0 18 0,-70 34 16,70-34-16,-19 35 15,36 0-15,54-35 16,0-1-16,17 19 0,17-1 16,142 35-1,-89-70-15,-16 18 0,16-36 16,70 1-16,-69 0 15,177-90 1,-179 55-16,-50 16 0,-19 19 16,17-1-16,-34-18 15,-19 19-15,1 17 0,-1 0 16,2 0-16,-20 17 0,1 1 0,1 0 16,-1 0-16,18 16 0,-1-15 15,-17 33-15,35-16 16,36-1-16,-18 1 15,18-19-15,17 0 0,-18-17 16,19 18-16,35 0 0,-36-18 16,18 0-16,-18 0 0,54-36 15,-54 19-15,53-19 16,-52 19-16,-19-1 0,0 1 0,1-2 16,0 2-16,-54 17 31,19 17-31,-19 19 15,19-18-15,-1-1 16,18 2-16,0-2 0,0 0 16,18 1-16,-1 0 15,2-18-15,-2 18 0,0-18 16,1 0-16,0 0 16,17-18-16,-18 18 0,1-18 15,0 18-15,0-18 0,-1 18 0,-17-17 16,17 17-16,-17-17 0,-17 34 47,17 0-47,0 1 15,0 0 1,17-18-16,2 18 0,-2-18 16,1 0-16,-1 0 0,19-18 15,-19 18-15,1-18 16,18 0-16,-2 1 15,-16 0-15,-18-2 0,18 19 0,-18-17 16,0-1-16,-18 1 16,0 17-16,1 0 15,0 0-15,-2 17 0,2-17 16,17 18-16,-18-18 0,18 17 16,0 2-16,-17-19 0,34 17 15,-17 0-15,18-17 0,-1 18 16,19-18-16,-19 0 15,1-18-15,0 18 0,34-17 16,-34 0-16,0 17 0,17-36 16,-35 18-16,17 18 15,-17-17-15,0-2 0,0 2 16,-17 0-16,0 17 0,-1 0 16,0 0-16,0 0 0,-16 17 15,-37 19 1,35 16-16,19-33 0,-1-2 15,18 0-15,-17 1 0,17 0 0,0 0 0,17 16 16,1-16 0,18 0-16,-19 0 0,18-18 15,1 17-15,-19-17 0,0 0 16,1 0-16,0 17 0,0-34 16,-1 17-16</inkml:trace>
  <inkml:trace contextRef="#ctx0" brushRef="#br0" timeOffset="7672.05">21295 5075 0,'52'0'15,"1"0"-15,1 0 0,16 0 0,1 0 16,17-17-16,0 17 15,17 0-15,-17-17 0,2 17 0,-2-18 16,0 0-16,-35 0 0,70-16 16,-87 15-16,-2 2 0,2-1 15,-18 1-15,-18-2 0,0 2 16,-18 17-16,-18-17 0,-17-1 0,-70 1 16,70 17-16,-35 0 15,17 0-15,1 0 0,-18 17 0,-54 1 16,89-1-16,1 0 15,16 2-15,19-2 0,-1 1 0,1-1 16,34 2-16,1-2 0,18 18 16,16-17-16,1 0 0,18-1 0,-18-17 15,16 17-15,2-17 0,17 0 16,-17 0-16,-1-17 0,1 0 0,0 17 16,35-36-16,-71 1 15,18 18-15,-18-37 0,-35 37 16,0-2-16,0 2 0,-17 0 15,-1 17-15,-52-35 0,34 35 16,-16 0-16,-2 0 0,-16 0 0,16 17 16,2 1-16,-1-18 0,17 34 15,1-15-15,1 16 0,15 1 16,19-19-16,0 0 0,19 1 16,-2 0-16,0 17 0,18-18 15,18 1-15,1 0 0,-1-18 0,-1 18 16,-16-18-16,52-18 0,-35 18 15,-1-18-15,-16 0 0,35-34 16,-36 34-16,-1-17 0,-15-1 16,-19 19-16,0-37 0,0 37 15,-19 0-15,2-1 0,-18 1 16,18 17-16,-36-19 0,17 19 16,-70 19-16,1 33 0,34-16 15,54-1-15,-2-18 16,2 19-16,34-1 0,2 1 15,16-19-15,35 36 16,18-35-16,-52-18 16,-1 0-16,18 0 0,-1 0 15,36-36-15,-52 18 0,-1 1 0,-16 0 16,-2-19-16,0 18 0,1 1 16,-18-19-16,0 1 15,0 18-15,-18-2 0,1 2 16,0 17-16,-19 0 0,18 0 15,1 0-15,-2 0 0,19 17 0,-17-17 16,17 19-16,17-2 16,2 1-16,-2-18 0,1 17 15,18-17-15,-2 0 0,2 0 0,-1-17 16,0 17-16,1-18 0,-19 18 0,19-17 16,-19-2-16,-17 2 0,18-18 15,-18 18-15,0-19 0,-18-17 16,1 1-16,-19-2 0,-69-70 15,-73 19-15,73 34 0,-36 37 16,18-20-16,-36 20 0</inkml:trace>
  <inkml:trace contextRef="#ctx0" brushRef="#br0" timeOffset="27325.43">16550 4017 0,'0'-18'16,"-18"54"15,1 16-15,17-33-1,0-2-15,0 1 0,0-1 16,-19 19-16,19-19 0,0 1 0,0-1 15,0 19-15,0-19 0,-17 1 0,17 18 16,0-19 0,0 0-16,17 2 0,-17-2 15</inkml:trace>
  <inkml:trace contextRef="#ctx0" brushRef="#br0" timeOffset="27604.68">16338 4282 0,'18'-17'47,"17"17"-31,-18 0-16,1 0 0,0 0 15,17 0-15,-18-19 0,2 19 0,-2 0 16,37 0-16,-37-17 16,18 17-16,-18 0 0</inkml:trace>
  <inkml:trace contextRef="#ctx0" brushRef="#br0" timeOffset="28232.68">17114 3877 0,'36'0'31,"-19"0"-15,19 0-16,-19 0 16,1 0-16,16 0 15,-15 0-15,16 0 32,-35 17-32,17-17 0,-17 17 0,0 1 15,0 0-15,19 17 16,-19-18-1,-19 1-15,19 0 0,0 0 0,0 35 16,0-36 0,0 18-1,19-16-15,-19-2 0,17 0 16,0 1 0</inkml:trace>
  <inkml:trace contextRef="#ctx0" brushRef="#br0" timeOffset="28478.6">17114 4158 0,'-18'-17'16,"89"17"15,-54 0-31,19-18 0,-18 18 16,-1 0-16,19 0 0,-19 0 15,18-17-15,-16 17 0,15 0 0,20-19 16,-20 19-16,2 0 0,-18 0 0,16-17 16</inkml:trace>
  <inkml:trace contextRef="#ctx0" brushRef="#br0" timeOffset="28872.62">18119 3911 0,'0'0'0,"19"0"32,33 0-17,-34 0-15,0 0 0,-1 0 16,0 0-16,19 0 0,-18 0 16,-1 0-1,0 18-15</inkml:trace>
  <inkml:trace contextRef="#ctx0" brushRef="#br0" timeOffset="29065.94">18208 4087 0,'18'19'15,"-1"-19"1,19 0-16,-19 0 15,1 0-15,-1 0 0,36 0 16,-35-19 0,-1 19-16,2 0 0,-2 0 15</inkml:trace>
  <inkml:trace contextRef="#ctx0" brushRef="#br0" timeOffset="31940.78">16815 5093 0,'35'18'15,"-18"-18"-15,19 0 16,-19-18-16,18 18 0,18-18 0,53-16 16,-17-2-16,-1 1 15,-53 18-15,-18-2 16,19 2-16,-19-18 0,1 16 15,-18 2-15,0 0 0,0-1 0,-18 1 16,1 17-16,0 0 0,-2-19 16,2 19-16,-18 0 0,-1 19 0,1-19 15,-1 17-15,2 1 0,-20 35 16,37-36-16,17 1 0,-17 18 16,17-19-16,0 0 0,0 1 15,34 35-15,2-36 0,-18 1 16,16-18-16,2 18 0,16-18 0,-16 0 15,-1 0-15,72-18 16,-55 0-16,1 1 0,-17 0 0,-1-1 16,-1 0-16,-15 0 0,-2 1 0,1-19 15,-18 19 1,0-1-16,0 1 16,0-2-16,-35 38 0,16-19 15,-15 35 1,16-18-16,18 2 0,-17-2 0,17 0 15,0 1-15,0 0 0,0 0 16,17-18-16,1 17 0,-1-17 16,0 0-16,2 0 0,-2 0 0,1 0 15,-1 0-15,19-17 0,-19 17 0,1-18 16,0 0-16,0 18 0,-18-35 16,17 18-16,-34-2 0,17 2 15,0-1-15,-18 1 0,0-2 16,0 19-16,1 0 0,0-17 15,-2 34-15,-16-17 0,-18 19 16,18 16-16,-1-18 0,19 2 0,0-2 16,-1 18-16,18-17 15,0 17-15,35-18 16,-18-17-16,2 18 0,-2-18 0,18 0 16,18 0-16,1-18 0,-2 1 15,1 17-15,71-53 0,-89 35 16,18 1-16,-18 0 0,18-37 15,-36 37-15,-17-2 0,18 2 16,-18 0-16,0-1 16,-18 36 15,18-1-31,0 0 0,18 2 16,0-2-16,17 18 15,1-35-15,-1 19 0,-1-19 0,20 0 16,16 0-16,1 0 0,88-19 15,-71 2-15,-18 17 0,1-18 16,0 1-16,-18-2 0,52-15 16,-70-1-16,1 16 0,-19 2 15,1 0-15,-18-1 0,-18 0 16,1 18 0,0 0-16,-19 18 0,18-18 15,-16 18-15,-56 16 0,73-15 16,-18-2-16,-1 18 0,19 1 15,17-19-15,17 1 16,-17-1-16,54 2 16,-20-19-16,2 0 0,-1 0 0,89 0 15,-71-19-15,17 19 16,0-17-16,89-18 0,-106-1 16,35 1-16,-52-1 0,-1 2 15,1 16-15,-36-18 0,17 2 16,1 16-16,-36 0 15,18 0-15,-17 18 0,-2 0 0,-15 0 16,-20 18-16,37 0 16,0-18-16,-19 52 15,36-34-15,-18 0 0,18 0 0,18 16 16,0-15-16,0-2 0,70 18 16,17 1-1,-34-36-15,70 0 0,0 0 16,-53 0-16,-17-19 15,0 19-15,-1-17 0,-16 0 16,-2-1-16,36-18 0,-52 2 16,-19-2-16,-34 18 15,17 1 1,-36 17-16,1 0 0,18 17 16,-19 1-16,18-18 0,1 36 15,17-19-15,17 0 16,-17 2-16,54-2 15,-20 1-15,20-1 0,87 0 16,-106-17 0,35 0-16,1 0 0,0-17 0,-1 0 15,-18 17-15,72-35 0,-36-18 16,-70 35-16,18 0 16,-19 18-16,-17-18 0,0 1 15,-17 0-15,-1 17 0,0 17 16,-17-17-16,18 0 0,-19 17 0,18 1 15,-35 18-15,36-2 16,-1-15-16,18-2 0,0 1 16,18-1-16,-1 0 15,2 2-15,33-2 0,1-17 16,18 18-16,-18-18 16,-18 0-16,18 0 0,70-18 15,-70 18-15,-17 0 0,-1-17 16,35-19-16,-35 19 15,-70 17 1,18 0 0,-2 0-16,2 17 0,0-17 15,-1 17-15,1 2 0,17-2 16,0 1 0,35 18-16,-18-36 15,19 17-15,16-17 0,-16 17 0,35-17 16,51 18-16,-68-36 0,-1 18 15,52-17-15,-17 0 16,-70-2-16,0 2 16,0-18-16,-36 16 15,18 2-15,-18 0 0,-17 17 16,18 0-16,-19-18 0,-52 36 16,53-18-16,16 17 15,2-17-15,0 17 0,17 2 0,0-2 16,0 1-1,34-1-15,37 2 0,-35-19 16,-1 0-16,1 0 16,34 0-16,-18 0 0,-16-19 15,52-16-15,-17-1 0,-54 2 16,1 16-16,0-18 16,-18 19-16,0-18 0,0-1 0,-18 2 15,18 16-15,-35 0 0,18 0 0,-19 1 16,1 0-16,-1 34 0,1-17 15,-53 35-15,35 1 0,18-2 16,-1 2-16,-34 70 16,87-18-1,54 0-15,-18-70 16,-18 17-16,18-18 0,18 1 16,17-18-16,-52 0 15,-2 0-15,142-35 16,-105 18-1,-52 17 1,15 17 0,-16-17-16,-18 17 0,17 1 15,2 0-15,-2 0 16,0-1-16,1 0 0,0-17 16,0 19-16,-1-19 0,19 0 0,-1 17 15,-18-17-15,0 0 16,2-17-16,-2 17 15,1 0-15,-1-19 16,-17 2-16,-17 0 0,-1 17 16,1-18-16,-54-35 15,1 18-15</inkml:trace>
  <inkml:trace contextRef="#ctx0" brushRef="#br0" timeOffset="50243.52">19743 3559 0,'35'-18'15,"-1"0"1,-15 18 0,-2 0-1,1 18-15,-18 0 16,0 17-1,-18-35-15,1 35 16,-2-17 0,19 0-1,19-1 1,-2 0-16,37 2 16,-37-19-16,0 17 0,1-17 15,0 18-15,0-1 16,-1 0-16,0 2 15,-17 16-15,-17-35 16,17 17-16,-17 2 16,-1-2-16,-18 0 0,19-17 0,0 18 15,-2 0-15,-16-18 0,18 0 0,-2 18 16,2-18-16,0 0 0,-1 0 16,1 17-16</inkml:trace>
  <inkml:trace contextRef="#ctx0" brushRef="#br0" timeOffset="50415.64">20131 3787 0,'0'-17'0,"0"0"15</inkml:trace>
  <inkml:trace contextRef="#ctx0" brushRef="#br0" timeOffset="50849.45">20378 3453 0,'52'-18'15,"-34"18"-15,0 0 0,-1 0 0,0 0 16,2 0-16,-2 0 0,1 0 16,-1 0-16,-17 18 0,19-18 15,-2 17-15,-17 2 0,17-2 16,1 18-16,-18 1 0,0-19 15,0 0-15,0 19 0,0-18 0,0-1 16,0 0-16,0 19 0,17-18 16,-17 16-16,0-15 0,0-2 15,0 1-15,0-1 0,19 2 16,-19-2 0</inkml:trace>
  <inkml:trace contextRef="#ctx0" brushRef="#br0" timeOffset="51047.3">20395 3823 0,'0'-36'16,"35"19"-1,-17 17-15,0-17 0,-1 17 0,19-18 16,-19 18-16,18 0 0,-16-17 0,15 17 15,1-19-15,36 2 16,-18 17-16,-36-17 16</inkml:trace>
  <inkml:trace contextRef="#ctx0" brushRef="#br0" timeOffset="51432.58">21188 3365 0,'-52'0'0,"34"0"16,88 0-16,-158 0 0,71 0 0,0 0 16,-37 17-16,37-17 0,0 17 15,-2-17-15,19 19 0,-17-19 16,17 17-16,0 1 15,17-1-15,2 2 16,-2-19-16,0 17 0,-17 0 0,18-17 16,-1 18-16,2-18 0,-2 18 15,0-18-15,-17 18 0,18-1 0,-18 0 16,0 1-16,0 0 16,-18 0-16,1-1 0,0 0 15,-19 37-15,1-37 0,-1 0 16,19 2-16,-18-2 15,16-17-15,2 18 0,0-1 16,-1-17-16,1 0 16</inkml:trace>
  <inkml:trace contextRef="#ctx0" brushRef="#br0" timeOffset="51699.01">21718 3418 0,'-35'17'32,"-1"1"-17,-35 35-15,19 0 0,-1-18 16,-52 70-16,51-69 0,1 16 15,1-16-15,16-1 0,1 1 16,17-1-16,-17-17 0,18 17 16,-2-18-16,19 1 0</inkml:trace>
  <inkml:trace contextRef="#ctx0" brushRef="#br0" timeOffset="51883.95">21859 3382 0,'-17'36'16,"34"-72"-16,-52 107 0,17-54 0,-17 36 15,-1 1-15,-16-2 0,-55 72 16,55-71-16,-18 18 0,-89 105 16,88-88-16,-123 158 15,123-192-15,-34 87 16</inkml:trace>
  <inkml:trace contextRef="#ctx0" brushRef="#br0" timeOffset="53472.87">16955 7810 0,'71'-17'0,"-35"17"0,34-19 0,1 19 16,17 0-16,0-17 0,17 17 15,195-35-15,-194 35 16,71-36-16,-106 36 0,-1-17 16,1 17-16,-2 0 0,-15 0 15,-18 0-15,-2-18 0,-16 18 0,0 18 16,-36-1 0</inkml:trace>
  <inkml:trace contextRef="#ctx0" brushRef="#br0" timeOffset="53681.68">17184 8003 0,'-122'19'0,"86"-19"16,18 0-16,89 0 15,0 0-15,-1 0 16,124-19-16,35 2 16,-122 17-16,103-17 15,-103-1-15,-2 18 0,-17-18 16,0 0-16,124 1 15,-158 17-15,16-17 0,-35 17 0,1 0 16,-1 0-16,1-19 0,-19 19 16,0 0-16</inkml:trace>
  <inkml:trace contextRef="#ctx0" brushRef="#br0" timeOffset="55052.29">16550 6839 0,'-35'124'0,"35"-53"0,-19 0 16,19 17-16,-17 105 0,17-86 15,-17 86-15,17-105 0,0 0 16,17 1-16,-17-1 0,17-36 15,-17 2-15,19-1 0,-19-18 16,35 53-16,-18-88 16,-17 18-16</inkml:trace>
  <inkml:trace contextRef="#ctx0" brushRef="#br0" timeOffset="55564.51">16550 6857 0,'53'-35'15,"-1"18"-15,1-19 0,-211 124 0,387-194 16,-141 72-16,0 15 0,19-16 0,15-1 16,144-34-16,-2 18 15,-18 16-15,-139 18 0,16 1 16,-17 0-16,0 17 15,106-19-15,-124 38 0,124 15 16,-142 2-16,-35-1 16,18 0-16,-18 18 0,36 54 15,-54-55-15,36 54 16,1 17-16,-37-70 16,0 18-16,1-19 0,0 1 0,34 35 15,-33-34-15,-2-1 16,37 35-16,-37-53 0,0 1 15,1-2-15,-1 2 0,2-1 16,-2 18-16,0-35 0,-17 18 16,0 16-16,0-35 15,-17 2-15,17-2 0,-36 0 0,1 1 16,-53 35-16,0-36 16,-18 2-16,-158 33 0,88-16 15,-19-1-15,-264 53 16,159-35-16,-334 52 0,316-51 15,-299 87-15,300-70 16,-1-19-16,18 18 0,-17 1 0,34 0 16,54-18-16,-300 52 15</inkml:trace>
  <inkml:trace contextRef="#ctx0" brushRef="#br0" timeOffset="63222.05">1627 10985 0,'36'0'78,"228"0"-63,-17 0 1,89 0-16,33 0 16,126 0-16,-19 0 15,17 17 1,-157-17-16,-1 0 0,-35 0 15,-54 0-15,72 0 16,-18 0 0,36 0-16,52 0 0,88 0 15,-88 0 1,194 0-16,-54 0 0,-50 0 16,-2 0-16,0 0 15,-88 0 1,-54 0-16,-68 0 15,-37 0-15,-17 0 16,-19 0-16,-34 0 0,88 0 31,-211 0-31,-2 17 16</inkml:trace>
  <inkml:trace contextRef="#ctx0" brushRef="#br0" timeOffset="69709.88">13287 12837 0,'52'0'109,"89"0"-93,-17 0-16,106 0 15,-18 0-15,-2 0 16,2 0 0,-17 0-16,-19 0 0,0 0 15,0 0-15,1 0 16,-1 0 0,36 0-16,-18 0 0,18 0 15,17 70-15,-17-52 16,0-1-16,-1 19 15,18-1-15,-17-35 16,123 0 0,-123 0-1,141 0 1,70 18 0,-211-18-16,-19 0 15,-16 0-15,-1 52 16,19-52-16,-36 0 15,-1 0-15,18 0 16,0 0-16,160 19 16,-177-19-1,122 0 1,-157 0-16,0 0 16,16 0-16,-16 17 15,159-17 1,-107 0-16,-35 0 15,1 0-15,16 0 16,-18 0 0,2 0-16,-54 0 0,53 0 15,-53 0 1,-35 0-16,1 0 16,-20 0-16,-15 0 15,16 0-15,-1 0 16,2 0-16,18 0 15,-2 0-15,-16 0 16,-2 0-16,-16 0 16,0 0-16</inkml:trace>
</inkml:ink>
</file>

<file path=ppt/ink/ink11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27:08.157"/>
    </inkml:context>
    <inkml:brush xml:id="br0">
      <inkml:brushProperty name="width" value="0.05292" units="cm"/>
      <inkml:brushProperty name="height" value="0.05292" units="cm"/>
      <inkml:brushProperty name="color" value="#0070C0"/>
    </inkml:brush>
  </inkml:definitions>
  <inkml:trace contextRef="#ctx0" brushRef="#br0">8613 3246 0,'-19'-71'0,"19"53"0,-17 0 15,-1 1-15,1 0 0,-19-19 16,19 18-16,-37-16 0,20-2 0,-20 18 15,1-18-15,-18 2 0,-17-1 16,18-1-16,-18 1 0,0 17 0,0 0 16,0-16-16,-19 34 0,19-19 15,0 2-15,-193 34 16,174-17-16,19 19 0,-124 33 16,71 1-16,18 0 0,-1-1 15,-281 248 1,299-210-16,17-2 0,1 17 15,17-17-15,-17 0 0,36 19 0,-1-37 16,17 18-16,-16 0 0,16-17 0,19 17 16,-1 0-16,18-17 0,-17 17 15,34 0-15,18 70 16,1-87-16,16 17 0,1-17 0,1-18 16,16 18-16,36-1 0,18 1 15,16-19-15,1 1 0,36 1 0,-1-1 16,0-18-16,19-1 0,16 2 0,18-1 15,0 1-15,1-1 16,-1-17-16,19 17 0,-19-18 0,18 1 0,246 0 16,-246 0-16,1-18 0,16 0 15,-17 17-15,-18-17 0,36 0 16,-35 0-16,-1 0 0,0 0 16,230-17-16,-248 17 0,1-18 0,-18 0 15,17 0-15,-16 1 16,-19 0-16,0-1 0,1-18 0,-1 19 15,-17 0-15,-35-2 0,-2 2 0,-15-1 16,16 1-16,-17-2 0,-18 2 16,18 0-16,-18-1 0,0 1 0,1-19 15,-1 19-15,-17-1 0,-1 0 0,18 0 16,-17 1-16,0-19 0,-2 19 16,2-1-16,-1-16 0,1-2 0,0 1 15,-1-1-15,-16 1 0,16-18 0,-18 18 16,19-18-16,-18 0 15,18 18-15,34-72 0,-69 73 16,16-20-16,-16 20 0,35-73 16,-54 55-16,18-1 0,1-1 15,-19 2-15,1-1 0,0-18 0,-18 18 16,18 1-16,-18-1 0,-18-18 0,18 0 16,-18-17-16,-53-70 15,19 87-15,-19-34 0,-70-73 16,53 90-16,0 0 0,0 18 0,-19-18 15,2 17-15,-2 0 0,2 1 16,-142-53-16,141 52 16,-158-35-16,140 54 0,-16-19 15,-19 18-15,18-1 0,-18-16 0,0 18 16,-18-2-16,1 1 0,0 1 16,-212-36-16,193 35 0,-17 17 15,19 1-15,-36 0 0,17-1 16,18 2-16,-35 15 0,17 2 15,0-1-15,0 18 0,-17-17 0,-1 34 0,20-17 16,-20 18-16,1-1 0,0 19 16,17-1-16,17 1 0,-16 16 0,34-16 15,1 17-15</inkml:trace>
  <inkml:trace contextRef="#ctx0" brushRef="#br0" timeOffset="1853.01">13181 4215 0,'-18'-53'31,"18"36"-31,0-1 0,0 1 16,0-19-16,0 19 0,0-18 15,0-1-15,0 1 0,0-1 0,-18 2 16,18-37-16,0 35 0,0 1 16,0 18-16,-18-19 0,18 19 15,0-18-15,0 16 0,0 2 0,0 0 16,0-1-16,-17 0 15,17 0-15,-17 1 32</inkml:trace>
  <inkml:trace contextRef="#ctx0" brushRef="#br0" timeOffset="2095.27">13039 3527 0,'-34'18'31,"15"0"-31,19 0 0,-17-18 0,17 17 16,-18 0-16,1 2 0,-2-2 15,2 1-15,0-1 16,17 2-16</inkml:trace>
  <inkml:trace contextRef="#ctx0" brushRef="#br0" timeOffset="2276.32">13005 3581 0,'52'0'0,"-16"0"15,-124 0-15,193 0 0,-88 0 16,1 0-16,0 0 0,0 17 16</inkml:trace>
  <inkml:trace contextRef="#ctx0" brushRef="#br0" timeOffset="3073.19">12369 2910 0,'-88'-17'0,"53"17"0,18 0 16,-19 0-1,18 0-15,18 17 16,-17 0-16,34 2 16,-17-2-16,18 1 15,-1-1-15,19 19 0,-19-36 16,1 17-16,-1 1 0,2 0 0,-2-18 15,0 18-15,1-1 16,0-17-16,-18 17 0,0 1 16,-18 0-16,0 0 15,1-1-15,0-17 0,-2 17 16,-33 2-16,35-19 16,-2 0-16,2 17 0,-1-17 0,1 0 15,-2 18 1</inkml:trace>
  <inkml:trace contextRef="#ctx0" brushRef="#br0" timeOffset="3805.36">12563 2981 0,'-17'-18'31,"-2"18"-31,2 0 0,0 0 16,17 18-1,-18-18-15,0 17 0,18 2 16,0-2 0,0 0-16,0 1 15,0 0-15,18-18 0,-18 18 16,18-1-1,-1-17 1,0-17 0,2 17-1,-2-18-15,1 0 16,-18 0 0,17 18-1,-17-17 1,36 17 15,-19 17-15,-17 1-1,18 0 1,-1-18 0,-17 18-1,19-18 1,-2 0 15,-17-18-15,17 18-16,-17-18 15,18 18 1,0 0 0,0 18-16,-1-18 15,0 0 1,2 0-1,-2 0 1,1 0 0,-18-18-16,17 18 15</inkml:trace>
  <inkml:trace contextRef="#ctx0" brushRef="#br0" timeOffset="4351.06">12915 2927 0,'0'-17'0,"0"53"16,0-1 0,0-18-16,0 2 15,0-2-15,0 0 0,0 1 16,0 0-16,0 0 16,19-54 30,-2 36-46,-17-18 0,18 18 16,-18-17 0,17 17-16,2 17 15,-19 1 17,17 0-1,0-36-16,1 18-15,18-18 16,-19 18 0</inkml:trace>
  <inkml:trace contextRef="#ctx0" brushRef="#br0" timeOffset="4840.09">14415 3845 0,'0'-18'16,"0"1"-16,0 0 0,0-19 0,0 1 15,0-1-15,0 1 0,0-1 0,18-104 16,-18 87 0,0 17-16,0 1 0,0-18 15,0 36-15,0-1 0,0 1 16,0-2-16,17 2 15,-17 0-15</inkml:trace>
  <inkml:trace contextRef="#ctx0" brushRef="#br0" timeOffset="4997.27">14450 3157 0,'-17'53'0,"17"-36"16,-35 19-1,35-18-15,-19-1 0,19 2 0,-17-2 16,17 0-16,-17-17 0,17 18 16,-18-1-16,1 2 0,17 15 15,-19-34-15</inkml:trace>
  <inkml:trace contextRef="#ctx0" brushRef="#br0" timeOffset="5210.1">14415 3227 0,'18'0'16,"-1"19"0,2-19-16,-2 17 15,18 1-15,-17-18 16,0 17-1,-1-17 1</inkml:trace>
  <inkml:trace contextRef="#ctx0" brushRef="#br0" timeOffset="5829.97">14715 2839 0,'0'36'31,"0"-18"-15,-17-1-16,17 0 16,0 2-16,0-2 15,0 1 1,17-36 31,18-18-32,-18 19 1,2 17 0,-2 0-1,1 17 17,-1-17-1,2 0-16,-2 0 1,0 0 0,1 0-1,0 0 1,0 0 0,-1 0-16,0 0 15,1-17-15,0 17 16</inkml:trace>
  <inkml:trace contextRef="#ctx0" brushRef="#br0" timeOffset="6509.05">14010 5274 0,'105'17'15,"1"1"-15,-53 0 16,0 0-16,18-1 0,140 36 16,-122-18-16,-1-18 15,0 2-15,0-2 0,0 1 0,0-1 16,89 2-16,-106-2 15,-19-17-15,19 0 0,35 17 16,-18 1-16,-53-18 0,-18 0 16,2 0-16,16 0 0,-18 0 15,0 0-15,2 0 16</inkml:trace>
  <inkml:trace contextRef="#ctx0" brushRef="#br0" timeOffset="6752.27">15809 5433 0,'0'-18'0,"34"36"32,20-1-32,-37 0 0,2 2 15,15 33-15,2-16 16,-18-19-16,-1 19 0,0 16 0,-17-34 15,-17 52-15,0-34 16,-19-1-16,1 1 0,-1-1 16,-16 1-16,-1-2 0,-1-16 0,-51 35 15,52-36-15</inkml:trace>
  <inkml:trace contextRef="#ctx0" brushRef="#br0" timeOffset="9483.2">16709 5662 0,'0'-17'0,"17"17"0,-17-18 15,0 0 17,-17 18-17,-19 18 1,18 0 0,1-18-16,17 17 15,-17 0-15,17 1 16,0 0-16,17-18 0,-17 18 15,0-1-15,17 0 0,1-17 16,-18 19-16,17-19 0,2 17 16,15 1-16,-34-1 0,18-17 0,-18 17 15,0 2-15,0-2 16,0 1-16,-18-1 16,1-17-16,17 19 0,-17-19 15,-2 17-15,2-17 0,-18 17 16,18-17-16,-2 0 0,2 0 0,-1 0 15,1 0-15,-2 18 0,2-18 16,0 0 0</inkml:trace>
  <inkml:trace contextRef="#ctx0" brushRef="#br0" timeOffset="10312.71">17009 5786 0,'-19'-19'0,"-16"19"15,18 0 1,-2 0-16,2 19 0,0-19 16,17 17-16,-18-17 0,-18 18 15,36-1-15,-17 0 16,17 2 0,0-2-16,17 1 15,2-18-15,-2 17 16,18-34-1,-18 17 1,19-18 0,-36 1-1,18-2 1,-1 19 0,-17-17-1,19 34 48,-2 2-48,0-2 1,1 1 0,0-36 15,0 18-16,-1-17 1,0 17 0,1 0-1,0 0 17,0 17 14,-1-17-14,0 0-32,2 0 31,-2 0-15,1 0-1,-1 0-15,2 0 16</inkml:trace>
  <inkml:trace contextRef="#ctx0" brushRef="#br0" timeOffset="10775.22">17519 5627 0,'-17'35'16,"17"0"0,0 1-16,0-19 0,0 0 15,0 2-15,0 16 0,0-18 0,0 19 16,-17 16 0,17-16-16,0-19 0,0 71 15,0-52 1,0-1 15,-18-35-15,36-71 15,-1 54-31,-17 0 0,17-1 16,1 0-16,-18 0 0,18 1 0,0 0 15,-1-2 1,0 19-16,2 0 31,-38 19-15,2 15-1,0-34-15,-1 18 0,18 0 16,-18-18-16,18 18 0,-18-18 16</inkml:trace>
  <inkml:trace contextRef="#ctx0" brushRef="#br0" timeOffset="11127.86">17855 5627 0,'0'-18'15,"-18"54"-15,18-19 0,0 0 16,0 1-16,0 0 0,0 0 0,0-1 15,0 19-15,0-19 0,0 1 0,0-1 16,0 0-16,18 2 16,0-2-16,-1-17 15,0 0-15,19 0 16,-18 0 0,-1-17-16,0 17 15,2 0-15,-2 17 16,1 1 15,-18-1-15,17-17-16</inkml:trace>
  <inkml:trace contextRef="#ctx0" brushRef="#br0" timeOffset="11436.28">17114 4974 0,'0'-17'0,"0"51"16,0-15-1,-17-2-15,17 1 0,0-1 16,-18 36-16,18-35 0,-18 70 31,0-71-31,18 2 0,0-2 0,0 0 16</inkml:trace>
  <inkml:trace contextRef="#ctx0" brushRef="#br0" timeOffset="11642.98">17273 4886 0,'0'-17'15,"0"34"-15,0 18 31,0 35-15,0-51-16,0 16 0,0-18 16,0 0-16,0 19 0,0-18 0,0 18 15,17-2-15,-17-16 16,0-1-16,0 2 0</inkml:trace>
  <inkml:trace contextRef="#ctx0" brushRef="#br0" timeOffset="11868.96">16797 5169 0,'0'0'16,"17"-19"-16,0 19 15,19 0-15,-18-17 0,16 17 16,2 0-16,-1 0 0,54-18 15,-37 18-15,-16 0 0,-1-17 16,53 17-16,-52 0 0,-19 0 16,18 0-16,-16 0 0,-2 0 0</inkml:trace>
  <inkml:trace contextRef="#ctx0" brushRef="#br0" timeOffset="12071.17">16831 5291 0,'159'-17'0,"-123"0"0,35 17 15,-37-19-15,20 19 16,-20 0-16,37-17 0,-35-1 15</inkml:trace>
  <inkml:trace contextRef="#ctx0" brushRef="#br0" timeOffset="12652.1">17890 4974 0,'-17'0'0,"34"0"0,-70 0 0,35 0 16,18 17-1,-17-17-15,0 19 0,17-2 16,0 1 0,17-18-1,0 17-15,1-17 0,0 0 16,0 0-16,-1 0 15,0 0-15,-17-17 16,0-1-16,0 1 16,-17 17-1,0-19 1,-1 19-16,0 0 16,36 19 15,0-19-31,-1 17 15,36 18 1,-35-35-16,-1 17 0,-17 2 16,36 16-1,-36-18-15,0 2 0,0-2 16,0 0-16,-19-17 0,19 18 0,0-1 16,-17-17-16,17 19 0,-17-2 15,34-34 16,0-2-31,90-50 32,-90 33-32,54-35 0,-36 54 15,1-18-15,17 16 0,-1-15 16,1 16-16,-35 18 16,18-18-16</inkml:trace>
  <inkml:trace contextRef="#ctx0" brushRef="#br0" timeOffset="12800.01">18807 4957 0,'18'-18'15</inkml:trace>
</inkml:ink>
</file>

<file path=ppt/ink/ink11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27:31.087"/>
    </inkml:context>
    <inkml:brush xml:id="br0">
      <inkml:brushProperty name="width" value="0.05292" units="cm"/>
      <inkml:brushProperty name="height" value="0.05292" units="cm"/>
      <inkml:brushProperty name="color" value="#0070C0"/>
    </inkml:brush>
  </inkml:definitions>
  <inkml:trace contextRef="#ctx0" brushRef="#br0">9467 3858 0,'-17'0'0,"17"18"16,36-18 46,-19 0-62,0 0 16,19 0-16,104-18 15,-69 18-15,0 0 0,-1 0 16,72 0-16,-37-17 0,2 17 16,157 0-1,-88 0-15,-106 0 0,1 17 16,88-17-16,-89 0 15,1 0-15,0 0 0,123 0 16,-159 0 0,1 0-16,-19 0 0,1 0 0,-1 0 15,0 0-15,2 0 0,-2 0 16,1 18-16,-36 0 31</inkml:trace>
  <inkml:trace contextRef="#ctx0" brushRef="#br0" timeOffset="1568.68">12236 3912 0,'-34'0'16,"87"17"-1,-36-17 1,18-17-16,1 17 0,16 0 0,19 0 15,-18 0-15,35-18 16,0 18-16,-17 0 0,17-18 0,18 18 0,-35 0 16,17-18-16,0 18 0,-17 0 15,87-17-15,-87 17 16,0-17-16,-18 17 0,16 0 0,-15 0 0,-18 0 16,-2-19-16,-16 19 15,18 0-15,-19 0 0,18 0 16,-17 0-16,0 0 0,-1 0 15,0 0 1,2 0-16</inkml:trace>
  <inkml:trace contextRef="#ctx0" brushRef="#br0" timeOffset="3066.54">14566 3965 0,'105'0'16,"-70"-19"-16,18 19 0,18 0 0,-1 0 16,89 0-16,-54-17 15,-15 17-15,15 0 0,0 0 0,-15-17 16,15 17-16,71 0 16,-105-18-16,-1 18 0,1 0 0,-18 0 0,-1 0 15,-16-18-15,-1 18 16,-18 0-16,2 0 0,-2 0 0,18 0 15,-16 0-15,-2 0 0,0 0 16,1 0 0,-1 0-16,-17 18 15</inkml:trace>
  <inkml:trace contextRef="#ctx0" brushRef="#br0" timeOffset="4317.31">17106 3946 0,'-36'0'15,"106"0"-15,-34 0 16,-1 0-16,36 0 0,-1-17 0,1 17 16,122-17-16,-86 17 0,-2 0 15,-17 0-15,19-18 0,-19 18 16,0 0-16,0 0 0,-17 0 0,-1-18 16,1 18-16,52 0 0,-70 0 15,0 0-15,-18 0 0,-18 0 16,19 0-16,-18 0 0,18 0 0,-19 0 15,0 0-15,1 0 16,0 0-16,0 18 16</inkml:trace>
  <inkml:trace contextRef="#ctx0" brushRef="#br0" timeOffset="7274.5">20756 4017 0,'54'0'16,"-37"0"0,0 0-16,19 0 0,-1 0 0,1 0 15,52 0-15,-17-17 0,-19 17 16,18 0-16,1 0 16,0-18-16,17 18 0,-18 0 0,1 0 0,17 0 15,-17 0-15,17 0 0,-18 0 16,1 0-16,0-17 0,-1 17 0,1 0 15,0 0-15,-18 0 0,16 0 0,-33 0 16,18 0-16,15 0 16,-33 0-16,-1 0 0,-17 0 15,17 0-15,-18 0 0,2 0 0,-2 0 16,1 0-16,-1 0 0,0 0 16,2 0-1,-2 0-15,1 0 16,-1 0-16,2 0 31,-2 0 32,0-19 1171,-17 2-1203,-17 17-15,0-17-1</inkml:trace>
  <inkml:trace contextRef="#ctx0" brushRef="#br0" timeOffset="9634.39">6963 6381 0,'88'-35'0,"-71"35"0,2-18 16,16 18-16,-18 0 15,19 0-15,-19-18 0,1 18 0,-1 0 0,2 0 16,-2 0-16</inkml:trace>
  <inkml:trace contextRef="#ctx0" brushRef="#br0" timeOffset="9822.85">7034 6593 0,'0'0'31,"17"0"-31,0 0 0,2 0 15,16 0-15,35-19 16,-52 2 0,35 17-16,-36-17 0,1 17 15,18-18-15,-2 1 0</inkml:trace>
  <inkml:trace contextRef="#ctx0" brushRef="#br0" timeOffset="11593.36">10032 2730 0,'18'-36'15,"-1"19"-15,0-19 16,-17 19 15,19 17-15,-19 36-1,17-2 1,-17-16-16,0 0 0,0 0 0,0-1 16,0 0-16,18 1 0,-18 0 15,0 0-15,0-1 0,0 0 16,0 2-16</inkml:trace>
  <inkml:trace contextRef="#ctx0" brushRef="#br0" timeOffset="11774.81">10015 2994 0,'17'-17'32,"1"17"-32,-1-17 15,54-2 1,-35 2-16,-2 17 0,-16-18 15,52 1-15,-16 17 0</inkml:trace>
  <inkml:trace contextRef="#ctx0" brushRef="#br0" timeOffset="12365.78">13631 2606 0,'17'0'0,"1"0"15,-1 0-15,-17 18 0,0-1 16,0 2 0,0-2-16,0 0 0,-17 1 0,-1 18 15,18-19-15,-17-17 0,17 17 16,0 1-16,-19-18 0,19 18 0,19 0 31,-2-36-15,1 18-1,-1 0-15,36-18 0,-35 18 16,18-18-16,-19 18 0,18 0 0,-17-17 16,17 17-16,-18 0 0,1 0 15,18 0-15</inkml:trace>
  <inkml:trace contextRef="#ctx0" brushRef="#br0" timeOffset="12993.89">16030 2624 0,'34'0'16,"-16"0"-16,-18 17 15,18-17 1,-18 19-16,0-2 16,0 0-1,0 1 1,18-18-16,-18 18 0,17 0 15,0-1 1,-17 0-16,0 1 31,0 0-31,0 0 0,-17-1 16,0 0-16,-1 2 16,18-2-16,-18-17 0,18 18 0,-18-18 15,18 17-15</inkml:trace>
  <inkml:trace contextRef="#ctx0" brushRef="#br0" timeOffset="13629.67">18252 2624 0,'18'0'0,"-54"17"16,18 2-16,1-19 0,17 17 15,-17-17-15,-2 17 0,2 1 16,-1 0-16,1 0 15,17-1-15,-19 0 0,19 1 16,19 0 15,-2 0-31,1-18 0,-1 0 16,2 0-16,-2 0 0,0 0 16,1 0-16,35 0 0,-36-18 15,19 18-15,-18-18 0,-1 18 0,19-18 16</inkml:trace>
  <inkml:trace contextRef="#ctx0" brushRef="#br0" timeOffset="13829.61">18411 2553 0,'-19'17'15,"19"2"-15,-17 16 16,17 1-16,0-19 15,0 0-15,0 19 0,0-18 0,0 16 16,0-16-16,0 35 0,0-17 16,0-19-16,0 18 0,17-16 15,-17-2-15,19 0 0,-2 1 0,1-1 16</inkml:trace>
  <inkml:trace contextRef="#ctx0" brushRef="#br0" timeOffset="14689.68">21532 2624 0,'18'0'0,"0"-18"16,0 18-1,-54 18 32,1-1-31,18-17-16,-2 0 0,19 19 0,-17-2 15,17 0 1,17 1 0,-17 0-16,19-18 0,-2 18 15,0-1-15,1-17 0,0 17 16,0-17-16,-1 18 16,0-18-16,-17 18 0,19-18 0,-19 18 0,0-1 15,0 0 1,-19-17-16,19 19 15,-17-19-15,0 17 0,-19-17 0,18 18 0,-16-18 16,15 17-16,-16 2 16,1-19-16,-20 17 0,1-17 0,1 0 15</inkml:trace>
  <inkml:trace contextRef="#ctx0" brushRef="#br0" timeOffset="24290.23">8039 6645 0,'-17'0'0,"69"0"16,-34 0-1,17 0-15,18-17 0,-1 17 16,38 0-16,208-18 15,161-18 1,-335 36-16,0-17 0,-1 17 16,213-35-1,-231 35-15,0-17 0,-34 17 0,17 0 16,-17 0-16,-18 0 0,0-19 0,-18 19 16,1 0-16,-1 0 0,1 0 15,-19 0-15,0 0 0,1 0 16,-53 19 15,18-19-31,-2 17 0</inkml:trace>
  <inkml:trace contextRef="#ctx0" brushRef="#br0" timeOffset="25033.35">8956 6964 0,'71'-36'15,"-54"36"1,1-18-1,-53 53 17,16-35-32,2 19 15,-18-2 1,18 0-16,-2 1 16,38-1-1,-2 2 1,1-2-16,-1-17 0,0 0 0,2 17 15,-2-17-15,1 0 0,-1 18 0,2-18 16,-19 18 0,0 0-16,-19 16 15,2-34-15,-1 18 16,1-18-16,-19 18 0,19-18 16,-18 18-16,16-18 0,2 17 0,-18-17 15,-1 0-15,19 0 0,0 0 16,-19 0-16,18-17 0,-16 17 0,15-18 15,-16 0-15,18 0 0,-2 1 0,2-18 16</inkml:trace>
  <inkml:trace contextRef="#ctx0" brushRef="#br0" timeOffset="25758.31">8762 6028 0,'-18'18'16,"18"0"-16,-17-1 0,17 0 0,-36 37 15,36-37-15,-17 19 16,17-1-16,-18-18 0,1 54 16,-2-53-16,19 0 0,-17 16 15,0 2-15,17-18 16,-18-1-16</inkml:trace>
  <inkml:trace contextRef="#ctx0" brushRef="#br0" timeOffset="25940.58">8462 6276 0,'-18'0'0,"36"0"16,-18-19-1,36 38-15,-19-2 16,0-17-16,2 17 0,16-17 0,-18 18 15,19 0-15,-19-18 0,18 18 16,-16-18-16,15 17 0,-16-17 16,0 0-16,17 0 0,-18 0 0,1 0 15,0 0-15</inkml:trace>
  <inkml:trace contextRef="#ctx0" brushRef="#br0" timeOffset="26269.72">8991 6134 0,'0'-17'0,"0"52"16,0-1-1,17-34-15,2 19 16,-2-19-16,1 0 0,-1 17 0,-17-34 16,19 17-16,-2 0 0,0 0 15,1 0-15,0-19 0,0 19 16,-1-17-16,0 17 15,-17-17-15,-17 51 32,0 2-17,-1-18-15,0-1 16,0 19-16,1-1 0,17-17 16,-17 0-16,-2 34 15,2-34-15,17 0 0,0-1 16,0 0-1</inkml:trace>
  <inkml:trace contextRef="#ctx0" brushRef="#br0" timeOffset="26871.22">8974 6240 0,'-35'0'0,"70"0"16,-89 0-16,37 17 0,17 2 31,17-19-15,19 0-16,-18-19 0,-1 19 16,19 0-16,-19-17 0,1-1 0,-1 1 15,2-2-15,-2 2 16,-17 0-1,-36 34 17,19 19-17,-1-36-15,18 17 16,18 1 0,-1-18-16,2 0 15,-2-18-15,0 18 16,1-17-16,0 34 31,-36 18-15,18 1-16,0-19 15,0 1-15,0 18 0,0-19 0,0 0 16,0 19-16,0-18 0,0-1 0,18 0 16,-18 2-16,18-2 0,-1 1 15,0-1-15,1-17 0,0 17 0</inkml:trace>
  <inkml:trace contextRef="#ctx0" brushRef="#br0" timeOffset="27195.96">11108 6186 0,'106'-34'16,"-89"34"-16,19 0 0,-19 0 0,18-18 16,18 18-16,-35 0 0,0 0 15,0 0-15</inkml:trace>
  <inkml:trace contextRef="#ctx0" brushRef="#br0" timeOffset="27354.95">11302 6469 0,'17'17'0,"19"-34"16,-19 17 0,1 0-16,18-17 0</inkml:trace>
  <inkml:trace contextRef="#ctx0" brushRef="#br0" timeOffset="28361.7">13666 6028 0,'53'0'0,"-18"0"15,-18 0-15,2 0 0,-19 18 0,17-18 16,-17 18-16,17-1 0,-34 0 15,17 2 1,-17-2-16,17 1 0,-19-1 0,19 0 16,-17-17-16,17 19 0,0 16 15,17-35 17,-17 17-32,19-17 0,-2 0 0,0 19 15,1-19-15,0 0 16,0 17-16,-18 0 0,0 1 15,-18-18-15,18 18 16,-18 0-16,0-18 0,1 17 0,-19 0 16,19 1-16,-18-18 15,16 18-15,2-18 0,0 18 0,-1-18 16,1 17-16</inkml:trace>
  <inkml:trace contextRef="#ctx0" brushRef="#br0" timeOffset="28736.96">14159 6028 0,'-88'0'15,"71"18"-15,-18 0 16,16-18-16,19 17 16,-17-17-16,17 17 0,0 2 15,0-2 1,53-17 0,-18-17-1,-18 17-15,2 0 16,-2 17-1,1-17-15,-18 18 0,17-1 16,-17 0 0,0 19-16,0-18 0,0-1 15,0 19 1,0-19-16,0 1 0,0 0 0,0 0 16,0-1-16,19-17 15</inkml:trace>
  <inkml:trace contextRef="#ctx0" brushRef="#br0" timeOffset="29036.8">14688 6046 0,'-52'35'31,"34"-35"-31,0 17 0,-16 2 15,-2 16-15,18-18 0,1 0 16,17 2-16,-17-2 0,-2-17 0,19 18 16,0-1-16,-17 2 0,17-2 15,17 0 1,-17 1-16,19-18 0,-2 18 16,18-18-1,-18 0-15,2 0 0,-2 0 0,54-36 16,-54 36-1,0-17-15,1 0 16,0-2-16,-18 2 0</inkml:trace>
  <inkml:trace contextRef="#ctx0" brushRef="#br0" timeOffset="29212.81">14742 5976 0,'-18'17'0,"18"0"0,-18 71 31,18-52-31,-18-18 0,36 16 0,-18 2 16,0-1-16,0-16 0,0 15 16,0 2-16,18-18 0,-18 16 0,18 20 15,-1-20-15,-17-15 0,17-2 16,2 1-16</inkml:trace>
  <inkml:trace contextRef="#ctx0" brushRef="#br0" timeOffset="29926.47">15447 6081 0,'17'36'47,"2"-1"-31,-19-18-1,17 0 1,-17 2-16,18-19 31,-1-19-15,19 2-1,-19 0-15,18 17 16,1 17 0,-19-17-1,1 17-15,-18 2 16,18-19-16,0 17 15,-1-17 17,18-17-17,-17 17 1,34 0 0,-33 17-1,-2-17-15,18 0 16,-16 0-16,15 0 0,-16 0 15,18 0 17,-55 18-32</inkml:trace>
  <inkml:trace contextRef="#ctx0" brushRef="#br0" timeOffset="30216.84">13860 6804 0,'0'-18'0,"18"1"16,34 0-16,18-1 0,18-18 0,19 19 0,-2 0 15,19-2-15,-1 2 16,125-18-16,-125 16 0,1 19 15,-2-17-15,-15 0 0,105-1 16,-107 1-16,-17 17 0,-17-19 16,-18 19-16,-1 0 0,19 0 15,-52 0-15,-2 0 0,0 0 0,1 0 16</inkml:trace>
  <inkml:trace contextRef="#ctx0" brushRef="#br0" timeOffset="30570.92">14107 6945 0,'52'-17'15,"-33"17"1,33 0-16,-34 0 0,17-18 16,0 18-16,89-17 15,-71-2-15,35 2 0,0 0 16,17-1-16,-15 0 0,15 18 0,71-35 16,19 18-16,-54-1 15,-89 0-15,19 18 16,-1-18-16,-16 18 0,51-17 15,-69 0-15,35-2 0,-2 2 16,20-1 0,-71 1-16,16 17 15,-15-19-15,16 19 0,-18-17 0</inkml:trace>
  <inkml:trace contextRef="#ctx0" brushRef="#br0" timeOffset="31897.8">16082 6257 0,'36'0'0,"-36"-17"15,17 17-15,0-18 0,-17 1 16,19 17-16,-19-19 16,0 2-16,17 0 15,-34-1-15,17 1 16,-19 17-1,2 17 1,0 1 15,17-1-31,0 0 0,0 2 16,0-2-16,17-17 0,-17 18 16,17-18-16,2 17 0,-2-17 15,1 0-15,-1 0 0,0 0 16,2 0-16,-2 0 0,1 0 15,-1-17-15,2 17 0,-2 0 0,0-18 16,1 1-16,-1 17 0,-17-19 16,19 19-1,-19-17-15,-36 34 63,36 2-48,17-2 1,2-17 0,-2 0-1,0 0 1,1 0-16,18 0 31,-19 0-15,0 0-16,2 18 15,-2-18 1,1 0 0,-1 0-16,0 0 15,2-18-15,-2 18 16,1 0-16,35 0 16,-36-17-1,1 17-15,0 0 16,0 0-16,-18-19 0,17 19 15</inkml:trace>
  <inkml:trace contextRef="#ctx0" brushRef="#br0" timeOffset="32048.91">16911 6240 0</inkml:trace>
  <inkml:trace contextRef="#ctx0" brushRef="#br0" timeOffset="33481.86">5887 11056 0,'159'0'16,"-89"0"-16,36-19 0,0 19 15,17 0-15,1 0 0,-1-17 0,1 17 16,352-18 0,-299 18-16,-37 0 0,-16-17 0,17 17 15,35 0-15,-34-17 0,-1 17 0,0 0 16,-1 0-16,-16 0 0,18 0 15,122-19-15,-123 19 0,-17 0 16,-19 0-16,1 0 0,0 0 16,-35 0-16,0 0 0,51 0 15,-86 0-15,-1 0 0,1 0 0,-19 0 16,1 0-16,-1 0 16</inkml:trace>
  <inkml:trace contextRef="#ctx0" brushRef="#br0" timeOffset="34001.17">6310 11408 0,'36'0'32,"-2"0"-32,2 0 0,35 0 15,34 0-15,-17-18 0,36 18 16,123 0-16,106-17 15,-177 0-15,0 17 0,0 0 0,2-19 16,-2 19-16,0 0 0,-35 0 16,-17-17-16,140 17 0,-123 0 15,-17 0-15,-1 0 0,1-18 0,-1 18 16,-17 0-16,0 0 0,-18 0 16,89 0-16,-106 0 0,34 0 15,-52 0-15,-18 0 0,-18 0 16,19 0-16,-18 0 0,-1 0 15,2 0-15,-2 0 0,0 0 16,1 0-16,-1 0 16,2 0 15,-19 18-15,17-18 15</inkml:trace>
  <inkml:trace contextRef="#ctx0" brushRef="#br0" timeOffset="37541.19">5463 10173 0,'0'17'31,"-17"37"-15,-1-18-16,18-2 0,0 2 15,-17-1-15,17 0 0,0-17 16,0 17-16,0 36 0,0-54 16,0 19-16,0-1 0,0 1 0,0-19 15,17 18-15,-17-17 0,0 0 16,0 16-16,18-16 0,-18 0 0,17 34 16,-17-33-16,0-2 15,19 1-15,-19-1 0,17 2 16,0-2-16,-17 0 0,18 1 15,-18-1 1,18 2 0,0-19-16,-18 17 15,17-17-15,-17 17 16,17-17-16,1 0 16,18 18-1,-19-18 1,0 0-16,2 0 0,-2 0 0,18 0 15,-16 0-15,-2 0 0,18 0 0,-18 18 16,19-18-16,-1 0 0,-17 0 16,17-18-16,1 18 0,-1 0 15,-1 0-15,-15 0 0,16 0 0,1 0 16,33 0-16,-33-18 16,-1 18-16,1 0 0,-2 0 0,-15 0 0,16 0 15,-1 0-15,2 0 0,-1 0 16,1 0-16,17 0 15,-18-17-15,-18 34 0,1-17 0,18-17 16,-19 17-16,0 0 0,2 0 16,16 0-16,-18 0 0,36 0 15,-35 0-15,-1 0 0,19 0 0,-19 0 16,1 0-16,0 0 16,17 0-16,-18 0 0,2-17 15,-2 17-15,35 0 0,-33 0 0,-2 0 16,1 0-16,-1 0 0,2 0 15,33-19-15,-35 19 0,2 0 16,15 0-16,-16 0 0,0 0 16,0 0-16,-1 0 0,0 0 15,2-17-15,-2 17 0,1 0 16,-1 0-16,0 0 0,2 0 0,-2 0 16,1 0-16,-18 17 0,17-17 15,2 0-15,-2 0 0,0 0 0,1 0 0,18 0 16,-19 0-16,0-17 15,1 17-15,18 0 0,-2 0 16,-15 0-16,-2 0 0,1 0 16,-1 0-16,19-18 15,-19 18-15,1 0 0,-1 0 16,2 0-16,-2 0 16,0 0-16,1 0 0,0-17 15,0 17-15,-1 0 16,0 0-16,1 0 0,-18-17 0,18 17 15,0 0-15,-1-19 16,0 19-16,2 0 0,-2-17 16,1 17-1,-1-18-15,2 18 16,-19-17-16,17 17 16,0-19-16,1 2 15,-18 0 1,17 17-16,2-18 15,-19 0-15,17 0 16,0 1 0,-17 0-16,18-1 15,-18 0-15,0 0 16,18 1-16,-18 0 16,0-2-16,0 2 15,0-1-15,18 1 16,-18-19-16,0 19 15,-18-1 1,18 1-16,0-2 0,0 2 16,-18-18-1,18 17-15,0 0 0,-18 1 0,18 0 16,0-1-16,0 0 16,-17 18-16,17-52 15,-17 52-15,17-19 0,0 2 0,-19 17 16,19-18-16,0 1 0,-17-2 15,17 2 1,-18 0-16,1-1 0,17 1 16,-17-2-16,-2 19 15,19-17-15,-35 0 0,18-1 16,-2 0-16,2 0 16,0 18-16,-1-17 15,0 0-15,0-2 0,1 19 16,17-17-16,-17 17 0,-1-18 0,-35 1 15,36 17-15,-2-17 0,2 17 16,-18-19-16,16 19 0,-15-17 16,-20-1-16,37 18 0,-18 0 15,-1-17-15,19 17 0,-18-19 16,-18 19-16,-35-17 16,52 17-16,19 0 15,-54-17-15,18 17 0,18 0 16,-1-18-16,-16 18 0,16 0 15,1 0-15,18-17 16,-54 17-16,54 0 0,-19 0 16,-17 0-16,18 0 0,-1 0 15,1 0-15,18 0 0,-54 0 16,54 0-16,-19 0 0,1 0 16,17 0-16,-17 17 0,0-17 15,-18 0-15,17 18 0,1-18 16,18 0-16,-19 0 0,1 17 15,18-17-15,-19 0 0,19 17 0,-19-17 16,18 0-16,1 0 0,-19 19 16,19-19-16,-1 17 15,1-17-15,-19 18 0,19-18 16,-1 17-16,1-17 0,-2 19 0,2-19 16,0 17-16,-1-17 0,-18 17 15,19 1 1,0-18-16,-1 0 0,0 17 15,0-17-15,-16 19 0,15-2 0,2-17 16,-1 17-16,1 1 16,-19 0-16,-16 17 15,16-18-15,1 19 16,17-18 0,0-18-16,1 17 0,0 19 0,-19-1 15,18-18-15,18 2 16,0-2-16,-17 18 15,34-17-15,-17 0 0,18-18 16,0 17-16</inkml:trace>
  <inkml:trace contextRef="#ctx0" brushRef="#br0" timeOffset="43509.55">22696 11144 0,'36'0'31,"-1"0"-15,-18 0-16,2 0 16,-2 0-16,1 0 0,-1 0 15,2 0-15,-2 0 0,0 0 0,1 0 16,0-18-16</inkml:trace>
  <inkml:trace contextRef="#ctx0" brushRef="#br0" timeOffset="44035.13">23172 11002 0,'19'0'0,"16"0"31,-35 18-15,0-1 0,-18 2-1,18-2-15,0 0 0,-17 1 16,17 0-1,0 0 1,17-18-16,-17 17 0,18 0 16,-18 2-16,0-2 15,17-17-15,-34 35 32,17-18-32,-18-17 0,1 19 15,-2-2-15,-15 1 16,16-18-1</inkml:trace>
  <inkml:trace contextRef="#ctx0" brushRef="#br0" timeOffset="44432.62">23384 11090 0,'-52'0'16,"34"18"-16,18 0 15,0 0 1,18-18 15,0 0-31,16-18 16,-16 0-1,0 36 17,-18 0-17,0-1-15,-18 19 16,18-19-16,0 1 15,0-1 1,0 0-16,18-17 16</inkml:trace>
  <inkml:trace contextRef="#ctx0" brushRef="#br0" timeOffset="44736.71">23755 11090 0,'0'0'16,"-35"18"15,17-18-15,18 18-16,-18-18 15,18 18-15,-17-1 0,17 0 16,-17-17-16,17 19 15,0-2 1,0 1-16,17-1 16,0 0-1,1-17 1,0 0 0,0 0-16,-1 0 0,-17-17 15</inkml:trace>
  <inkml:trace contextRef="#ctx0" brushRef="#br0" timeOffset="44930.69">23808 11073 0,'-17'17'16,"-2"1"-1,19 0-15,0 0 0,-17-1 0,17 19 16,-17-19-16,17 1 0,0-1 15,0 36 1,0-35-16,0-1 0,0 19 16,0-19-16</inkml:trace>
  <inkml:trace contextRef="#ctx0" brushRef="#br0" timeOffset="45698.69">22855 12220 0,'53'0'15,"1"-18"1,-37 18 0,0 0-16,1 0 0,35-18 15,-36 18-15,2 0 0</inkml:trace>
  <inkml:trace contextRef="#ctx0" brushRef="#br0" timeOffset="46078.76">23332 12025 0,'18'0'0,"-36"0"15,53 19 1,-52-2-1,17 0 1,0 1 0,0-1-1,17 2 1,-17-2-16,17 0 16,1 1-16,-18 0 15,0 0 1,0-1-1,-18 0-15,1-17 16,17 18-16,-17-18 0</inkml:trace>
  <inkml:trace contextRef="#ctx0" brushRef="#br0" timeOffset="46409.72">23667 12025 0,'-88'19'15,"71"-19"-15,-19 34 16,53-16-1,2-18 1,15-18 0,-16 18-16,-18-17 15,17 17 1,2 0-16,-19 17 16,0 1-1,0-1-15,-19 19 16,19-19-16,-17-17 0,17 18 15,0 0-15,0 0 16</inkml:trace>
  <inkml:trace contextRef="#ctx0" brushRef="#br0" timeOffset="46705.21">23931 12061 0,'-17'17'32,"-1"1"-17,1-1-15,-2 2 16,2-2 0,17 0-16,-17 1 15,17 0 1,17 0-1,0-1 1,2-17-16,-2 0 16,18 0-1,-16-17 1</inkml:trace>
  <inkml:trace contextRef="#ctx0" brushRef="#br0" timeOffset="46856.61">23984 12044 0,'-17'34'0,"0"1"16,17-16-1,0-2-15,0 0 0,0 1 0,0 0 16,0 0-16,0-1 0,17 0 16,-17 1-16,0 0 0,0 0 0</inkml:trace>
  <inkml:trace contextRef="#ctx0" brushRef="#br0" timeOffset="47396.19">22715 13208 0,'52'-19'16,"-35"19"-16,54-17 15,-52 17 1,-2 0-16,0 0 15,1-18-15</inkml:trace>
  <inkml:trace contextRef="#ctx0" brushRef="#br0" timeOffset="47746.63">23155 12960 0,'17'0'0,"-34"0"0,53 0 16,-19-18-16,-17 36 16,18 0-1,-18 0-15,0-1 16,-18 19 0,18-19-1,0 1-15,18-18 16,-18 17-1,0 2-15,17-19 16,-17 17-16,0 0 16,-17 1-1,17-1-15,-18-17 16,18 19 0</inkml:trace>
  <inkml:trace contextRef="#ctx0" brushRef="#br0" timeOffset="48080.49">23543 12960 0,'-17'-18'15,"-18"18"1,-1 18-1,19-18-15,-1 18 0,0 0 16,18-1 31,36-34-31,-19 17-1,0 0-15,-17 17 16,0 0-1,0 2-15,0-2 16,0 1-16,-17-1 0,17 19 16,-17-19-16,17 1 15,0-1 1</inkml:trace>
  <inkml:trace contextRef="#ctx0" brushRef="#br0" timeOffset="48442.67">23808 12978 0,'-70'18'32,"52"-1"-32,0 0 0,-17 19 31,35-18-16,35-36 17,-17 18-32,-18-17 15,18-2-15,-1 19 16,-17-17-16,17 17 16,-17 17 15,-17 19-31,17-18 15,-17-1-15,17 2 16,0-2-16,-18 0 0,18 1 16,0-1-16,0 2 15,0-2-15</inkml:trace>
  <inkml:trace contextRef="#ctx0" brushRef="#br0" timeOffset="49178.38">22855 13948 0,'19'17'0,"-2"-17"16,0 0-16,1 0 15,0 0-15,17 19 16,-18-19 0,1 0-16</inkml:trace>
  <inkml:trace contextRef="#ctx0" brushRef="#br0" timeOffset="49505.38">23226 13913 0,'0'0'0,"17"0"0,-17 17 32,0 1-17,-17-1 1,17 2-16,17-2 15,-17 0-15,0 1 16,19 0-16,-19 0 16,0-1-1,0 0-15,-19 2 16,19-2 0</inkml:trace>
  <inkml:trace contextRef="#ctx0" brushRef="#br0" timeOffset="49779.19">23402 13965 0,'-18'0'15,"1"0"-15,52 0 0,-87 19 16,34-19-16,18 17 15,-18-17-15,36 17 47,0-17-47,-1 0 16,0 54 15,-17-37-31,-17 0 16,17 2-16,0-2 15,0 1-15</inkml:trace>
  <inkml:trace contextRef="#ctx0" brushRef="#br0" timeOffset="50195.86">23702 13984 0,'-35'17'16,"18"0"-16,-2 1 0,2 0 15,-1-18-15,18 18 16,-17-1-16,0 0 0,17 2 16,0-2-16,-19 1 15,38-1 1,-2 0-16,0-17 15,18 0 1,-35-17-16,19 17 0,-2 0 0,18-35 16,-17 35-16,0-36 15,-1 36-15,-17-17 16,17-18-16,2 35 0,-19-18 16,17 18-16,-34 18 31,17 0-31,0-1 15,-19 0-15,19 2 0,0-2 0,-17 18 16,17-18-16,0 19 16,-17-1-16,17-16 0,0 15 15,0 2-15</inkml:trace>
  <inkml:trace contextRef="#ctx0" brushRef="#br0" timeOffset="50737.67">22784 15148 0,'54'0'62,"-18"0"-46,-19 0-16,0 0 16,1 0-16,0-18 15</inkml:trace>
  <inkml:trace contextRef="#ctx0" brushRef="#br0" timeOffset="51029.59">23084 15024 0,'0'0'0,"19"17"47,-19 2-47,0-2 15,-19 0-15,19 1 32,19-18-32,-19 18 15,17 0 1,1-18-16,-18 17 16,0 0-1,-18 2 16</inkml:trace>
  <inkml:trace contextRef="#ctx0" brushRef="#br0" timeOffset="51366.42">23384 14989 0,'-17'0'15,"-18"17"-15,-1 1 16,19-1 0,17 2-1,17-19 1,-17 17-1,18-17 1,0 17 0,-18 1-16,0 0 31,0 0-15,0-1-16,18-17 15</inkml:trace>
  <inkml:trace contextRef="#ctx0" brushRef="#br0" timeOffset="51822.22">23702 14936 0,'-35'17'31,"-1"19"-15,19-19-16,-1 1 15,1-1-15,0 2 16,17-2 0,-19-17-16,19 17 15,19 1-15,-2-18 16,0 0-1,37 0 1,-54-18-16,17 18 16,0 0-16,-17-17 0,18 0 15,0-2-15,-18 2 16,18-1 0,-36 53 15,18 1-16,-18-19-15,18 1 16,0 0-16,0 0 0,0-1 16,-18 0-16,18 2 15,0-2-15</inkml:trace>
  <inkml:trace contextRef="#ctx0" brushRef="#br0" timeOffset="52492.04">21251 10790 0,'17'142'0,"-34"-106"16,17 16-16,17 18 0,-17-16 16,0-1-16,18-1 0,-1 1 0,0 18 15,2-18-15,-2-1 0</inkml:trace>
  <inkml:trace contextRef="#ctx0" brushRef="#br0" timeOffset="53029.45">23967 10914 0,'0'283'15,"0"-231"-15,0 55 16</inkml:trace>
  <inkml:trace contextRef="#ctx0" brushRef="#br0" timeOffset="53518.39">21410 11744 0,'-19'70'0,"38"-140"0,-55 175 0,36-70 0,-18 18 16,1 0-16,17 1 0,0-2 0,0 18 15,0-16-15,0-2 0,17 37 16,-17-37-16,35 19 0,1-18 15,-1 18-15,1-37 0</inkml:trace>
  <inkml:trace contextRef="#ctx0" brushRef="#br0" timeOffset="53974.99">24196 11973 0,'-17'159'0,"-2"-125"16,19 20-16,0-2 0,-17-16 0,-18 140 16</inkml:trace>
  <inkml:trace contextRef="#ctx0" brushRef="#br0" timeOffset="54480.62">21410 12908 0,'0'34'0,"0"-16"16,0 0-16,-19 17 0,19 1 0,0-19 15,0 37-15,0-20 16,0 1-16,19 18 0,-19 1 0,34-20 16,-16 20-16,18-1 0,16-18 15</inkml:trace>
  <inkml:trace contextRef="#ctx0" brushRef="#br0" timeOffset="54890.93">24143 12925 0,'0'53'16,"-17"-35"-16,17-1 0,0 19 15,0-19-15,-18 18 0,0 18 0,18-18 16,-18 18-16,1 1 0,-18-2 0,17 1 15</inkml:trace>
  <inkml:trace contextRef="#ctx0" brushRef="#br0" timeOffset="55354.48">21039 13965 0,'35'300'0,"-18"-247"0,19 1 16,-19-2-16,19-16 0,87 88 16</inkml:trace>
  <inkml:trace contextRef="#ctx0" brushRef="#br0" timeOffset="55768.55">24072 13737 0,'18'35'0,"-18"-18"16,0 19-16,0-19 0,-18 18 16,18 1-16,0-1 0,0 18 0,-17 0 15,17-1-15,-17 2 0,-1-1 16,0-1-16,0 1 0,1 18 0,0-18 15</inkml:trace>
  <inkml:trace contextRef="#ctx0" brushRef="#br0" timeOffset="56233.89">21320 14724 0,'-34'158'0,"34"-122"0,0-1 16,-18 53-16,18-52 15,18-1-15,-18 18 0,0 0 0,17-1 16,0 2-16,2-18 0,16 16 16,53 1-16,-35-18 0</inkml:trace>
  <inkml:trace contextRef="#ctx0" brushRef="#br0" timeOffset="56625.16">23967 14848 0,'0'105'16,"0"-69"-16,-17 35 0,17-19 16,-19 18-16,2 1 0,-18 88 15,-18-1-15</inkml:trace>
  <inkml:trace contextRef="#ctx0" brushRef="#br0" timeOffset="63710.01">27318 16541 0,'-18'17'16,"1"-17"-16,34 18 15,71 18 17,-69-36-32,16 17 0,53 0 0,-35-17 15,-1 19-15,1-19 16,-17 0-16,16 17 0,2-34 0,16 17 15,-16 0-15,16 0 0,-18-19 16,2 19-16,-1-17 0,-1 0 0,1-1 16,53-18-16,-70 19 0,-2-18 15,54-1-15,-69 2 0,16 15 16,-18 2-16,2-1 0,15 1 16,1-36-16,-35 18 15,19 16-15,-2-33 0,-17 34 0,17-17 16,-17 18-16,0-19 0,0 18 15,-17-16-15,17 15 0,0-16 0,-17 18 16,17-19-16,-19 19 16,2-37-16,-1 37 0,1-18 15,0 17-15,-2-34 0,2 33 16,-1 2-16,-18-18 0,19 16 16,0 2-16,-1-18 0,-35-18 15,36 36-15,-19-1 0,18 0 16,1 0-16,-19 1 0,19 17 0,-1-17 15,-18-1-15,2 0 16,-1 0-16,16 18 0,-15-17 16,16 17-16,0 0 0,-34-17 15,34 17-15,0 0 16,0 0-16,1 0 0,-36-19 0,35 19 16,1 0-16,-2 0 0,-15 0 15,-1 0-15,16 19 0,2-19 16,0 0-16,-1 0 0,-18 0 15,19 0-15,-19 0 0,19 17 16,-1-17-16,1 0 0,0 0 0,-2 0 16,2 17-16,-1-17 0,1 0 15,-2 0-15,19 18 0,-17-18 16,0 0-16,-1 18 0,-18-18 16,19 18-16,0-18 0,-1 17 15,0-17-15,0 17 16,1 1-16,0-18 0,17 18 15,-19-18-15,2 35 0,17-18 16,-18-17-16,18 19 16,-17-2-16,0 1 0,17-1 0,0 0 15,-19-17-15,19 19 0,-17 16 16,-1-18-16,1 19 16,-2-19-16,19 1 15,-17 0-15,17 0 16,-17 16-16,-1-16 0,0 0 15,18 0-15,-18-18 16,18 17-16,0 0 0,-17 2 0,17-2 16,0 1-16,-17-1 15,17 2-15,0-2 0,0 0 16,0 1-16,0-1 0,0 2 16,0-2-16,0 0 15,0 1-15,0 0 0,0 0 16,0-1-16,17 0 0,-17 2 0,0-2 15,0 1-15,17 16 16,-17-15-16,0-2 16,18 18-16,-18-16 0,18-2 15,-18 0-15,18 1 0,-18 0 16,17 0-16,0-1 16,-17 0-16,19-17 0,-2 18 15,1 0-15,-1-18 0,19 18 16,-19-18-1,1 17-15,18-17 0,-19 17 16,0-17-16,1 0 16,0 19-16,0-19 0,-1 0 15,0 0-15,-17 17 0,19-17 16,-2 0-16,1 0 16,-1 18-1,0-18 1,2 0-1,-2 0 17,1 0-17,-1 0 1</inkml:trace>
  <inkml:trace contextRef="#ctx0" brushRef="#br0" timeOffset="63877.1">27847 16682 0,'-17'18'16,"-1"-18"-1</inkml:trace>
  <inkml:trace contextRef="#ctx0" brushRef="#br0" timeOffset="121431.75">25783 11532 0,'19'0'32,"15"0"-17,37 0-15,0-18 0,34-35 16,72 36 0,-1-1-16,0 0 0,19-17 15,-54 18-15,-1-2 16,-33 2-16,-55 17 15,-33 0-15</inkml:trace>
  <inkml:trace contextRef="#ctx0" brushRef="#br0" timeOffset="122502.95">25907 12342 0,'17'0'63,"19"0"-48,35 0-15,0 0 0,17 0 16,53-34-16,-36 34 16,54-36-16,-54 18 15,37 1-15,-36 0 16,-88 17-16,16 0 15,2 0 1</inkml:trace>
  <inkml:trace contextRef="#ctx0" brushRef="#br0" timeOffset="123613.63">25714 13454 0,'0'0'0,"52"0"0,-16 0 16,16 0-16,1 0 16,18 0-16,-1 0 15,-16 0-15,-2 0 16,1 0-1,0 0-15,-35 0 0,35 0 16,-1 0-16,-35 0 16,19 0-1,-1 0-15,1 0 16,-19 0-16,1 0 0,-1 0 16</inkml:trace>
  <inkml:trace contextRef="#ctx0" brushRef="#br0" timeOffset="124775.08">25802 14406 0,'17'0'47,"36"0"-32,17 0-15,0 0 16,54 0-16,18 0 16,-1 0-1,-1 0-15,20 0 0,-37 0 16,106 0 0,-176 0-16,-18 0 15,-35-17-15</inkml:trace>
  <inkml:trace contextRef="#ctx0" brushRef="#br0" timeOffset="125894.89">25978 15412 0,'34'0'94,"37"0"-94,0-18 15,17 18 1,1-17-16,51 0 0,-16-19 16,-53 36-16,17-18 15,-54 18-15,-15-17 16</inkml:trace>
  <inkml:trace contextRef="#ctx0" brushRef="#br0" timeOffset="128343">27530 10261 0,'-18'0'94,"53"36"-79,72 35-15,-55 17 0,54 53 16,-18-36 0,-34 1-16,34 106 15,-88-106-15,0-18 16,0 35 0,0 1-16,0 0 15,-36-36-15,-16 35 16,33 1-16,2 0 15,-1-19-15,-18-34 16,19 34-16,17-52 16,0-35-16,0 35 15,36 18-15,-36-54 16,35 18 0,-18 1-16,2-19 0,-2 0 15,0 2 1,19-19 31,-18 0-32,-1 0-15,-17-53 16,0 17-16,0-16 16,0 33-1,0-16-15,-17 53 47,-1-1-31,0 2-1,-17 51-15,18-52 16,-2 52-16,2-18 16,17 19-16,-18 18 15,1-37-15,-2 19 16,19 0-16,0-18 15,0 35-15,0 0 16,0 0-16,0-17 16,0 175-1,0-158-15,0 54 16,0-18-16,0-36 16,0 36-1,36-19-15,-18-17 0,-1 53 16,-17-123-1,0 18 1,0-19-16,0 18 0,0 1 16,0-19-16,0 19 15,36-1 1,-36 18-16,0-1 0,17-16 16,-17-19-1,0 37-15,0-20 0,0 2 16,0-1-1,0 1-15,0-19 16,0 1-16,0-1 16,0 0-16,0 2 15,0-2 1,-34 1 0,15-1-1,-33 2-15,16 15 16,-35-34-1,19 18-15,-1 0 16,17 0-16,1-18 0,18 17 16</inkml:trace>
  <inkml:trace contextRef="#ctx0" brushRef="#br0" timeOffset="132710.7">25448 10844 0,'-17'0'94,"-19"0"-79,1 0-15,-1 17 16,19 0-1,-18 2-15,-1 16 16,36-18-16,-34 19 16,34-1-16,0-18 15,0 19-15,0 17 16,0-18-16,0 1 16,0 33-1,17 21 1,71 86-1,-88-71-15,88 72 32,-52-89-32,-36-17 0,0 0 15,17 17-15,-17-18 16,0-18-16,0-16 16,0 16-16,0 2 15,0-18 1,-17-19-16,-19 18 0,19-18 15,-54 2 1,19-2-16,-19-17 16,18 17-1,36-17 1,-2 0 0,2 0-1,-1 0 1,18-34-1,35 34 17,-16 0-17,15 0 1,-16 0 0,18 17-16,-19 0 0,19 19 15,-36-1-15,35 1 16,-35 33-16,17 2 15,36 70-15,-53-70 16,0 0 0,0 70-1,0 0-15,0 53 32,0-88-17,0 0 1,-17-1-1,17 2 1,0-55 0,0 1-1,-19-36-15,2 2 16,17-2-16,0 1 16,0-1-16,0 0 15,0 2-15,0 33 16,0-33-1,0 33 1,0-16-16,0-19 16,0 36-16,0-18 15,0-18 1,0 19-16,0-1 16,0 1-1,0-19 1,0 18-1,0-16 1,0 15-16,0-16 31,0 0 1,0 0-17,17-1-15,-17 0 16,0 2-1,36 16-15,-36-18 16,18-17 0,-18 17-1,0 19 517,0-18-517,0-1 1,17-17-16,2 19 15,-2-2 17,-17 18 15,0-18-32,35 2 1,-35-2-1,0 0 17,0 19-1,18-36 31,-18 18-46,35-1-16,-35 0 31,0 2-31,17-2 16,-17 1-16,0-1 16,36 0-1,-36 2 1</inkml:trace>
  <inkml:trace contextRef="#ctx0" brushRef="#br0" timeOffset="-37453.07">25166 9556 0,'0'70'31,"-35"-16"-15,-1 51-16,19-34 16,-18 53-16,35-19 15,-17-34-15,17 34 31,0-34-31,0-35 0,0 52 16,17-88-16,0 34 16,18 2-1,1-36 48,35 0-48,-18 0 1,52-17-16</inkml:trace>
  <inkml:trace contextRef="#ctx0" brushRef="#br0" timeOffset="-36486.22">26788 9504 0,'19'0'15,"16"17"16,1-17-31,52 52 16,-36-16-16,18-1 16,1 1-16,53 69 15,-53-69 1,-37-1-16,2 1 16,-1-19-16,1 18 15,-19-18-15,1 36 16,-18-35-1,36 35-15,-36-36 16,0 2-16,0 16 16,0-1-16,0 20 31,0-37-31,0 19 16,0 17-1,-19-18-15,19 0 16,-17 1-16,-1-19 15,18 0-15,-17 19 16</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251"/>
    </inkml:context>
    <inkml:brush xml:id="br0">
      <inkml:brushProperty name="width" value="0.025" units="cm"/>
      <inkml:brushProperty name="height" value="0.025" units="cm"/>
      <inkml:brushProperty name="ignorePressure" value="1"/>
    </inkml:brush>
  </inkml:definitions>
  <inkml:trace contextRef="#ctx0" brushRef="#br0">189 0,'-15'11,"1"-1,-1 2,2 0,-1 2,2-1,-16 20,-14 17,38-48,1 1,-1 1,1-1,1 1,-1 0,0 0,1 0,-1 0,2 0,-2 0,2 1,-2 3,3-7,0 1,0-1,0-1,0 1,0 1,0-2,0 1,1 0,-1-1,0 2,0-1,2-1,-2 1,0-1,1 2,-1-2,1 1,-1 0,0-1,2 2,-1-2,-1 0,3 1,35 10,100-15,-114 4</inkml:trace>
</inkml:ink>
</file>

<file path=ppt/ink/ink12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28:41.938"/>
    </inkml:context>
    <inkml:brush xml:id="br0">
      <inkml:brushProperty name="width" value="0.05292" units="cm"/>
      <inkml:brushProperty name="height" value="0.05292" units="cm"/>
      <inkml:brushProperty name="color" value="#0070C0"/>
    </inkml:brush>
  </inkml:definitions>
  <inkml:trace contextRef="#ctx0" brushRef="#br0">17462 10332 0,'36'17'47,"17"125"-32,53 87-15,-53 35 0,18-16 16,-19 16-16,-35-35 16,19 18-16,-36-52 15,0-2-15,0-34 16,0 35 0,0-140-1,0-108 79,-105-263-78,51 122-16,-34-51 15,52 70-15,-16-19 16,-1 2-16,17 69 15,-16-52-15,-1 34 16,35 37-16,1 34 16,-36-53-16,53 19 15,0 34-15,-36-53 16,1 19-16,18 34 16,-1-17-16,0 52 15,0-16 1,1 34-16,17-17 0,-17-1 15,51 19 189,230 17-189,-69-18 1,52 1-1,-1 0-15,90-54 0,16 18 16,-16-18 0,-36 54-16,-53-1 0,176-52 15,-299 51 1,0 2 0,-36-1-16,-54 1 0,2 17 15,-18 0 126,16 0-126,-15 17 1,-2 71 0,1-17-16,-18 53 15,34-1-15,-34 35 16,0 1-16,19 18 16,-19-1-1,0 0-15,0-17 0,0 0 16,0 18-16,0-89 15,0 35-15,0 1 16,0-19-16,0 2 16,0 15-1,0-51-15,0-18 16,17 1-16,-17 16 16,0 89-1,0-107-15,0-16 16,0 16-16,0 1 15,0-35 1,0 18-16,0-19 0,0 19 16,0-1-16,0-18 93,-36-17-46,-33 0-31,-2-35-16,-70 18 16,-36-2-16,37 2 15,-90-18-15,18 35 16,18 0-1,0 0-15,53 0 0,0 0 16,-18 0 0,0 0-16,35 0 0,-52 0 31,88 0-31,35 0 16,-52 0-16,34 0 0,0 0 15,-17 0 1,54 0-16,-20 0 15,18 0-15,19 0 16,0 0 0</inkml:trace>
  <inkml:trace contextRef="#ctx0" brushRef="#br0" timeOffset="6055.79">22066 11761 0,'71'0'110,"53"35"-95,52-35-15,0 0 0,36 0 16,70 0 0,18 0-16,35 0 0,-106 0 15,35 0-15,-52 0 16,54 0-1,-214 0-15,-35 0 172,19-35-156,-36-1 0,0-52-16,0-36 15,0 19-15,0-36 16,0 35-16,0-52 15,0 34-15,0 53 16,0-52 0,0 34-16,-17 1 0,17 36 15,0 16 1,-19 1-16,-50 35 219,-2 0-219,-124 0 15,107 0-15,-36 0 16,36 0-16,-17 0 16,17 0-16,17 0 15,-53 0 1,36-18-16,18 0 0,-53-16 15,34 34 1,-17-18-16,-18 0 16,-16 0-16,16 18 0,0-34 15,2 15 1,15 19-16,2 0 16,-37 0-16,54 0 15,-17 0-15,-2 0 16,-15 0-16,51 0 15,0 0-15,1 0 16,16 0-16,20 0 16,16 0-16,0 0 15,-34 0 126,52 19-125,0 15-16,-19 20 0,19 16 15,0-35-15,-17 36 16,17 70-16,0-53 15,0-17 1,0 34-16,0-34 16,0 53-16,0-36 0,0 0 15,0 0 1,0-35-16,0 18 16,0-18-16,0-18 15,0-1-15,0-15 16,0-2-1,0 18 157,36-35-156,34 0-16,0 0 16,19 0-1,51 0-15,-16 19 16,35-19-16,-53 0 15,-54 0-15,-34 0 16</inkml:trace>
  <inkml:trace contextRef="#ctx0" brushRef="#br0" timeOffset="10639.84">6209 14636 0,'17'17'15,"2"-17"1,-2 0-16,0 18 15,19-18 1,34 0 0,-17 18-16,18-18 15,34 0-15,178 0 16,-125 0 0,72 0-1,35 0-15,52 0 0,71 0 16,371 0-1,-319 0-15,231 0 16,-318 0 0,-72 0-1,19 0-15,-53 0 0,36 0 16,246 0 0,142 0-1,105 0 1,-159 0-1,-53 0 1,-176 0 0,-229 0-1,-71 0-15,18 0 16,-88 0 0,-1 0 202,36 18-202,89-18 0,-20 17-1,196-17 1,-106 0-16,0 0 15,17 0-15,-17 0 16,-71 0-16,35 0 16,-34 0-1,-108 0-15</inkml:trace>
  <inkml:trace contextRef="#ctx0" brushRef="#br0" timeOffset="16971.5">19174 3047 0,'123'-88'16,"-87"53"-16,16-1 0,1 1 15,71-35-15,-53 34 16,-2 1-16,-16-1 0,18 1 0,-18 1 0,18 15 15,-19-16-15,-16 18 0,17-2 16,-18 2-16,-18 0 0,1-1 16,0 1-16,0 17 0,-18-19 0,17 19 15,-17-17-15</inkml:trace>
  <inkml:trace contextRef="#ctx0" brushRef="#br0" timeOffset="17220.72">19879 2341 0,'35'-34'16,"-18"34"-16,2-19 0,16 19 0,1 0 0,-19 0 16,18 0-16,1 0 0,-2 0 15,20 0-15,-20 19 0,20-2 16,-18 0-16,-19 1 0,0 0 15,1 0-15,-18-1 0,17 0 0,-17 2 16,0 16-16,0-18 0,0 0 16,-17 19-16,17-18 0,-18-1 0,18 2 15,0-2-15,-17 0 0</inkml:trace>
  <inkml:trace contextRef="#ctx0" brushRef="#br0" timeOffset="17877.06">21185 1477 0,'0'-17'0,"-18"34"31,0 18-15,0 1-16,1-1 0,17 18 0,-17 0 15,17-1-15,-19 72 0,19-70 16,19-2-16,-19-16 0,0-2 16,17 2-16,-17-1 0,17-18 0,1 19 15,-18-18-15,18-1 0,0 2 16,16-2-16,-16-17 0,0 0 16,0 0-16,-1 0 15,-17-17-15,17 17 0,-17-19 16,19 19-16,-19-17 0,0-1 15,0 1-15,0-19 16,-19 19-16,19-1 0,-17 0 16,0 0-16,-1 18 15,0-17 1,0 34-16,1-17 16</inkml:trace>
  <inkml:trace contextRef="#ctx0" brushRef="#br0" timeOffset="18366.18">21466 1831 0,'0'0'15,"19"17"1,-19 0-1,17 18 17,0-16-17,-17-2-15,18-17 32,0 0-17,0-17-15,-1 17 16,0 0-1,1 0-15,0 0 16,0 0-16,-1 17 16,0-17-1,-17 17 1,19-17-16,-2-17 47,1 0-16,18-2-15,-19 19-1,0-17-15,1 17 16,-18-18-16,17 18 16</inkml:trace>
  <inkml:trace contextRef="#ctx0" brushRef="#br0" timeOffset="19095">21978 1760 0,'0'35'31,"17"-35"-15,2 36 0,-2-19-16,1-17 15,16 0 1,-15 0-1,-2 0-15,1-17 16,-18-2-16,0 2 16,-18-18 15,1 35-31,-2 0 0,19-19 16,-17 19-1,0 0-15,-1 19 16,70-38 15,-16 19-15,-18-17-1,18 17 1,-19 0 0,0 17-16,1-17 15,0 19 1,0-19-1,-1 0-15,0 17 32,1-34-1,0 17-31,0 0 16,-1-19-16,0 19 15,19-34 1,-18 34-16,-1-18 15,0-18-15,2 19 0,-2-18 16,1-1-16,-1 19 0,-17-19 16,0 19-16,19-18 0,-19 16 15,0-33-15,0 35 0,0-2 16,0 2-16,0 0 0,0-1 16,0 0-1,17 71 1,0-36-16,-17 2 0,0-2 15,0 18-15,0-18 0,18 19 16,-18 18-16,18-37 16,-18 0-16,0 19 0,18-18 0,-18-1 0,17-17 15,-17 17-15</inkml:trace>
  <inkml:trace contextRef="#ctx0" brushRef="#br0" timeOffset="19379.97">22913 1265 0,'0'-53'0,"-18"36"0,18-1 15,0 72 1,0-37 0,0 0-16,-17 1 0,17 0 15,0 34-15,0-16 0,0-18 0,0-1 16,0 0-16,0 19 15,0-18-15,0-1 0,0 2 16,0 15 0,0-16-1</inkml:trace>
  <inkml:trace contextRef="#ctx0" brushRef="#br0" timeOffset="19735.72">22419 1583 0,'52'-52'31,"-33"52"-31,16-19 0,1 2 16,16-1-16,-16 1 0,16-2 0,-16 2 15,-2 0-15,2-1 0,-18 1 16,18 17-16,-2-19 0,-16 2 0,18 17 15,-19-17-15,0 17 0,1 0 16,0-18 0,0 36-1,-18 16 1,17-34 0,-17 19-16,0-2 0,17-17 0,-17 18 15,18 35-15,0-36 16,-18 1-16,0-1 15,0 2-15,0-2 0,0 0 16,0 1-16,-18 0 16,18 0-16,-18-18 15,18 17-15,-17-17 0,17 17 16,-17-17-16</inkml:trace>
  <inkml:trace contextRef="#ctx0" brushRef="#br0" timeOffset="20907.98">23425 1160 0,'0'-17'0,"-18"34"31,18 0-31,0 1 0,0-1 15,0 36-15,0-35 0,0 0 0,18 53 16,-1-54 0,-17 1-16,17-1 0,2 0 15,-2 2-15,1-2 16,-1-17 0,19-36-1,-36 19-15,0 0 0,0-1 16,0 1-16,0-2 0,0 2 15,-19 0-15,19-1 0,0 0 16,0 0-16,0 1 16,0 0-1,36 51 1,-1 2-16,-35-18 16,19-1-16,-2 0 0,0-17 15,1 36-15,0-36 0,0 18 16,-1-1-1,0 0-15,19-17 32,-36-17-17,18 0 1,-18-1-16,0 1 0,17 17 16,-17-19-16,17 2 0,-17 0 15,19 17-15,-19-18 0,17 0 16,-17 0-16,18 1 0</inkml:trace>
  <inkml:trace contextRef="#ctx0" brushRef="#br0" timeOffset="21106.43">24095 895 0,'18'-18'16,"-18"1"0,0 52-1,0-17 1,0 17-16,0 36 15,0-37-15,0 2 16,0-1-16,0 1 0,0-1 16,0 1-16,-18-2 0,18 2 0,18-18 15,-18-1-15,0 0 0,17 19 16</inkml:trace>
  <inkml:trace contextRef="#ctx0" brushRef="#br0" timeOffset="21968.65">24483 1231 0,'-18'-19'0,"-17"19"15,35 19 1,0-2-16,17-17 15,-17 17 1,18-17-16,-18 18 0,18-18 0,0 18 16,-1-18-16,0 18 15,2-1-15,-2-17 16,-17 17-16,18 2 0,-1-2 16,-17 1-16,17-1 15,-17 19-15,0-19 16,-17 1-16,17-1 15,0 2-15,0-2 0,17-34 47,2-2-31,-19 2-16,17-1 0,1 1 16,-18-2-16,17 19 0,2-17 0,-19 0 15,17-1-15,-17 1 0,17-2 16,1 2-16,-18 0 0,17-1 15,-17 0 1,0 36 47,0 0-48,19-1 1,-2-17-1,0 0 1,1 0-16,0 0 16,0 0-16,-1-17 15,0 17 1,2 0-16,-2-18 31,1 36 63,-1-18-63,0 0-15,2 0-1,-2 0-15,1 0 16,-1-18-16,2 18 16,-2 0-16,-17 18 15</inkml:trace>
  <inkml:trace contextRef="#ctx0" brushRef="#br0" timeOffset="23198.71">24413 1195 0,'-19'-18'0,"19"53"31,0-16-16,19-2-15,-2 0 16,0-17-16,37 0 31,-37 0-31,0-17 0,2 17 16,-2-17-16,18-2 16,-18 19-1,2 0 1,-2 36-1,1-19-15,-18 1 0,17 52 16,-17-34-16,0-1 0,19 1 0,-19-1 16,-19 1-16,19 16 15,0 1-15,-17-18 0,17 1 0,-35 17 16,16-36-16,2 18 0,0-16 16,-1-2-16,1 0 0,-2-17 15,19 18-15,-17-18 0,0 0 16,-1 0-16,0 0 0,18-18 15,0 1-15,0 0 16,0-2-16,18 2 0,-18-1 16,18 1-16,-18-2 0</inkml:trace>
  <inkml:trace contextRef="#ctx0" brushRef="#br0" timeOffset="23916.78">24835 1372 0,'0'-19'0,"0"38"0,0-55 16,18 1 0,-18 17-1,0 0-15,0 1 16,0 0-1,-35 34 1,18 0 15,17 1-31,0 0 0,0 0 16,0-1-16,0 0 16,17-17-16,18 19 15,1-19 1,-19 0-16,0 0 0,2 0 0,16-19 31,-18 2-31,0 17 0,2-17 16,-19-1-16,17 18 15,-17-18 1,-17 18 15,17 18 16,35 0-31,-18-18-16,-17 17 0,19-17 0,-2 0 15,-17 17 1,17-17 0,-17 19-16,18-19 0,0 17 31,0-34 16,16-2-32,-16 19-15,-18-17 16,18 17-16,0-17 0,-1 17 16,0-18-16,2 18 15,-2-18-15,1 18 16,-1-18-16</inkml:trace>
  <inkml:trace contextRef="#ctx0" brushRef="#br0" timeOffset="25097.85">21555 2219 0,'299'-178'16,"-210"126"-16,17-1 0,-1-18 0,19 18 15,-19-18-15,-17 19 16,54-54-16,-72 71 0,1-36 16,-18 35-16,-70 19 15,-19 17 1,1 17-16,-18 2 0,-35 16 0,17 1 16,1-2-16,-89 54 15,18 19-15,70-72 0,19 18 0,16-18 16,1-18-16,17 19 0,0-19 15,18 1-15,18 0 16,18-18-16,-2 0 0,20-18 0,34 0 16,0-16-16,0-2 15,36-16-15,52-38 0,-70 20 16,-35 18-16,0-2 0,17-51 16,-54 52-16,-16-1 15,-36 20-15,18 16 0,-34 0 0,15 18 16,-33 0-16,-1 0 0,-18 18 0,-88 34 15,71 2-15,0-20 16,0 20-16,18-1 0,-1 18 16,18-19-16,-18 1 0,0 35 0,54-52 15,17-1-15,0 1 0,0-19 16,17 0-16,19 1 0,-1 0 0,18-18 16,18 0-16,0 0 0,17-18 15,17-17-15,72-18 0,-89 1 16,0 16-16,0-18 0,-17 2 15,0-1-15,17-52 0,-54 69 16,2-35-16,-36 54 0,0-1 16,-17 1-16,17-2 0,-36 19 15,19 0-15,-37 19 0,2-2 16,-1 35-16,-88 38 0,35 15 16,70-52-16,2-18 15,-2 1-15,18 16 0,18-16 16,0-1-1,18-18-15,0 2 0,0-19 16,-1 0-16,0 0 0,1-19 16,18 2-1,-36-1-15,-54 36 32,37-1-32,-18 2 0,-18 15 15,17 2-15,-16-1 0,-1 18 0,18-18 16,-72 72-1,90-73-15,0 1 0,17-16 16,17-2 0,0-17-16,1 0 15,18 0-15,-2 0 0,2-17 0</inkml:trace>
  <inkml:trace contextRef="#ctx0" brushRef="#br0" timeOffset="32554.92">25858 5904 0,'0'19'16,"36"-38"0,-19 19-1,1 0-15,0 19 0,0-19 16,16 34-1,-34-16-15,0 0 16,0 0-16,0-1 0,-17 0 0,0 1 16,-1 0-16,18 0 15,-36-1-15,19-17 16,17 17-16,-17-17 0,51 0 31,20 0-15,-37 19-1,0-19-15,2 0 16,-2 0-16,-17 17 0,18-17 0,-1 18 16,-52 35 15,18-53-31,-2 17 0,2-17 0,0 18 16,-19-1-1,18-17-15,1 0 0,0 0 0,-2 19 16,2-19-16,-1 0 0,1 0 0,0 0 31</inkml:trace>
  <inkml:trace contextRef="#ctx0" brushRef="#br0" timeOffset="33064.66">26211 5904 0,'-17'0'0,"0"0"16,-2 19-16,2-2 15,-1 0 1,18 1-16,0 0 16,18-18-1,-1 18-15,2-36 16,15 18-1,-16 0-15,0-18 16,0 18 0,-1 0-1,-17 18-15,0 17 16,0-18 0,0 1-16,0 0 0,0 0 15,0-1-15,0 0 0,0 2 16,0-2-16,0 18 15,0-16-15,0-2 0,17-17 16</inkml:trace>
  <inkml:trace contextRef="#ctx0" brushRef="#br0" timeOffset="33456.08">26705 5993 0,'-18'0'16,"1"0"-16,-36 18 15,35-18-15,18 17 16,-17 0-16,0-17 0,-2 18 0,2 0 16,-37 34-1,37-33 1,34 16 0,19-35-1,-36 17 1,18-17-16,-1 0 0,2 0 0,-2 0 0,0 0 15,1 0-15,18 0 0,-19 0 16,0-17-16,19 17 16,-18-18-16,-1 18 0</inkml:trace>
  <inkml:trace contextRef="#ctx0" brushRef="#br0" timeOffset="33657.04">26775 5923 0,'0'-19'0,"0"38"15,-34-2 1,34 0-16,-18 1 16,18 0-16,-18 0 0,18 16 0,0-16 15,0 0-15,-18 17 0,18 1 16,0-19-16,-17 1 0,17 18 16,0-19-16,0 18 0,0 1 0,0-19 15,0 0-15,17 19 16</inkml:trace>
  <inkml:trace contextRef="#ctx0" brushRef="#br0" timeOffset="34425.93">27163 5993 0,'0'18'16,"19"-1"-16,-19 18 31,0-17-31,0 0 0,0-1 16,17 19-16,-17-19 0,0 1 0,0-1 15</inkml:trace>
  <inkml:trace contextRef="#ctx0" brushRef="#br0" timeOffset="34690.76">27041 6169 0,'34'-36'32,"-15"36"-32,-2 0 15,1-17-15,-1 17 0,36 0 16,-35 0-16,-1-17 0,2 17 15,15 0-15,2 0 16,-18 0-16,-1 0 0</inkml:trace>
  <inkml:trace contextRef="#ctx0" brushRef="#br0" timeOffset="36898.97">27023 6433 0,'-18'0'0,"0"0"15,72 0 32,-37-17-31,0 17-16,19 0 0,-18 0 0,16 0 16,56-17-1,-56-1-15,2 18 0,-1-18 0</inkml:trace>
  <inkml:trace contextRef="#ctx0" brushRef="#br0" timeOffset="37465.87">27729 6081 0,'0'52'31,"0"-16"-31,-18-18 15,18-1-15,0 2 0,0 15 0,-18 37 16,18-54-16,0 1 16,-18 52-1,36-51-15</inkml:trace>
  <inkml:trace contextRef="#ctx0" brushRef="#br0" timeOffset="38379.87">28029 6152 0,'105'17'0,"-105"1"16,17-1-16,-34 19 15,17-19-15,-17 1 0,-19 18 16,18-19-16,18 0 16,-17 1-16,0-18 0,17 18 15,-19 0-15,2-1 16,17 0-1,17-17 1,2 0-16,33-17 16,-16 17-16,-19 0 15,0-17-15,19 17 0,35-18 16,0 0 0,-54 0-16,0 18 0</inkml:trace>
  <inkml:trace contextRef="#ctx0" brushRef="#br0" timeOffset="39119.16">28451 6099 0,'18'0'31,"18"-18"-15,-19 18-1,19-18 1,-19 36 0,1 17-1,-18-18 1,0 2-16,0-2 0,0 1 0,0-1 15,0 36 1,0-18-16,0-16 0,0-2 16,-18 0-16,18 1 0,0 0 15,0 0-15,0-1 16,18 0 0</inkml:trace>
  <inkml:trace contextRef="#ctx0" brushRef="#br0" timeOffset="42614.73">27729 6716 0,'-18'0'15,"53"17"1,-35 1-16,17-18 0,1 0 16,35 18-1,-36 0-15,19-18 0,-18 0 0,18 0 16,33 17-16,-33-17 0,-1-17 16,18 17-16,0 0 0,-1-18 0,2 0 15,-1 0-15,-1 1 16,1 0-16,-17-1 0,16 0 0,2 0 15,-20 1-15,2-19 0,-1 19 0,1-1 16,-1 1-16,-17-2 0,0-15 16,-1 16-16,0 1 0,1-2 0,0-15 15,0 16-15,-18-18 0,17 2 16,-17 15-16,0-16 0,0 1 0,0 15 16,0-16-16,0-1 0,0 2 15,-17-20-15,-1 20 0,0-2 0,0-16 16,-16 16-16,16 1 0,-18-1 15,2 19-15,-2-18 0,1 16 0,-1-15 16,-16 16-16,16 0 0,-17 0 16,1 18-16,-2 0 0,1 0 0,18 0 15,-35 0-15,16 18 0,-16-18 0,18 18 16,-2 0-16,1 16 0,1-15 16,-1 16-16,-1 18 0,2-18 0,16 1 15,2 16-15,-2 1 0,1-18 16,16 18-16,2 0 0,0-18 15,-1 18-15,18 1 0,-17-2 0,17-16 0,17-2 16,-17 2-16,0-1 0,18 1 16,-18-1-16,17 18 15,0 0-15,2-18 0,-2-18 16,-17 1-16,0 0 0,18-18 16</inkml:trace>
  <inkml:trace contextRef="#ctx0" brushRef="#br0" timeOffset="44564.69">5679 4864 0,'-17'0'16,"70"17"31,-18-34-31,18 17-16,106-17 15,-88-2-15,-18 19 16,-1 0-16,19-17 0,-18 17 0,18-18 15,-19 18-15,18-17 0,-16 17 16,70-17-16</inkml:trace>
  <inkml:trace contextRef="#ctx0" brushRef="#br0" timeOffset="44761.98">7373 4688 0,'18'-19'0,"0"19"0,-1 0 15,0 0-15,1-17 0,18 17 0,-2-17 16,2 17-16,123-36 16,-106 36-16,17 0 0,-17-18 15,0 18-15</inkml:trace>
  <inkml:trace contextRef="#ctx0" brushRef="#br0" timeOffset="44960.72">9207 4511 0,'54'-18'16,"-37"18"-16,0 0 15,19 0-15,-18 0 0,16 0 16,2 0-16,-1 0 0,1 0 0,-1 0 16,1 0-16,-2 0 0,20 0 15</inkml:trace>
  <inkml:trace contextRef="#ctx0" brushRef="#br0" timeOffset="45098.69">10337 4564 0,'70'0'0,"-52"0"0,-1 0 16,-17-17-16,17 17 0,2 17 0,16-17 15,1 0-15</inkml:trace>
  <inkml:trace contextRef="#ctx0" brushRef="#br0" timeOffset="45227.3">10954 4635 0,'35'17'15,"-17"-17"-15,-71-17 0,124 34 0,-54-17 0,0 0 16,1 0-16,0 0 16,0 0-16,-1 0 0,19-17 0,-1 17 0,-18 0 15,36 0-15,-18 0 0,18 0 16</inkml:trace>
  <inkml:trace contextRef="#ctx0" brushRef="#br0" timeOffset="46199.68">12118 4776 0,'71'-17'0,"-1"17"16,-35-19-16,-18 19 0,37 0 15,-18 0-15,-2 0 0,72-17 16,-36 17-16,-16 0 0,-1 0 16,18 0-16</inkml:trace>
  <inkml:trace contextRef="#ctx0" brushRef="#br0" timeOffset="46373.33">13723 4688 0,'18'0'16,"-18"-19"-16,17 19 0,2 0 15,-2 0-15,0 0 0,37 0 16,-20 0-16,-16 0 16,0-17-16</inkml:trace>
  <inkml:trace contextRef="#ctx0" brushRef="#br0" timeOffset="46518.77">14641 4669 0,'34'0'0,"-68"0"0,86 0 16,-16 0-16,-2 0 16,-15 0-16,16 0 15,-18 0-15,0 0 0</inkml:trace>
  <inkml:trace contextRef="#ctx0" brushRef="#br0" timeOffset="46663.74">15629 4740 0,'17'19'15,"18"-38"-15,-18 19 0,19 0 16,-19 0-16,1 0 0</inkml:trace>
  <inkml:trace contextRef="#ctx0" brushRef="#br0" timeOffset="46816.29">16827 4723 0,'54'0'15,"-108"0"-15,125 0 0,-54 0 0,2 0 16,-2 0-16,1 0 16</inkml:trace>
  <inkml:trace contextRef="#ctx0" brushRef="#br0" timeOffset="46975.65">17639 4723 0,'35'0'15,"-18"0"-15,-69 0 0,123 0 0,-54 0 16,18 0-16,-35-18 16,19 18-16,-2 0 0,18 0 15,1 0-15,-19 0 0,0 0 16</inkml:trace>
  <inkml:trace contextRef="#ctx0" brushRef="#br0" timeOffset="47122.93">18538 4688 0,'107'0'16,"-73"0"-16,-16 0 0,0 0 16</inkml:trace>
  <inkml:trace contextRef="#ctx0" brushRef="#br0" timeOffset="47255.47">19121 4688 0,'17'0'0,"-34"0"16,87 0-1,-52 0-15,-1 0 0,2-19 16,-2 19-16,0 0 0,1 0 16,-1 0-16,2 0 0</inkml:trace>
  <inkml:trace contextRef="#ctx0" brushRef="#br0" timeOffset="47372.09">19773 4688 0</inkml:trace>
  <inkml:trace contextRef="#ctx0" brushRef="#br0" timeOffset="47669.98">20690 4759 0,'19'0'0,"-2"0"0,0 0 15</inkml:trace>
  <inkml:trace contextRef="#ctx0" brushRef="#br0" timeOffset="47881.94">21043 4793 0,'0'0'16</inkml:trace>
  <inkml:trace contextRef="#ctx0" brushRef="#br0" timeOffset="49855.31">6774 3683 0,'-19'34'0,"19"-16"15,-17-18-15,17 17 0,-17-17 16,17 19-16,17-55 47,0 36-32,2-35-15,-2-1 0,1 19 16,-18-1-16,17 1 0,0-19 16,2 19-16,-2-1 0,1 1 0,-1-19 15,2 19-15,-2 17 0,-17-18 16,17 18-16,1 0 16,0 0-16,0 18 15,-1-1-15,-17 0 0,17-17 16,-17 19-16,18-2 15,-18 1-15,0-1 0,18 0 0,-18 2 16,0-2-16,18 1 0,-18-1 16,0 2-16,17-2 15,-17 0-15</inkml:trace>
  <inkml:trace contextRef="#ctx0" brushRef="#br0" timeOffset="50077.61">7003 3576 0,'-36'53'15,"36"1"1,0-20-16,0 37 0,0-36 16,0 35-16,0-16 0,0 104 15,18-104 1,-18-2-16,18 37 15,-18-37-15,18-16 0,-18-1 16,0-18-16,17 2 0,-17-2 16</inkml:trace>
  <inkml:trace contextRef="#ctx0" brushRef="#br0" timeOffset="50367.96">6879 4388 0,'0'17'15,"0"18"-15,18-35 16,-18 19-16,17-19 0,-17 17 0,36 0 16,-19-17-16,1 18 15,18-18-15,-19 0 16,0 0-16,1 0 15,0-18-15,0 18 16,-1-17-16,-17 0 0,17-2 16,2-16-16,-19 18 0,17-19 15,-17 19-15,18-18 0,-18 16 16,17-15-16,-17 16 0,17 0 16</inkml:trace>
  <inkml:trace contextRef="#ctx0" brushRef="#br0" timeOffset="50659.69">7355 3893 0,'36'19'15,"-36"-2"-15,0 1 16,0-1-16,0 0 0,0 19 15,0-1 1,0-16-16,18-2 16,-18 0-1,0 1-15,17-18 16,-17 18-16,17-18 16,1 0-1</inkml:trace>
  <inkml:trace contextRef="#ctx0" brushRef="#br0" timeOffset="50890.79">7585 3876 0,'-18'-17'0,"36"34"0,-18 19 31,0-19-31,0 1 16,0 35-16,0-36 16,17 18-16,-17-16 0,0-2 15,0 18-15,19 1 16,-19-19-16,17 0 16,-17 1-16,0 0 15,17-18-15</inkml:trace>
  <inkml:trace contextRef="#ctx0" brushRef="#br0" timeOffset="51214.66">7902 3929 0,'0'52'31,"0"-33"-31,-17 16 0,17-18 16,-18 2-16,18-2 16,0 18-1,18-17-15,-1-18 16,0 0-1,19 0-15,-18-18 16,-1 18-16,19-18 16,-1-16-1</inkml:trace>
  <inkml:trace contextRef="#ctx0" brushRef="#br0" timeOffset="51387.87">8202 3841 0,'0'71'16,"0"-54"0,0 1-16,0-1 15,-17 36-15,-1 1 16,0-20-16,0 2 16,18-18-16,0-1 0,-17 0 15</inkml:trace>
  <inkml:trace contextRef="#ctx0" brushRef="#br0" timeOffset="52320.77">14111 4828 0,'-53'71'0,"36"-53"16,17 0-16,-18-1 0,0 0 16,18 2-1,-18-2-15,36-53 47,0 2-31,0 16-16,-1 18 15,0 0 1,2-18-16,-2 36 16,1 0-16,-1-1 15,2 0 1,-2-17-16,-17 19 15,17-2-15,1 1 16</inkml:trace>
  <inkml:trace contextRef="#ctx0" brushRef="#br0" timeOffset="52555.86">14199 4899 0,'-17'36'16,"0"17"-1,17-1-15,0-16 16,0-19-16,0 18 0,0 1 16,0 35-16,0-37 15,0-16-15,0 18 0,0-2 0,17 2 0,-17-18 16,0 35-1,0-18-15,0-18 0,-17 2 0,17-2 0</inkml:trace>
  <inkml:trace contextRef="#ctx0" brushRef="#br0" timeOffset="52872.9">14094 5640 0,'0'35'31,"0"-17"-31,17 0 0,18-1 31,-16-17-31,-19 17 0,34-17 16,-16-17-16,-1 17 15,2 0-15,15-17 16,-16-1 0,0 0-16,0 18 0,-18-18 15,0 1 1</inkml:trace>
  <inkml:trace contextRef="#ctx0" brushRef="#br0" timeOffset="53142.05">13070 5640 0,'36'-17'0,"-19"17"0,1 0 16,-18-18-16,17 18 0,2 0 0,-2 0 16,0-18-16,1 18 15</inkml:trace>
  <inkml:trace contextRef="#ctx0" brushRef="#br0" timeOffset="53341.15">13387 5481 0,'0'35'46,"0"-16"-46,0-2 16,0 18 0,0-17-16</inkml:trace>
  <inkml:trace contextRef="#ctx0" brushRef="#br0" timeOffset="53694.87">13458 5481 0,'19'0'16,"-2"0"-1,0 18 17,-17-1-32,0 2 0,0-2 15,-17-17-15,17 17 16,0 1-16,0 0 16,0 0-1,17-18 1,1 0-1,0-18-15,0 18 16,-1-18-16,0 0 16</inkml:trace>
  <inkml:trace contextRef="#ctx0" brushRef="#br0" timeOffset="53870.35">13741 5445 0,'17'19'31,"2"-2"-15,-19 1-16,0-1 0,0 2 15,0-2 1,0 0-16</inkml:trace>
</inkml:ink>
</file>

<file path=ppt/ink/ink12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29:56.611"/>
    </inkml:context>
    <inkml:brush xml:id="br0">
      <inkml:brushProperty name="width" value="0.05292" units="cm"/>
      <inkml:brushProperty name="height" value="0.05292" units="cm"/>
      <inkml:brushProperty name="color" value="#0070C0"/>
    </inkml:brush>
  </inkml:definitions>
  <inkml:trace contextRef="#ctx0" brushRef="#br0">10323 1283 0,'36'0'47,"157"0"-32,160 0 1,159 0-1,282 0 17,-318 0-32,1005 0 15,-810 0-15,105 0 16,-71 0-16,-34 0 16,-89 0-16,-142 0 15,-104 0-15,-106 0 16,-72 0-16,-35 0 15,-70 0 1,-35 0-16</inkml:trace>
  <inkml:trace contextRef="#ctx0" brushRef="#br0" timeOffset="5954.2">9741 7598 0,'-17'17'0,"-2"2"0,2-19 0,0 17 16,17 0-16,-54 19 0,37-1 15,0-18-15,-19 2 0,18-2 0,1 1 16,0-1-16,-2 0 16,19 2-16,-17-2 0,-1 1 15,18-1-15,-17-17 0,17 19 0,17-2 31,-17 0-31,18-17 0,-1 0 0,2 18 16,-2-18-16,18 0 0,-17 0 0,17 18 16,-18-18-16,19 0 0,-18 0 15,-1 0-15,19 0 0,-19 0 16,18 0-16,-16 0 0,-2 0 0,0 0 16,1 0-16</inkml:trace>
  <inkml:trace contextRef="#ctx0" brushRef="#br0" timeOffset="6170.76">10059 7775 0,'0'-19'16,"0"55"15,-18-18-31,18 16 15,0-15-15,-17-2 0,17 1 0,0-1 16,-19 2-16,19 33 16,0-34-16,19 0 15</inkml:trace>
  <inkml:trace contextRef="#ctx0" brushRef="#br0" timeOffset="6397.67">10323 7686 0,'0'-35'0,"18"35"16,-18-17-16,18 34 31,-18 0-15,0 1-16,0 0 0,0 0 16,0 16-16,17 20 15,-17-37-15,0 36 0,0-35 16,0-1-16,17 2 0,-17-2 0,0 0 15,0 1-15,0 0 0,19 0 16,-19-1-16,0 0 16</inkml:trace>
  <inkml:trace contextRef="#ctx0" brushRef="#br0" timeOffset="6609.89">10005 8004 0,'-17'-18'15,"53"18"-15,-36-18 0,17 18 16,18 0-16,1-17 16,16 17-16,-16-17 0,17-2 15,-18 19-15,18 0 0,-18-17 0,18-1 16,-18 18-16</inkml:trace>
  <inkml:trace contextRef="#ctx0" brushRef="#br0" timeOffset="6890.14">10835 7704 0,'-18'-18'16,"1"18"-16,-19 0 16,19 0-1,-1 18-15,0 0 16,36 35-1,0-36 1,-1 18-16,0-18 0,2 2 16,-2-2-16,1 1 0,-18-1 0,17 2 15,2 15-15,-2-16 16,-17 0-16,0 0 16,0 34-16,-17-34 15,-19 17-15,-18 1 16,20-19-16,-2 1 0,-52 18 15,53-19-15,-1-17 16,1 17-16,18-17 0</inkml:trace>
  <inkml:trace contextRef="#ctx0" brushRef="#br0" timeOffset="7691.42">13499 7810 0,'52'17'16,"-16"-34"-16,-19 17 0,36 0 16,-1 0-16,-16 17 15,18-17-15,-37 0 16,0 0-16</inkml:trace>
  <inkml:trace contextRef="#ctx0" brushRef="#br0" timeOffset="7923.59">13551 8022 0,'-18'0'0,"72"0"47,-37 0-47,0 0 0,2-18 15,16 18-15,35-18 0,1 18 16,-36-18-16,-18 18 15,19 0-15,-1-17 0,1 17 16,-19 0 0,0 0-16,2 17 15</inkml:trace>
  <inkml:trace contextRef="#ctx0" brushRef="#br0" timeOffset="8483.73">17449 7615 0,'0'-35'15,"-17"106"1,17-54-16,0 19 0,0 16 16,0-16-16,0-1 15,0 36-15,-17-18 16,17 0-16,0-35 0,0 16 16,0-16-16,0 0 0,0 0 15,17-1-15,-17 0 16,17-17-16</inkml:trace>
  <inkml:trace contextRef="#ctx0" brushRef="#br0" timeOffset="8910.81">17608 7546 0,'53'-19'16,"-106"38"-16,141-38 0,-71 19 0,2 0 16,-2 0-16,-17 19 0,35-19 15,-16 34-15,-19-16 16,0-1-16,-19 2 0,2-2 0,-1 18 15,1 1-15,-19-2 0,19 2 16,-37-1-16,20 1 0,16-19 16,0 1-16,0-1 15,1 2 1,17-2-16,0 0 16,17-17-1,-17 18-15,18-18 0,0 18 16,17 0-16,-18-18 15,2 17-15,-2-17 0,1 0 0,-1 17 16,0-17-16,19 0 16,-18-17-16,-1 17 0</inkml:trace>
  <inkml:trace contextRef="#ctx0" brushRef="#br0" timeOffset="9147.45">18067 7651 0,'0'-17'0,"0"69"47,0-34-47,0 0 16,-18-1-16,18 19 0,0-19 15,0 1-15,-17 35 0,17-18 16,0 1-16,0-19 0,0 0 15,0 1-15,0 18 16,17-19 0</inkml:trace>
  <inkml:trace contextRef="#ctx0" brushRef="#br0" timeOffset="9395.36">18225 7722 0,'18'-36'0,"-18"18"0,0 1 15,0 52 32,0-17-47,0 0 16,0-1-16,18 19 0,-18 16 16,0 1-16,18-18 15,-18-16-15,0-2 16,0 0-16,17 1 0,-17 0 15,0 0-15,17-1 0,-17 0 16</inkml:trace>
  <inkml:trace contextRef="#ctx0" brushRef="#br0" timeOffset="9614.01">17996 7986 0,'17'-35'15,"37"18"1,-18-2-16,-2 19 16,1-17-16,1 17 15,17-18-15,-18 18 16,106-36-16</inkml:trace>
  <inkml:trace contextRef="#ctx0" brushRef="#br0" timeOffset="9922.48">18772 7668 0,'-88'18'0,"176"-36"0,-229 36 15,123-18-15,1 0 16,0 18-16,-2-18 0,2 0 15,17 35 1,17-18-16,2 2 16,15 16-16,2-1 15,-1 2-15,-18-36 0,-17 18 16,19-1-16,-2 19 16,-17-19-16,0 1 15,0 0-15,-17 0 0,-2-1 16,2 0-16,-36 1 0,1 18 15,-19-19-15,0 0 16,54 2 0,-19-19-16,1 17 0,-35 1 15,52-18-15,-18 17 0</inkml:trace>
  <inkml:trace contextRef="#ctx0" brushRef="#br0" timeOffset="13431.03">13163 10367 0,'18'17'16</inkml:trace>
  <inkml:trace contextRef="#ctx0" brushRef="#br0" timeOffset="15670.13">12335 10208 0,'69'-122'0,"-33"86"16,-1-18-16,1 2 0,-2-1 0,54-35 16,-34 35-16,-1 1 0,-18 16 15,1 1-15,-2-1 0,20 1 16,-20-1-16,20 19 0,-18-18 0,-2 17 16,20-17-16,-20 18 0,2-2 15,-18 2-15,16 17 0,-16-18 16,18 1-16,-19 17 0,0-19 0,2 2 0,16 17 15,-35-17-15,17 17 0,2 0 16,-2-18-16,0 18 0,1 0 16,-1-17-16</inkml:trace>
  <inkml:trace contextRef="#ctx0" brushRef="#br0" timeOffset="20418.72">11293 6610 0,'0'18'31,"0"0"-31,-17 35 16,17-36-16,-17 1 15,17-1-15,0 19 0,0-19 0,0 1 16,-19-1-16,19 2 16,0-2-16,0 0 0,0 1 15</inkml:trace>
  <inkml:trace contextRef="#ctx0" brushRef="#br0" timeOffset="20879.98">11717 6680 0,'-70'0'16,"51"0"-16,19 19 16,-17-19-16,-1 17 15,36 18 1,-1-16-1,2-2-15,-2 0 16,0 1-16,1-1 0,0 2 16,-18-2-16,0 0 15,0 19 1,-18-18-16,0-18 0,-16 34 16,15-16-1,2-18-15,-1 0 0,1 18 0,-19-18 16,19 0-16,-1 18 15</inkml:trace>
  <inkml:trace contextRef="#ctx0" brushRef="#br0" timeOffset="21132.22">12052 6787 0,'-17'35'31,"-2"-35"-31,2 17 0,-1 2 0,1-19 16,0 17-16,-2 18 0,-16-17 15,18 0-15,-2-1 0,-15 0 0,16 1 16,0 0-16,0 0 0,1-1 15,0 0-15,17 2 0,-18-19 0</inkml:trace>
  <inkml:trace contextRef="#ctx0" brushRef="#br0" timeOffset="21326.29">12140 6858 0,'-17'34'16,"-1"-16"-16,0 0 16,0-18-16,1 18 0,-36 52 31,18-52-31,-1 16 0,19-15 0,-1-2 0,-18 18 16</inkml:trace>
  <inkml:trace contextRef="#ctx0" brushRef="#br0" timeOffset="27562.19">17555 6399 0,'-18'71'31,"18"-54"-31,0 18 16,0-17-16,0 0 0,0-1 16,0 0-16,0 1 15,0 0-15,0 0 16</inkml:trace>
  <inkml:trace contextRef="#ctx0" brushRef="#br0" timeOffset="27982.77">17961 6470 0,'-53'0'0,"106"0"0,-123 0 16,52 17-16,0-17 0,0 17 16,1-17-1,17 18 1,17 0-16,-17 0 15,18-1-15,0 0 0,-18 1 16,18-18-16,-18 18 0,17 0 0,-17-1 16,0 0-16,0 2 15,0-2-15,0 1 0,-17-1 16,-1 2-16,0-19 16,0 17-16,1-17 0,-54 17 15,35 1-15,2-18 0,-1 17 16,-1-17-16,-17 0 0</inkml:trace>
  <inkml:trace contextRef="#ctx0" brushRef="#br0" timeOffset="28918.89">14168 6822 0,'-17'0'0,"70"0"31,-36 0-31,19 0 0,16-18 16,-34 18-16,18 0 16,-2-17-16,2 17 0,18 0 15,-37 0-15</inkml:trace>
  <inkml:trace contextRef="#ctx0" brushRef="#br0" timeOffset="29083.2">14239 7034 0,'0'0'0,"36"0"15,16 0 1,-34 0-16,0 0 0,-1 0 0,19-18 16,-19 18-16,1 0 0</inkml:trace>
  <inkml:trace contextRef="#ctx0" brushRef="#br0" timeOffset="29783.43">12069 7298 0,'564'-318'16,"-510"266"-16,-1-18 15,0 16-15,17-70 16,-34 36-16,-19 18 0,-17-1 16,-17-69-16,-1 69 0,-18 1 15,-34-72-15,-72 54 0,73 52 16,-20 2-16,1 16 15,0 0-15,0 0 0,-18 18 0,17 0 16,-16 0-16,-1 18 0,0 0 0,-105 34 16,104 2-16,2-1 15,-2 18-15,-69 87 0,35 1 16,106-71-16,-18-17 0,18 17 16,17 0-16,18 0 0,0-18 15,18 1-15,34 70 0,2-70 16,-1-19-16,35-16 0,105 35 15,-69-37-15,-18-15 16,35-2-16,0-17 0,1 0 0,16-17 16,1-2-16</inkml:trace>
  <inkml:trace contextRef="#ctx0" brushRef="#br0" timeOffset="30535.76">17837 5552 0,'-105'-36'0,"210"72"0,-263-89 16,87 53-16,0 0 0,1 0 0,-18 17 15,0 1-15,-18 18 0,-71 34 16,72 1-16,-1 0 15,17-1-15,18 0 0,2 19 0,-2 16 16,35-34-16,-34 122 0,52-103 16,1 103-16,34-105 0,1 0 15,52 53-15,1-70 16,70 53-16,-53-72 0,0-16 16,212 52-16,-194-71 15,88 2-15,-88-38 16,71-15-16,-89 16 0,0-18 15,-17-17-15,87-35 0,-34-17 16,-54 34 0,19-70-16,-54 70 0,-18-17 15,2-53-15,-38 70 0,-33-69 16,-1 69-16,-1 1 16,2 16-16,-89-70 0,70 72 15,1 16-15,-89-34 0,88 35 16,1-1-16,16 19 0,-68-1 15,86 1-15,18 17 16,1 0-16,17 17 0</inkml:trace>
  <inkml:trace contextRef="#ctx0" brushRef="#br0" timeOffset="31419.6">21753 5799 0,'35'-124'16,"-35"107"-16,0-1 0,-17 36 31,-18 35-31,-1-1 0,-69 177 16,17-17 0,0 18-16,52-142 15,-35 89-15,19 16 16,16-122-16,-17 88 15,35-89-15,1-16 0,17-20 0,-17 2 16,-2 16-16,2-16 16,17-18-16</inkml:trace>
  <inkml:trace contextRef="#ctx0" brushRef="#br0" timeOffset="31693.06">20660 5623 0,'476'229'0,"-283"-53"15,-86-70-15,-2-18 0,125 106 16,16 0-16,-139-105 15,140 87-15,-142-105 16,2 17-16,-2-18 0,160 89 16,-195-124-16,0 1 0,1 17 15,-35-36-15,52 35 16,-53-52-16,18 19 16</inkml:trace>
  <inkml:trace contextRef="#ctx0" brushRef="#br0" timeOffset="36897.12">12493 14918 0,'-18'0'47,"-17"0"-47,-70 0 0,-73 0 16,-32 0-1,-73 0-15,-52 0 0,-106 0 16,-142 0 0,19 0-16,-160 0 15,143 0-15,157 0 16,36 0-16,53 70 15,177-51-15,-1-2 16,71 1-16,52-18 16</inkml:trace>
  <inkml:trace contextRef="#ctx0" brushRef="#br0" timeOffset="37681.07">6955 14759 0,'0'0'0,"-19"0"0,-50 19 16,-38-2-1,-16 35 1,-1-33 0,54 33-1,52-34 17,-18 0-32,19-1 46,17 0-30,0 2 0,0-2-1,17 18-15,19 1 16,-1-36-16,18 35 16,1 1-1,34 16-15,-18-16 0,53 16 16,-35-34-16,19 17 15,-90 1 1,36-19-16,-18-17 0,1 18 16,-36-1-1,35-17 126</inkml:trace>
  <inkml:trace contextRef="#ctx0" brushRef="#br0" timeOffset="38761.15">15297 14671 0,'-17'0'31,"17"17"-15,0 2-1,53-2 1,53 1-16,52-18 15,1 0-15,53 0 16,0 0-16,105 0 16,318 0-1,-247 0-15,335 0 16,-246 0-16,-1 0 16,105 0-16,90 0 15,-107 0-15,600 0 16,-635 0-1,1 0 1,-160 0-16,-16 0 0,-73 0 16,-52 0-1,-51 0-15,-20 36 0,-52-36 16,-36 34-16</inkml:trace>
  <inkml:trace contextRef="#ctx0" brushRef="#br0" timeOffset="39825.29">24435 14583 0,'0'17'16,"34"19"-1,-16-1-15,35-18 16,0 19-16,18-18 16,17-1-16,0 2 15,17-19 1,-69 17-16,-1-17 16,-16 0-1,-2 17 157,-17 18-141,-88 1-15,35-1 0,-18-17-16,-17 0 15,-17 35-15,15-36 16,2 1-1,18 16-15,35-15 0,-1-19 16,19 0 0</inkml:trace>
  <inkml:trace contextRef="#ctx0" brushRef="#br0" timeOffset="47033.89">3444 6628 0,'71'0'78,"246"0"-62,-17 18-16,35-18 15,53 0-15,582 0 16,-494 0 0,-88 0-16,18 34 15,-124-34-15,-16 0 16,-73 0-16,2 0 15,-37 0-15,-35 0 16,1 0-16,-36 0 16,124 0-1,-89 0-15,1 0 16,17 0-16,142 0 16,-90 0-1,178 0 1,-213 0-1,1 0-15,105 0 16,-140 0 0,-89-17-1,-17 17 48,-18-17-32,0-54-15,0 54-16,0-37 15,0-87 1,0 70 0,0-51-16,-18-2 0,0 0 15,18 36-15,-17 0 16,0-35-1,17 70-15,-18 17 16,18 1 0,0 0-1,-18 17-15,-34 18 157,-90 0-142,1 0 1,0 0-16,-53 0 0,-54 0 15,38 0-15,-56 0 16,37 0-16,-18 0 16,-175 0-1,-20 0 1,18 0 0,248 0-1,-212 0 1,212 0-16,-1 0 0,-16 0 15,34 0 1,18 0-16,-18 0 0,-106 0 31,159 0-31,1 0 16,34 0-16,-17 0 16,0 0-16,18 0 15,-108 0 1,108 0-16,-1 0 15,-88 0 1,71-18-16,18 1 16,-177-19-1,106 19-15,-89-18 16,160 35 0,-53-36-16,-89 19 15,141-1 1,1 18-16,18 0 15,16 0-15,-70-36 16,70 36 0,2-17-16,-2 17 15,1 0-15,-18 0 16,18 0 0,-1 17 62,36 107-63,0-18 1,0 71-16,0-1 16,0 0-16,0-17 15,0 141 1,0-194-16,0 17 15,0-52-15,0-1 16,0-52 0,0 18-1,19-36 173,139-19-173,-18 2-15,2 17 16,-1 0-16,-36-18 16,-34 18-16,-18 0 15</inkml:trace>
</inkml:ink>
</file>

<file path=ppt/ink/ink1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30:50.986"/>
    </inkml:context>
    <inkml:brush xml:id="br0">
      <inkml:brushProperty name="width" value="0.05292" units="cm"/>
      <inkml:brushProperty name="height" value="0.05292" units="cm"/>
      <inkml:brushProperty name="color" value="#0070C0"/>
    </inkml:brush>
  </inkml:definitions>
  <inkml:trace contextRef="#ctx0" brushRef="#br0">16439 6178 0,'18'0'94,"211"0"-78,-70 17-1,35-17-15,-52 0 16,16 0-16,18 0 16,-17 0-16,-35 0 15,17 0-15,-70 0 16,-2 0-1,-50 0-15,16 0 0,-18-17 16,2 0 0,-2-2 31,-17 2-32,17-1-15,1 1 16,-18 0-16,0-2 15,0 2-15,18-18 16,0-1 0,-1-16-16,-17 16 0,17-17 15,-17-18-15,18-34 16,-18 70-16,36-72 16,-36 55-1,0-1-15,0-35 16,0 35-1,0 35-15,0-35 16,0 18-16,0 17 16,0-17-16,0 18 15,0-1-15,0 0 16,0 0 0,-18 1 202,-35 0-202,-71 17 0,-69 0-1,51 0-15,-16 0 16,34 0-16,-16 0 15,33 0 1,-34 0-16,35 0 0,18 0 16,18 0-1,-36 0-15,36 0 0,-54 0 32,70 0-32,37 0 0,-88 0 15,51 0 1,20 0-1,-20 0-15,-51 0 16,34 0 0,-18 0-16,20 0 15,33 0-15,1 0 16,16 0 0,2 0 109,17 52-110,0 160 1,0 34-1,0 37 1,0-54 0,0-158-16,36 0 15,-19-37 1,-17-16-16,0 0 16,18 0 171,18-18-171,16 0-16,18 0 15,1 0-15,17 0 0,36 0 16,-1 0-16,-53 0 16,-16 0-16,-37 0 15,19 0 1,-19 0-16</inkml:trace>
  <inkml:trace contextRef="#ctx0" brushRef="#br0" timeOffset="2744.92">19579 8330 0,'18'0'78,"88"0"-62,53 0-16,0 0 0,105 0 16,-35 0-1,54 0-15,17 0 0,-71 0 16,-18 0-16,-53 0 15,-16 0 1,-89 0-16,-18 0 0,-17-17 78,-18-37-62,0 20-1,0-2-15,0-35 0,0-34 16,0 17-16,0-19 16,-53-16-1,36-18-15,-37 17 0,20 1 16,15 17 0,-33 0-16,16-18 0,1 72 15,35-1-15,0 36 16,0-2-1,-17 19-15,-2-17 94,-15 17-78,-37 0-1,-70 0-15,-18 0 0,-53 0 16,1 0 0,-71 0-16,-18 0 15,-35 0-15,-1 0 16,125 0 0,17 0-16,52 0 0,20 0 15,68 0-15,18 0 16,19 0-16,0 0 156,17 36-140,0-19-1,0 36-15,0-1 16,0 55 0,0-19-16,0 0 0,17 71 15,0-35-15,37-2 16,-54-15-1,17-2-15,2-34 16,15 88 0,-34-106-16,0-1 15,18-52-15,-18 19 16,0 15 78,0-16 46,36-1-108,16-17-17,37 0-15,16 0 0,54 0 16,0 0-1,35 0-15,0 0 16,-53 0-16,18 0 16,-18 0-1,-36 0-15,-51 0 0,-37 0 16</inkml:trace>
  <inkml:trace contextRef="#ctx0" brushRef="#br0" timeOffset="3937.67">18926 12546 0,'19'0'31,"139"0"-31,1 0 16,70 0-1,89 0-15,123 0 0,123 0 16,-35 0 0,247 0-16,-105 0 15,88 0-15,105 0 16,-106 0-16,-35 0 16,-106 0-16,-282 0 15,-35 0-15,-141 0 16,-35 0-16,-90 0 15</inkml:trace>
  <inkml:trace contextRef="#ctx0" brushRef="#br0" timeOffset="4914.81">19209 13957 0,'124'0'79,"264"0"-48,-107 0-31,55 0 15,140 0-15,107 0 16,174 0-16,-86 0 0,105 0 16,-18 0-16,1 0 15,634 0 1,-917 0 0,54 0-16,-89 0 15,-160 0-15,-33 0 16,-72 0-16,-52 0 15,-72 0 1</inkml:trace>
  <inkml:trace contextRef="#ctx0" brushRef="#br0" timeOffset="5920.54">18962 15157 0,'71'0'47,"105"0"-32,0 0-15,53 0 16,71 0-16,124 0 16,-36 0-1,88 0-15,17 0 0,19 0 16,18 0-1,-89 0-15,-160 0 0,-33 0 16,-72 0 0,-34 0-16,-90 0 15,-16 0-15</inkml:trace>
  <inkml:trace contextRef="#ctx0" brushRef="#br0" timeOffset="6618.48">19245 16621 0,'158'0'31,"53"0"-31,125 34 16,69 54-16,1-70 16,-158 0-1,50-18-15,-86 35 0,-53-35 16,0 0 0</inkml:trace>
  <inkml:trace contextRef="#ctx0" brushRef="#br0" timeOffset="32896.35">19862 1979 0,'71'0'32,"-54"0"-32,0-17 15,1 17-15,-1 0 0,2 0 0,-2 0 16,0 0-16,1 0 0,0-17 0,0 17 15,16-18-15,-15 18 16,16 0 0</inkml:trace>
  <inkml:trace contextRef="#ctx0" brushRef="#br0" timeOffset="33553.61">19721 1821 0,'52'18'31,"-34"-18"-31,0 0 0,-1-18 16,0 18-16,2 0 0,-2 0 0,1 0 16,18 0-16,-19-18 0,18 18 15,-18 0-15,19 0 0,-1-17 0,-17 17 16</inkml:trace>
  <inkml:trace contextRef="#ctx0" brushRef="#br0" timeOffset="34722.76">17674 2138 0,'36'0'31,"-19"0"-31,1-17 16,18 17-16,-19 0 0,18-18 0,-17 18 15,17-17-15,-18 17 0,19-17 16,-1-2-16,-18 19 0,2 0 0,-2-17 16,1 17-16,-18-18 15,17 18-15,-17-17 16,-17 34 31,17 1-47,0-1 15,0 2-15,-18 50 16,18-33-16,-17-19 0,17 19 0,0-1 16,-19 36-16,19-18 15,0-36-15,0 18 0,0-16 16,0-2-16,0 18 0,0-17 16,0 0-16,0-1 0,0 0 15</inkml:trace>
  <inkml:trace contextRef="#ctx0" brushRef="#br0" timeOffset="35034.66">18133 2438 0,'0'19'31,"17"-2"-31,2 0 15,-2 1-15,0-18 16,1 18-16,0-18 0,0 0 0,-1 0 16,0 0-16,1 0 15,18 0-15,-19-18 16,-17 0-16,17 18 16,-34-17-16,17 0 15,-17-2-15,-1 19 0,18-17 16,-36 17-16,19-18 15,0 18-15,-1 0 0,0 0 16,0-17-16,1 17 0,0 0 16</inkml:trace>
  <inkml:trace contextRef="#ctx0" brushRef="#br0" timeOffset="35258.85">18398 2050 0,'17'0'16,"-17"-17"-16,18 53 15,-1-19 1,-17 0-16,0 18 0,19-16 0,-19 15 0,17 2 16,-17-1-16,17 1 0,-17-19 15,18 35-15,-1 2 16,2-37-16,-19 2 0,17-2 0,-17 0 15,17 1-15,1 0 16</inkml:trace>
  <inkml:trace contextRef="#ctx0" brushRef="#br0" timeOffset="35880.32">18450 2421 0,'0'0'16,"19"-18"-16,-19 1 0,17 17 16,0-19-16,1 2 0,18 0 15,-19-1-15,0 1 0,19 17 16,-18-19-16,-1 2 0,0 0 16,1 17-16,0-18 0,0 0 31,-36 54 0,0-19-15,0 19-16,18-19 15,-17-17-15,17 18 16,17-1-16,-17 0 16,18-17-1,0 0-15,0 0 16,-1 0-16,19 19 31,-19-19-15,1 17-16,-1-17 15,2 0 1,-2-17-16,0-19 16,1 36-16,-18-17 15,0-1-15,17-18 0,-17 2 16,19-2-16,-19 18 15,0-16-15,17-2 16,-17 1-16,17 18 16,-17 34-1,18 0-15,-18 1 16,0-1-16,0 19 16,0-19-16,0 1 0,18 0 0,-18 0 15,0-1-15,0 0 0,0 2 16,18-2-16,-18 18 0,17-18 15,0 2-15</inkml:trace>
  <inkml:trace contextRef="#ctx0" brushRef="#br0" timeOffset="36521.51">19403 2279 0,'0'36'31,"18"-18"-31,-1 35 15,0-18-15,2-18 16,33 36 0,-33-53-1,-2 18 1,0-53 0,1 35-16,-18-17 0,0-2 0,0 2 15,17-1-15,-17 1 0,0-2 16,0 2-16,19 17 0,-19-17 0,0-1 15,17 1-15,0-2 16</inkml:trace>
  <inkml:trace contextRef="#ctx0" brushRef="#br0" timeOffset="36827.78">19791 2209 0,'-18'36'0,"0"-36"0,18 17 15,-17-17-15,17 17 0,-17 2 16,-1-2-16,18 1 16,-18-18-16,18 17 0,0 0 15,0 2-15,18-19 16,-18 17-16,18-17 16,-1-17-16,0 17 15,1-19 1,0 19-1,0 0 1,-18 19 0,17-2-1,-17 1-15,17-1 16</inkml:trace>
  <inkml:trace contextRef="#ctx0" brushRef="#br0" timeOffset="37688.69">20073 2138 0,'0'-35'0,"0"70"0,-18-35 47,1 71-16,17-53-31,0 0 0,0-1 0,0 0 15,0 19-15,0-18 16,0-1-16,35 0 16,-17 2-16,0-19 15,-1 0 1,0-19-16,2 2 16,-2 0-16,1-1 15,-18 1-15,17-2 16,0 2-1,2 53 17,-19-19-1,35-34-15,-18 17-1,19-19-15,-36 2 16,17 17-16,-17-17 0,18 17 15,-18-18-15,17 0 16,-34 54 31,17-19-31,0 0-16,0 2 15,17-2 1,-17 1-1,19-18-15,-2 0 16,0 0 0,1 0-1,0 0-15,0-18 16,-1 1-16,0-2 16,2 2-1,-2-18 1,1 17-16,-18 0 15,17 18-15,-17-17 16,0 0 0,17 17-1,2 17 1,-19 0 0,17-17-1,-17 18-15,18 0 0,-18 0 16,17-18-16,-17 34 15,19-15-15,-19-2 16,0 1-16,0-1 16</inkml:trace>
  <inkml:trace contextRef="#ctx0" brushRef="#br0" timeOffset="37977.71">21343 1610 0,'35'0'31,"-16"0"-31,-2-19 0,0 19 0,1 0 16,35-17-16,-18 17 16,-17 0-16,17 0 15,1 0-15,-36 17 16</inkml:trace>
  <inkml:trace contextRef="#ctx0" brushRef="#br0" timeOffset="38141.37">21466 1821 0,'19'18'31,"33"-36"-15,-34 18-1,17 0-15,-18-18 0,19 18 16,16-17-16</inkml:trace>
  <inkml:trace contextRef="#ctx0" brushRef="#br0" timeOffset="38378.31">22173 1381 0,'0'34'47,"0"-16"-47,0 0 16,0 0-16,0 34 0,0-34 16,0 53-16,0-54 15,-19 18-15,19-16 0,19 33 16,-19-35-16,0 19 15,17-36-15</inkml:trace>
  <inkml:trace contextRef="#ctx0" brushRef="#br0" timeOffset="38760.26">22737 1415 0,'-18'-17'0,"36"34"0,-53-51 16,16 15-16,2 19 16,0 0-16,-37 0 0,37 19 15,-19-19-15,-16 34 0,35-34 16,-19 36-16,1-18 0,16-1 16,2 0-16,0 1 0,17 0 15,0 0 1,17-18-16,0 0 15,2 0-15,-2 0 0,18 0 16,-16-18-16,15 18 0,-16 0 16,-1 0-16,2 0 0,-2 18 15,0-1-15,1-17 0,0 17 16,0 2-16,-18-2 0,17 18 0,-17-16 16,17 15-16,-17-16 15,0 18-15,0-19 0,0 0 0,0 1 16,0 0-16,-17 34 15,17-33-15,-17-19 0,17 17 0,-18 1 16</inkml:trace>
  <inkml:trace contextRef="#ctx0" brushRef="#br0" timeOffset="41272.76">19914 1891 0,'19'-17'15,"-2"0"1,-17-1-16,17 18 0,-17-18 16,0 0-1,-17 36 16,0 0-31,17 0 16,0-1 0,0 0-16,17 2 15,0-19-15,18 0 16,-16 0-16,15-19 16,-16 19-16,18-17 0,-19 0 15,0-1-15,-17 0 31,-17 0-15,-18 18-16,17 18 16,0 0-16,1-18 15,17 18-15,-36-1 0,36 0 16,0 2-16,19-2 16,-2-17-16,0 0 15,1 0-15,0 0 0,0-17 16,-1 17-16,0-19 0,2 2 15,-2 0-15,-34-19 32,-2 36-17,-33 18 1,34 0-16,0-18 16,1 17-16,17 0 15,-17-17 1,17 19-1,-19-38 17,2 2-17,-1 0-15,1 17 16,0 0 0,-2 0-16,2 0 15,-1 0-15,1 17 16,-2-17-16,19 17 15,-17-17-15,0 19 16,-1-19 15,0 0 16,18-19-16,-18 19 1,36 19 15,18 16-32,-19-35-15,0 0 16,2 0-16,16 0 15,18-18-15,-18 18 0,18-17 0,0-2 16,18-15-16,-36 16 16,-1 0-16,-15 0 0,-2 1 0,1 0 15,-1 17-15,2-19 0,-2 2 16,0-1-16,-17 53 47,18-16-16,-1-19-31,2 17 0,15-17 16,-16 0-16,18-17 0,-2 17 0,20-19 15,-1 19-15,-1-17 16,1-1-16,1 1 0,-2 0 0,37-2 16,-54 2-16,-18 17 0,2-18 0,-2 18 15,0 0-15,1 0 16,-18 18-1,0-1-15,0 2 16,0-2-16,0 0 16,0 1-1,17-18-15,-17 17 0,19-17 16,15 0 0,-16-17-16,0 17 0,0 0 0,-1-18 15,19 1-15,-19 17 16,1-17-16,-18-2 0,17 19 0,0-17 15,-17-1-15,0 1 16,-34 34 15,16 1-31,1 18 32,34-19-17,18-17 1,-18-17-1,19-2-15,-18 19 0,-1-17 0,19-18 32,-19 16-32,1 19 15,-18 19 17,17-2-17,2 1 1,-2-18-1,0 0-15,1 0 16,0-18-16,0 1 16,-1-2-1,-17 2-15,0 0 16,-35 34 15,-1 36-15,36-35-16,-17 18 15,17-19-15,0 0 16,0 1-16,17-18 0,-17 17 16,18-17-16,0 0 0,0 0 15,-1 0-15,0 0 16,2-17-16,-2-1 16,1 1-16,-18 0 0,0-2 15,0 2-15,0-1 16,-35 36-1,16-18 1,-15 36-16,34-19 16,-18-17-16,0 35 15,18-18-15,-18-17 0,18 19 16,0-2-16,18-17 16,18 0-1,-36-17-15,17 17 0,0-19 16,-17 2-16,19-1 0,-19 1 0,17 0 15,-17-2-15,18 2 0,-18-1 16,0 1-16,17 17 16,-52 17 15,18-17-31,17 18 0,-19-1 16,19 2-1,0-2 1,19-17-1,16-17-15,-18-19 16,-17 18 0,17-18-1,-34 19 1,0 34 0,-1-17-16,-18 19 15,2 16-15,16-18 16,0 2-16,-17-19 0,35 17 0,-17 0 0,-2 1 15,2-18-15,-1 17 16,1 2-16,0-2 0</inkml:trace>
  <inkml:trace contextRef="#ctx0" brushRef="#br0" timeOffset="44080.1">23530 1027 0,'-17'35'16,"17"-16"-16,-18 69 16,18-35-16,-17 70 15,17-70-15,0 0 0,0 17 0,0-17 16,0 0-16,0-18 0,0 1 15,17-1-15,-17 1 0,18-2 16,-1 2-16,2-1 16,-19-18-16,17-17 0,0 19 0,-17-2 0,18-17 15,-1 0-15,2 0 0,-2 0 16,0 0-16,1 0 0,0-17 16,0 17-16,-1-19 0,0 19 0</inkml:trace>
  <inkml:trace contextRef="#ctx0" brushRef="#br0" timeOffset="44420.96">23971 1133 0,'0'-18'0,"0"54"31,18-1-31,-18-18 0,0 2 16,0 16-16,0-18 0,-18 19 0,18-19 15,0 37-15,0-20 16,18-16-16,-18 0 0,-18 0 16,18-1-16,18 0 0,-18 1 15</inkml:trace>
  <inkml:trace contextRef="#ctx0" brushRef="#br0" timeOffset="44690.46">24218 1062 0,'0'19'47,"0"-2"-47,0 0 15,0 19-15,0-18 0,0 35 16,0-36-16,0 18 0,0-18 15,0 19-15,0-18 0,0-1 0,0 2 16,0-2-16,0 0 0,0 1 0,0 0 16,0 0-16,0-1 15,0 0-15,17 1 16</inkml:trace>
  <inkml:trace contextRef="#ctx0" brushRef="#br0" timeOffset="44938.66">23795 1451 0,'18'-36'16,"-1"36"-1,19-17-15,-19 0 0,18-2 16,1 19-16,-19-17 0,18-1 16,1 18-16,-1-17 0,1 17 0,-2-19 15,2 19-15,-18 0 0,16-17 16</inkml:trace>
  <inkml:trace contextRef="#ctx0" brushRef="#br0" timeOffset="45141.57">23866 1486 0,'-19'0'0,"38"17"16,-2-17-16,1 0 15,35-17-15,-36 17 16,54-17-16,-54 17 0,19 0 15,-1-18-15,18 18 0,-18-18 16,18 18-16,-18-18 0</inkml:trace>
  <inkml:trace contextRef="#ctx0" brushRef="#br0" timeOffset="45771.22">25030 1169 0,'-36'17'0,"19"-17"16,70-17-16,-124 51 0,54-34 0,17 19 15,-19-2-15,2 1 16,17-1-16,-17 0 0,17 2 15,17-2-15,-17 1 16,17-18-16,-17 17 0,19-17 16,16 0-16,-18 0 0,36-17 15,-35 17-15,-1-18 16,2 1 0,-19-2-16,-19 2 15,19 0-15,-17 17 0,17-18 0,-18 1 16,1 17-16,0 0 15,-2-19-15,2 38 32,34-2-32,2 1 15,-19-1-15,17 0 16,0 2-16,1-2 0,-1 18 16,36 36-16,-53-53 0,18 17 15,-18 0-15,18 1 0,-18-19 16,0 19-16,-18 35 0,18-37 15,-35 20-15,35-37 0,-17 0 16,17 1-16,-19 0 0,2 0 16,17-1-16,-18-17 15,18-35 1,0 17 0,0 0-16,18-16 0,-1 15 15,2-16-15,-2 1 0,18-2 16,1 1-16,-19-1 0,19 19 15,-19-19-15,1 18 0,16 1 0,2-18 16,18-1-16,-2 19 0</inkml:trace>
  <inkml:trace contextRef="#ctx0" brushRef="#br0" timeOffset="46134.43">25859 1010 0,'-53'0'16,"36"0"-16,87 0 0,-159 17 15,72-17-15,17 18 0,0-1 16,0 2 0,0-2-16,17 0 0,2 1 15,-2 18-15,0-19 0,1 0 0,0 19 16,0-18-16,-1-1 0,-17 19 15,35-1-15,-17 1 16,0-2-16,-18-16 16,-18 0-16,18 0 0,-18-18 15,0 34-15,-16-16 16,-2-18-16,18 0 0,1 18 0,0-18 16,-37 0-1,37 0-15,-2 0 0,2 0 16,0 0-1,34-36 1</inkml:trace>
  <inkml:trace contextRef="#ctx0" brushRef="#br0" timeOffset="47022.54">26353 1151 0,'-18'-36'0,"1"54"16,-2-18-16,2 0 0,0 18 0,-19-18 15,18 18-15,-35 16 16,36-15-16,-1-2 0,18 1 16,-17-18-16,0 17 0,17 0 0,-19 2 15,19-2 1,0 1-1,19-1-15,-2-17 16,0 0-16,1-17 16,-1 17-16,19-35 15,-19 35-15,1-36 16,18 1 0,-36 18-16,17 17 15,-17-19-15,17 19 16,-34 36 31,17-18-32,17-1 1,-17 0 0,19-17-1,-2 0-15,1 0 31,-1 0-31,0 0 0,19-17 16,-18 17 0,-1 0 15,2 17-15,-2 2-1,-17-2 1,35-17 46,-18-17-62,2 17 32,-2 0-32,-17 17 15,17-17 1,1 18-1,0-18 48,0 0-32,-1-18-15,0 18-1,2 0-15,-2-17 16,1-2-16,-1 2 16</inkml:trace>
  <inkml:trace contextRef="#ctx0" brushRef="#br0" timeOffset="47470.31">26865 1062 0,'17'-17'0,"-17"34"47,17-17-47,-17 19 0,0 15 16,0 20-16,18-37 0,-18 36 15,0-18-15,0 36 0,0-35 16,0-2-16,-18 2 0,18-1 16,0 0-16,0-17 0,0 0 15,0 35-15,0-36 0,-17 1 16,17-1-16,0 2 15,17-55 17,1-35-17,0 54-15,0-19 16,-18 18-16,17 1 0,-17-18 0,17 17 16,1 0-16,-18 1 15,18 17-15,-18-17 0,18-2 16,-1 19-16,0 19 15,-17 15 1,0-16 0,-17 0-16,17 0 0,-17-1 15,-1 0-15,18 1 16,-18-18-16,18 18 0,-18 0 0,1-18 16,17 17-16</inkml:trace>
  <inkml:trace contextRef="#ctx0" brushRef="#br0" timeOffset="47874.23">27323 993 0,'18'-19'0,"-36"55"31,18-19-16,0 1-15,0-1 0,-18 2 0,18-2 16,0 18-16,0-17 0,0 17 0,0-18 16,0 2-16,0-2 0,18 1 15,-18-1-15,0 19 0,18-36 16,-18 17-16,17-17 16,0 0-16,1 0 15,0 0-15,0-17 16,-18-2-16,17 19 15,-17-17 1,0 53 15,0-19-15,0 1-16,17-1 16,2-17-1,33-17 1,-33 17-1,-2-18-15</inkml:trace>
  <inkml:trace contextRef="#ctx0" brushRef="#br0" timeOffset="48274.4">27463 622 0,'71'52'0,"-35"-33"0,-1 15 16,1 2-16,-2-1 0,2 1 0,-1-1 15,1-1-15,33 73 16,-15-36-16,-37-37 0,2 2 16,-2-1-16,-17 1 0,0-1 15,0-1-15,-17-15 0,-2 16 16,2 1-16,-1-2 0,1 2 0,-2-18 15,-15 16-15,16-16 0,1 0 0,-2-18 16,2 18-16,0-1 0</inkml:trace>
  <inkml:trace contextRef="#ctx0" brushRef="#br0" timeOffset="48679.49">27675 1169 0,'-17'0'15,"0"0"-15,-2 17 16,2 0 0,17 19-1,0-18 1,0-1-16,0 0 15,0 2-15,0-2 16,-18 1-16,-35 18 16,36-19-1,-54 18-15,36-17 0,-18-18 0,0 18 16</inkml:trace>
  <inkml:trace contextRef="#ctx0" brushRef="#br0" timeOffset="50859.19">19773 1874 0,'-35'17'0,"35"2"0,53-2 32,89-34-17,-37-2-15,-52 2 16,-18 0-16,18-1 0,-18 0 15,-18 18-15,2-18 0,-2 1 16,1 0-16,-1-2 0,-17 2 16,-17-1-16,-1 1 15,1 17-15,-2 0 0,2 0 16,-18 0-16,18 0 0,-2 17 0,-15-17 16,-2 18-16,18-1 15,1 2-15,34 15 16,1-16-1,0-18-15,17 0 0,-18 18 0,19-18 16,-1 0-16,1 0 0,-1-18 0,1 18 16,16-18-16,1 18 0,-18-17 15,1 17-15,-19-17 0,19 17 0,-1-19 16,-18 2-16,-17-1 0,17 18 16,-34-17-1,0 17 1,-18 17-16,16 1 15,2-1-15,17 2 16,0-2-16,0 0 16,17 1-16,19 0 15,-18-18-15,16 0 0,-15 0 16,-2 0-16,18-18 0,1 18 16,17-18-16,-35 18 0,34-34 15,-34 34-15,0-36 16,-1 36-16,-17-18 0,17 1 15,-17 0-15,-17 17 16,0 0 0,-1 0-16,0 17 15,0-17-15,18 17 16,0 1-16,0-1 16,18 2-16,18-2 15,-19-17-15,0 0 16,2 0-16,-2 0 0,18-17 15,-16 17-15,-2 0 16,0-19-16,1 2 16,-1-1-16,-17 36 78,19-1-78,-2 2 15,0-19 1,1 0-16,0 0 16,17-19-16,-18 19 15,2-17-15,-2-1 0,1 18 16,-18-17-16,17 0 16,-17-2-16,0 2 15,0-1-15,-17 18 16,-1 18-1,1-1 1,17 2-16,0-2 16,17-17-1,1 17 1,-1-17-16,0 0 0,19-17 16,-18 17-16,-1-17 0,19 17 15,-19-19-15,1 19 0,-1-17 0,19-1 16,-36 1-16,35-19 15,-35 19-15,0-1 16,-18 18 0,-16 0-1,15 0-15,2 18 0,-1-18 16,1 17-16,17 0 16,-17 2-16,34-2 15,0-17 16,1 0-31,-1 0 16,2 0-16,-19-17 16,17-2-1,-17 2 1,0 0 0,-36 17-1,19 0 1,-1 17-16</inkml:trace>
  <inkml:trace contextRef="#ctx0" brushRef="#br0" timeOffset="54634.65">23159 2545 0,'36'88'16,"-36"-54"-16,0-15 0,18 16 0,-18-1 15,0 2-15,17-1 0,-17-16 16,0 15-16,0 2 0,19-18 0,-19 16 16,0-16-16,0 0 0,0 0 15,17-1-15,-17 0 0,0 2 0,0-2 16,0 1-16,0-1 15,17-17 1</inkml:trace>
  <inkml:trace contextRef="#ctx0" brushRef="#br0" timeOffset="55149.99">23019 2967 0,'0'-17'0,"18"17"31,16 17-15,-15-17-16,16 54 15,-18-37-15,0 0 16,2 2-16,-2-2 16,18 18-16,-35-16 0,19-19 15,-2 17-15,0 0 0,1-17 16,18 0-1,-19 0-15,0 0 0,-17-17 0,36 17 16,-18-17-16,-1-2 0,0 19 16,2-35-16,-2 18 0,1-2 15,-1 2-15,2-18 0,-2 17 16,-17 0-16,17 1 0,1 0 0,-18-1 16,17 0-16,-17 0 15,19 18-15,-19-17 16,17 0-1</inkml:trace>
  <inkml:trace contextRef="#ctx0" brushRef="#br0" timeOffset="62025.61">23937 4961 0,'17'0'15,"-70"0"48,35 0-63,1 0 0,-2 0 15,-15 0-15,-72 17 16,70-17-16,2 0 0,-37 0 16,18 19-16,18-19 0,-1 0 0,-17 0 15,18 0-15,0 17 0,17-17 0,-17 0 16,18 0-16,-2 0 0,-16 0 16,18 17-16,-2-17 0,2 0 15,0 18-15,17 0 0,-18 0 16,18-1-16,-17 0 0,17 1 15,0 18-15,-19-2 0,19 2 0,0-1 16,0 1-16,-17-1 0,17 1 16,0-19-16,0 18 0,0 1 15,0-19-15,0 0 0,0 19 0,0-1 16,17-18-16,-17 2 0,0-2 16,19 1-1,-2-18-15,1 0 0,-1 0 16,0 0-16,2 0 0,-2 0 15,1 0-15,-1-18 0,2 18 16,-2 0-16,18-17 0,-17 17 0,0-19 16,-1 2-16</inkml:trace>
  <inkml:trace contextRef="#ctx0" brushRef="#br0" timeOffset="62494.38">23230 5190 0,'36'-17'16,"-19"17"-16,19-18 0,-18 18 0,16 0 16,20 0-16,-20-18 0,20 18 15,-1 0-15,-1-18 0,-16 18 0,-1 0 16,18 0-16,-18-17 0,1 17 15,-2 0-15,2 0 0,-18 0 0,-1 0 0,19 0 16,-19 0-16,1 0 0,-1 0 16,2 17-16,-2-17 15,0 18-15,1 0 0,-18 0 16,18-1-16,0 0 0,-18 2 16,17 16-16,-17-18 0,53 54 15,-53-35-15,18-19 0,-18 0 16,17 19-16,-17-18 0,0-1 15,17 0-15,-34 19 16,17-1-16,-17-18 0,-1 2 16,1-2-16,-19 1 0,1-1 15,17 2-15,-34-2 0,16 0 0,-70 1 16,70-1-16,2-17 16,-2 0-16,18 0 0,1 0 15,0 0-15,-19 0 0,18-17 16,18-1-16,18 18 15,0-17-15</inkml:trace>
  <inkml:trace contextRef="#ctx0" brushRef="#br0" timeOffset="62843.8">25823 5102 0,'0'17'16,"0"-34"-16,-17 34 0,17 1 0,0 0 0,0 17 0,0-18 16,0 19-16,0-18 15,0 18-15,0-2 0,0-16 0,0 18 16,0-2-16,17 20 0,-17-20 16,0-16-16,0 0 0,0 17 15,18-35-15</inkml:trace>
  <inkml:trace contextRef="#ctx0" brushRef="#br0" timeOffset="63262.06">25841 5014 0,'124'-36'15,"-71"19"-15,52-1 0,19 1 16,-72-2-16,2 19 0,-20 0 16,20 0-16,-18-17 0,-2 17 15,-16 0-15,18 0 0,-19 0 16,18 0-16,-17 17 0,0-17 16,-1 0-16,-17 19 0,17-2 15,2 1-15,-2 18 0,-17-19 0,18 18 16,-1 18-16,0 0 15,2-18-15,-19 1 0,17-1 16,1 35-16,-1-52 0,-17 18 16,0-19-16,19 18 0,-19-17 0,0 0 15,0-1-15,0 18 16,-19 1-16,2-36 0,-1 17 0,18 0 16,-17 2-16,-2-19 0,-15 17 15,16-17-15,1 18 0,-19-18 16,-17 17-16,35-17 0,-35 0 15,18 0-15,18 0 0,-19 0 0,1 0 16,-1 0-16</inkml:trace>
  <inkml:trace contextRef="#ctx0" brushRef="#br0" timeOffset="82873.81">8785 2279 0,'0'-34'0,"0"87"31,0-36-31,17 54 0,-17-36 16,17 18-16,-17-18 0,18 1 0,-18-2 16,0-16-16,18 18 0,-18-19 15,0 19-15,0-19 0,18 18 16,-18-18-16,0 2 0,0-2 15</inkml:trace>
  <inkml:trace contextRef="#ctx0" brushRef="#br0" timeOffset="83294.39">8678 2333 0,'53'-142'0,"-18"108"16,-16 15-16,-2 2 0,18-1 0,-17 18 16,0-17-16,35 17 15,-36 0-15,35 35 16,-33-18-16,-19 19 0,0-19 15,0 19-15,0-1 0,-19 53 16,2-52-16,0-1 0,-1 1 16,1-19-16,17 0 0,-19 19 0,2-18 15,0-18-15,17 17 0,-18 0 16,0 1-16,18 0 16,-18-18-16,36 18 15,-18-1-15,36 0 16,-19-17-1,0 19-15,2-19 0,-2 0 0,1 0 16,-1 17-16,0-17 0,2 0 16,-2 0-16,1-17 0,-1 17 15,2 0-15,-2 0 0</inkml:trace>
  <inkml:trace contextRef="#ctx0" brushRef="#br0" timeOffset="84103.45">9366 2438 0,'-17'-17'0,"-1"-1"0,1 36 31,-2-18-31,19 17 0,0 2 0,-17-19 16,17 17-16,-17 0 0,17 1 0,0 0 15,-18 0-15,18-1 0,0 0 16,0 1-16,0 0 16,0 0-16,18-18 15,-1 17-15,0-17 16,2-35-1,-2 17 1,-17 0-16,18 1 16,-18 0-16,0-1 0,0 0 15,17 18-15,-17-18 0,0 1 32,19 34-17,-2 1 1,-17 0-1,17-18-15,-17 18 0,18-18 16,-1 17-16,-17 0 16,19-17-1,15 0 17,-34-17-17,18 0-15,0-1 16,0 0-1,-1 18 1,0 0 0,1 0-16,0 18 0,0-18 15,-18 18 1,17-1 0,0-34 30,2 17-30,-19-18-16,17 0 16,1 18-16,-1 0 15,-17-18-15,19 18 16,-2 0-16,0 0 16,-17-17-16,18 17 0,-1 0 0,2 0 15,-2-17-15,0 17 16</inkml:trace>
  <inkml:trace contextRef="#ctx0" brushRef="#br0" timeOffset="84663.5">10107 2245 0,'-17'0'16,"17"17"31,17 19-32,-17-19-15,0 1 0,0-1 16,18 0-16,-18 2 0,0-2 0,17 1 15,-17-1-15,0 2 16,0-2-16,0 0 0,-17 1 16,17 0-16,0 0 15,-18-1-15,18 0 16,18-51 15,-1 34-31,-17-18 16,19-18-16,-2 19 0,0 0 0,1-37 15,-1 37-15,19-54 16,-36 54 0,17 17-16,-17-19 0,-17 55 47,17 16-32,17-33 1,1-2-1,0-17-15,-18 18 0,18-18 16,-1 0-16,0-18 16,2 18-16,-2-17 0,1 17 15,-1-19-15</inkml:trace>
  <inkml:trace contextRef="#ctx0" brushRef="#br0" timeOffset="85225.98">11113 1857 0,'17'34'0,"-17"2"16,17 52-1,-17-70-15,0 18 16,0-19-16,0 18 0,19-18 0,-19 2 16,0-2-16,0 0 0,0 1 15,17 0-15,-17 0 0</inkml:trace>
  <inkml:trace contextRef="#ctx0" brushRef="#br0" timeOffset="85455.51">11359 1839 0,'0'-18'15,"0"36"-15,18 0 31,0 35-15,-18-36-16,18 1 16,-18 35-16,17-36 0,-17 1 15,0-1-15,17 2 16,-17-2-16,0 0 0,19 1 0,-19-1 16</inkml:trace>
  <inkml:trace contextRef="#ctx0" brushRef="#br0" timeOffset="85629.81">11183 2103 0,'-17'0'0,"52"-17"47,-35 0-47,36-2 15,-19 19-15,0-17 0</inkml:trace>
  <inkml:trace contextRef="#ctx0" brushRef="#br0" timeOffset="85888.77">11571 1839 0,'18'18'31,"-18"-1"-31,17 19 31,-17-19-31,0 1 16,19-1-16,-2 0 16,0 2-1,1-19-15,0-19 16,0 2 0,-18 0-1,17-1-15,0-35 16,1 36-1,0 17 1</inkml:trace>
  <inkml:trace contextRef="#ctx0" brushRef="#br0" timeOffset="86077.69">12118 1910 0,'35'-19'0,"-17"19"0,0 0 16,-1 0-16,0-17 0,2 17 16,-2 0-16,1 0 0</inkml:trace>
  <inkml:trace contextRef="#ctx0" brushRef="#br0" timeOffset="86378.59">12611 1662 0,'0'0'16,"0"36"15,-17-19-15,17 1-16,0-1 15,0 2-15,0-2 0,0 0 16,0 1-16,0 0 0,0 0 16,0-1-1,17 0-15,2 2 16,-2-19-16,18 0 16,1 0-1,-19 0 1,1-19-16,0 19 0,0-17 15,-1 0-15</inkml:trace>
  <inkml:trace contextRef="#ctx0" brushRef="#br0" timeOffset="86644.22">12930 1698 0,'0'0'0,"0"35"15,0-18 1,0 2-1,17-2-15,-17 0 16,35-17 0,-18 0-1,2 0-15,16-34 16,-18 34 0,2-36-16,-2 18 15,0 1-15,1 0 16,-70 34 15</inkml:trace>
  <inkml:trace contextRef="#ctx0" brushRef="#br0" timeOffset="87278.34">11359 2527 0,'36'0'16,"-1"0"-1,1-18-15,16 18 0,107-35 16,-71 18-16,1-2 0,122-16 16,-17-1-16,-88 2 15,0 16-15,0 1 0,-18-2 16,18 2-16,-18-18 0,0 17 15,0 0-15,54-16 0,-72-2 16,36 1-16,-53-1 16,52-16-16,-17-1 0,-52 35 15,16-35-15,-33 36 16,-2-1-16,1-35 16,-1 36-16,-17-19 0,-17-16 15,17 16-15,-18 1 0,-18-36 16,2 18-16,-2 18 15,18-1-15,-16 2 0,-2-2 0,-70-70 16,18 36 0,52 52-16,2-18 15,-20 19-15,2-19 0,-54 19 0,52-1 16,-15 18-16,-2-17 0,1 17 16,-72 0-16,37 17 0,-90 1 15,107-1-15,0 2 16,0-2-16,-1 0 0,18 19 0,-17-1 15,18-18-15,-18 19 0,17-1 16,-140 89-16,141-89 16,16 1-16,-51 52 0,34 0 15,35-52-15,-16 52 16,34-54-16,18 2 0,0 16 16,0-33-16,18 33 0,34 36 15,-16-52-15,16 16 0,2-16 16,-1-19-16,18 19 0,51-1 15,2 1-15,18-36 16,-90 0-16,18 0 16,37-19-16</inkml:trace>
  <inkml:trace contextRef="#ctx0" brushRef="#br0" timeOffset="88887.48">13970 1891 0,'36'19'31,"-19"-19"-31,18 0 16,18 0-1,-35 0-15,-1 0 0,2-19 0,-2 19 16,36 0-16,-35 0 15,-1-17-15,0 17 0,1 0 16</inkml:trace>
  <inkml:trace contextRef="#ctx0" brushRef="#br0" timeOffset="89169.88">14270 1733 0,'35'17'16,"-17"-17"-16,0 19 0,-1-2 0,0-17 16,2 17-16,-2 37 15,-17-37-15,18 19 16,-18-19-16,0 18 0,0-18 0,0 2 15,0-2-15,0 1 0,-18-1 16,18 2-16,0-2 0,0 0 0,-17-17 16,17 18-16,0-1 0</inkml:trace>
  <inkml:trace contextRef="#ctx0" brushRef="#br0" timeOffset="94851.7">14975 1698 0,'0'-17'16,"18"-2"15,0 19-31,0 19 16,-1-19-16,0 17 15,-17 0-15,0 1 0,0-1 16,0 2-16,-17-2 0,17 0 16,-17 19-16,-1-18 0,18-1 15,-36 36 1,19-53-16,17 18 0,-17-1 0,-2 0 15,19 2 1,19-19 15,33-19-15,-34 19-16,0-17 0,-1 17 0,0-17 16,2-1-16,16 18 0,-18 0 15,0-17-15,2 17 0,-2-19 16,1 19-16</inkml:trace>
  <inkml:trace contextRef="#ctx0" brushRef="#br0" timeOffset="95325.51">15434 1627 0,'17'35'32,"2"-16"-32,-2 15 15,-17-16-15,18-1 0,-1 2 16,0-2-16,2 0 16,-2-17-1,-17-17 1,18-19-1,-18 19-15,0-1 16,0 1-16,17 0 16,-17-2-16,0 2 0,19-18 15,-2 16 1,0 19 0</inkml:trace>
  <inkml:trace contextRef="#ctx0" brushRef="#br0" timeOffset="96356.49">15963 1503 0,'0'0'0,"-17"0"0,0 18 16,-19 0-1,18 0 1,18-1-16,-17-17 0,17 17 0,-19 2 15,19-2-15,-17-17 0,17 18 16,0-1-16,-17-17 0,17 19 16,17-2-16,0-17 15,2 0 1,-2 0 0,-17-17-16,18 17 15,-1-19 1,2 38 15,-2-2-15,0-17-1,-17 17 1,18-34 0,-1 17-16,2-17 15,-19-2-15,0 2 0,17 17 0,-17-18 16,0-18-16,0 19 0,17 0 15,-17-19-15,0 18 0,0-16 16,0 16-16,18 0 0,-18 0 0,0 1 16,0 0-1,-18 51 17,18 2-17,0-18-15,0-1 0,0 0 0,18 1 16,-18 0-16,18 0 15,-18-1-15,18 0 16,-1-17-16,19 0 16,-19-17-16,18 0 15,-18 17 1,-17-18-16,19 18 16,-19-18-16,17 18 15,-17 18 1,18 0-1,-18-1 1,17-17 0,2 0-1,-2 0-15,-17-17 16,17 17-16,-17-18 0,18 0 31,-18 54 16,0-19-31,17-17-1,2 0-15,-2 0 16,-17-17-16,17 17 16,19 0-16,-18 0 15,-1-18-15,0 18 16,2 0-1,-2 0-15,-17 18 16,0-1 0,0 0-1,0 2 1,-17-19 0,17 17-1,-19-17-15,19 18 0,-17-18 16,17 17-16</inkml:trace>
  <inkml:trace contextRef="#ctx0" brushRef="#br0" timeOffset="96630.84">15381 2174 0,'212'-53'15,"-88"1"-15,-36 33 0,70-33 16,-87 33-16,17 2 0,-17-18 16,-1 18-16,53-19 15,-87 36-15,17-17 0,-18 17 0,1-18 16,-19 18-16</inkml:trace>
  <inkml:trace contextRef="#ctx0" brushRef="#br0" timeOffset="96836.55">15522 2191 0,'36'-17'0,"-1"17"15,1-17-15,122-37 16,-106 37-16,38 0 0,50-37 16,-87 37-16,18-2 0,-18 2 15,-1 0-15,1-1 0,-18 18 16,1-17-16,-19 17 0,19-19 0,-18 19 16,-1 0-16,0-17 0,2 17 15</inkml:trace>
  <inkml:trace contextRef="#ctx0" brushRef="#br0" timeOffset="101294">9825 3743 0,'-18'36'15,"18"-18"-15,0-1 0,18 0 0,-18 19 16,0-18-16,17 18 0,-17-19 0,0 0 16,19 19-16,-19-18 0,17-1 0,0 0 15,-17 1-15,18 0 0,0 0 16,-18-1-16,35 0 0,-18-17 15,2 0 1,-2 0-16,18-52 16,-35 34-1,0-17-15,0 18 0,0-19 0,0 1 0,-35-89 16,18 72 0,-2 16-16,2 1 0,17 17 15,-17-17-15,-1 18 0,0-19 0,0 18 16,18 1-16,-17 17 0,0-17 15,-2-2-15,-16 19 16,35 19-16,0-2 16,0 0-16,0 19 15,0-18-15,0 16 0,18 2 0,-18-1 16,36 53-16,-19-52 16,0-1-16,1 1 0,-18-2 0,18-16 15,0 18-15,-1-19 0,-17 18 0,17-17 16,19 34-1,-18-52-15,-18 19 0,17-2 16,0 1-16,-17-1 16,19-17-16,-2 0 15</inkml:trace>
  <inkml:trace contextRef="#ctx0" brushRef="#br0" timeOffset="101725.93">10266 3814 0,'-17'0'15,"-2"17"1,19 2-16,0-2 0,19 1 15,-19-1-15,0 2 0,0-2 16,17 0-16,-17 1 0,17-18 16,1 18-16,0 0 15,17-18-15,1 0 16,-19 0-16,18-54 16,-18 37-1,-17 0-15,19-2 0,-19-16 16,17 35-1,-17-17-15,18 34 32,-1-17-32,-17 18 15,0-1-15,19 36 16,-2-53-16,-17 18 16,35 0-1,-35 0-15,18-18 0,0 0 0</inkml:trace>
  <inkml:trace contextRef="#ctx0" brushRef="#br0" timeOffset="102440.48">10795 3779 0,'-17'0'16,"34"0"-16,-53 0 0,19 0 15,0 18-15,17-1 0,-18 0 16,18 2-1,0-2 1,18-17 0,-1 18-1,19-18 1,-19 0-16,1 17 16,-1-17-16,-17 19 15,19-19-15,-19 17 16,17-17-16,-17 17 0,17 1 31,-17-53 16,0 18-47,18-37 16,-1 18-1,-17 19-15,19 0 0,-19-18 0,17 16 16,-17 2-16,17 0 0,-17-19 15,18 18-15,-18 1 0,18 0 0,-18-1 16,0 0-16,0 0 0,18 18 16,-18-17-16,0 0 0,34 34 31,2 36 0,-36-35-31,18-1 0,-18 18 0,0-17 0,17 0 16,-17 16-16,0-15 0,0-2 15,17 35-15,-17-33 16,0-2-16,19-34 47,-2 17-47,1-36 16,-1 19-1,-17-1-15,19 18 0,-2-17 0,0 34 31,1 1-15,-18 16 0,0-15-16,0-2 15,0 1 1</inkml:trace>
  <inkml:trace contextRef="#ctx0" brushRef="#br0" timeOffset="102593.87">11377 3409 0,'-18'17'15</inkml:trace>
  <inkml:trace contextRef="#ctx0" brushRef="#br0" timeOffset="102929.49">11447 3514 0,'0'36'16,"0"-19"0,0 1-16,0 0 0,19 0 15,-19-1-15,0 0 16,17 1-16,1-18 15,-1 0-15,19 0 16,-36-18-16,17 18 16,1 0-16,-18-17 0,17 17 15,-17-17-15,19 17 16,-19 17 15,0 0-15,0 1-1,17-18-15,-17 18 0,17-18 16,1 0-16,0 0 16,0 0-16,-1 0 15,0-18-15,37 0 16</inkml:trace>
  <inkml:trace contextRef="#ctx0" brushRef="#br0" timeOffset="103959.42">12542 3497 0,'17'-35'15,"1"35"-15,16-19 16,-15 19-16,-2-17 0,1 17 16,18-17-16,-19 17 0,0 0 15</inkml:trace>
  <inkml:trace contextRef="#ctx0" brushRef="#br0" timeOffset="104193.2">12806 3250 0,'35'17'0,"-17"-17"15,0 0-15,-18 18 0,17-18 0,0 18 16,19 17 0,-36 36-1,0-54-15,-36 36 0,36-35 16,-17 18-16,0-19 0,-1 0 0</inkml:trace>
  <inkml:trace contextRef="#ctx0" brushRef="#br0" timeOffset="105398.12">13582 3091 0,'35'-17'15,"-17"17"-15,0 0 16,-1 17-16,0-17 0,2 0 0,-2 18 16,1-1-16,-1 2 15,-34 33 1,17-35-16,0 2 0,-18-2 0,18 0 15,-17 1-15,17 0 0,-19 0 16,19-1-16,-17 0 0,17 2 16,-17-19-16,17 17 15,0 1-15,17-18 32,19-18-17,-19 18-15,1 0 16,-1-17-16,2 17 0,-2-19 15,0 19-15,1-17 0,-1 17 0,2-17 16,-2 17-16,0-18 0</inkml:trace>
  <inkml:trace contextRef="#ctx0" brushRef="#br0" timeOffset="105858.64">14182 3021 0,'-36'0'31,"1"17"-15,18 0-16,-2 2 0,2-19 16,0 17-16,-1 1 15,1-18-15,17 17 16,0 2-16,52-2 31,-35-17-31,2 0 16,-2 0-16,1 17 0,-1-17 15,2 0-15,-2 0 0,0 18 0,1-18 16,-18 17 0,0 2-16,-18-2 15,1 0-15,-19 19 16,36-18-16,-17-18 16,-1 17-16,1-17 0,17 17 15,-19-17-15</inkml:trace>
  <inkml:trace contextRef="#ctx0" brushRef="#br0" timeOffset="106079.18">14482 2933 0,'17'-18'16,"-17"53"-1,0-18 1,-17 1-16,17 0 0,0 0 16,0-1-16,0 0 0,0 2 15,0-2-15,-17 1 16,17 18-16,0-19 0,0 0 16</inkml:trace>
  <inkml:trace contextRef="#ctx0" brushRef="#br0" timeOffset="106226.17">14341 3091 0,'0'0'16</inkml:trace>
  <inkml:trace contextRef="#ctx0" brushRef="#br0" timeOffset="106368.66">14623 3091 0,'18'0'15</inkml:trace>
  <inkml:trace contextRef="#ctx0" brushRef="#br0" timeOffset="107504.12">14146 3655 0,'19'-17'16,"-2"17"-16,0-17 15,-51 34 17,-2 0-17,36 1-15,-18-18 16,18 18-16,-17 0 31,34-1-31,1 0 16,18 2-1,-19-19 1,0 0-16,-17 17 0,18-17 0,0 18 16,-18-1-16,18-17 15,-18 17-15,-18 19 16,-18-1 0,19-16-1,17-2-15,-17-17 31</inkml:trace>
  <inkml:trace contextRef="#ctx0" brushRef="#br0" timeOffset="107834.67">14287 3726 0,'18'17'31,"-18"2"-31,18-19 0,-18 17 16,0 1-16,18-1 16,-1 0-16,0-17 15,2 0-15,-2 0 16,1 0-16,-1-17 16,2 17-16,-2 0 0,-17-17 15,17 17-15,-17-18 0,0 1 16,0-2-16,0 2 15,-17 0 1,0-1 0,-19 18-16,18 0 15,-18 18 1,19-18 0</inkml:trace>
  <inkml:trace contextRef="#ctx0" brushRef="#br0" timeOffset="108036.31">14799 3479 0,'0'35'31,"0"-16"-15,0-2-16,0 0 0,-17 19 15,17-18-15,0-1 0,-19 0 16,19 19-16,0-18 16,-17-1-16</inkml:trace>
  <inkml:trace contextRef="#ctx0" brushRef="#br0" timeOffset="108178.56">14675 3638 0,'-17'-17'0</inkml:trace>
  <inkml:trace contextRef="#ctx0" brushRef="#br0" timeOffset="108290.79">14887 3621 0,'0'0'16,"18"0"0</inkml:trace>
  <inkml:trace contextRef="#ctx0" brushRef="#br0" timeOffset="108963.08">14341 4185 0,'0'0'16,"17"-18"-1,0 18 1,2 0-16,-19-17 0,17 17 16,18 17-16,-16-17 15,-19 18-15,17-18 16,-17 17-16,17 2 0,1 15 15,-1 1-15,-17-16 0,19-2 16,-19 0-16,17 19 16,-17-18-16,0 16 0,17-16 0,-17 0 15,0 0-15,0-1 16,18 0 0,-18 2-16</inkml:trace>
  <inkml:trace contextRef="#ctx0" brushRef="#br0" timeOffset="109152.58">14465 4519 0,'-19'-17'16,"55"-18"-1,-19 17 1,1 0-16,-1 18 0,2-17 15,-2 0-15,0 17 0,1-18 16,0 0-16,34 0 0,-34 18 16,0-17-16</inkml:trace>
  <inkml:trace contextRef="#ctx0" brushRef="#br0" timeOffset="109525.91">14975 4150 0,'-17'0'15,"0"0"1,-2 17-16,2-17 0,-1 18 16,18-1-1,0 2 1,18-2-16,-1-17 15,2 17-15,15 1 32,-34-1-32,18-17 15,-18 19-15,0-2 16,-18 0-16,18 1 16,-17-18-16,17 18 0,-17 0 0,-2-1 15,2 0-15,-1-17 0,1 18 16,0 0-16,-2-18 15,2-18 1</inkml:trace>
  <inkml:trace contextRef="#ctx0" brushRef="#br0" timeOffset="109735.76">15187 4061 0,'18'0'0,"-18"18"16,17 0 0,-17-1-1,0 0-15,0 2 0,-17-2 16,17 1-16,0-1 16,0 2-16,0-2 0,-18 0 15,18 1 1</inkml:trace>
  <inkml:trace contextRef="#ctx0" brushRef="#br0" timeOffset="109868.61">15099 4221 0,'18'-19'31</inkml:trace>
  <inkml:trace contextRef="#ctx0" brushRef="#br0" timeOffset="109999.65">15258 4221 0,'17'0'15,"1"-19"16</inkml:trace>
  <inkml:trace contextRef="#ctx0" brushRef="#br0" timeOffset="110774.86">14605 2755 0,'18'-17'16,"-36"34"-16,54-34 0,-19 0 15,18 17-15,-17 0 0,0-18 16,16 18-16,-15 0 0,-2 0 15,1 0-15,-1 0 0,2 0 0,15 0 16,-16 18-16,35-1 16,-36 0-16,1 2 0,18 16 15,-2 1-15,-15-2 0,16 2 16,-1-1-16,2 0 0,-1 1 0,1-2 0,-1 2 16,1 18-16,-2-2 15,2-16-15,-1 16 0,1-16 0,-1-2 16,18 20-16,-18-1 0,-18-18 0,36 53 15,-17-35-15,-18-18 16,16 18-16,-16-17 0,0 16 0,0-16 16,-1 16-16,0-16 0,-17-1 15,19-17-15,-19 17 0,0-18 16,0 1-16,0 0 0,0 0 16,0-1-16,0 0 0,0 2 0,0-2 0,-19 1 15,2-1-15,0 2 16,-1-19-16,18 17 0,-36 0 15,19-17-15,-36 0 0,35 0 16,1 0-16,-19 0 16</inkml:trace>
  <inkml:trace contextRef="#ctx0" brushRef="#br0" timeOffset="111508.9">13653 2985 0,'-71'18'0,"54"0"15,-1-18-15,0 17 0,0 0 16,1 2-16,17-2 0,-17 18 16,17-16-16,0 15 0,0-16 15,0 18-15,0-2 0,17 2 16,-17-18-16,17 35 0,1-18 0,35 53 15,-36-52-15,1 16 16,0-16-16,17 16 0,-18-16 0,2-2 16,16 54-16,1-34 0,-19-18 15,0 16-15,1 1 0,18 35 16,-19-35-16,0-18 16,-17 18-16,18 1 0,0-20 0,-18 2 15,18 34-15,-18-34 16,0 34-16,17-35 0,-17-16 15,0 33-15,0-16 0,17-19 16,-17 36-16,19-35 16,-19-1-16,17-17 0,1 17 15,-18 2-15,17-19 0,0 0 16,2 17-16,-2-17 0,37 0 16,-20 0-16,-16 0 0,18-17 0,-2 17 15,2 0-15,-1 0 0,1 0 16,-1-19-16,1 19 0,-2 0 0,72-17 15,-70 0-15</inkml:trace>
  <inkml:trace contextRef="#ctx0" brushRef="#br0" timeOffset="113022.78">17110 3814 0,'17'17'0,"-17"2"16,0-2-16,0 1 0,0-1 0,0 2 15,0-2-15,0 0 0,18 1 16,-18 0-16,0 0 0,0-1 0,0 36 15,0-35-15,0-1 0,18-17 16,-18 17-16,0 2 16</inkml:trace>
  <inkml:trace contextRef="#ctx0" brushRef="#br0" timeOffset="113410.59">17127 3814 0,'71'-35'16,"-36"35"-16,35 35 15,-34 18 17,-36-18-32,0 1 15,-17-19-15,17 1 0,0 0 0,-19 0 16,19 16-16,-34 2 0,16-18 15,-18 35-15,19-36 16,17 1 0,-17-18-16,17 17 15</inkml:trace>
  <inkml:trace contextRef="#ctx0" brushRef="#br0" timeOffset="114335.77">17515 4009 0,'18'-36'0,"-18"1"31,-18 18 1,1 51-32,17-16 15,-17 0-15,17 0 16,0-1-16,0 0 16,17 1-16,-17 0 15,17-18-15,1 0 16,-18 18-16,36-36 15,-19 18-15,0 0 0,2-18 0,-2 0 16,1 18-16,16-34 16,-15 16-1,-19 0-15,17 0 16,-17 1 0,-17 52 30,34-17-30,-17 0-16,18-1 16,18-17-1,-19-17-15,0 17 16,1-18-16,0 18 16,0-18-16,-18 0 0,17 1 15,0-36-15,-17 35 0,18 1 16,-18-19-16,0 1 0,0 18 0,0-19 15,0 19-15,0-37 16,0 20-16,0 16 0,0 0 0,-18 0 16,18 1-16,0 0 15,0-2-15,-17 55 32,17-19-32,0 1 0,-17 0 15,17 0-15,0-1 0,0 0 16,0 1-16,17 18 0,-17-19 0,0 0 15,0 37-15,17-37 16,-17 0-16,18 2 0,-18-2 16,18-17-16,0 35 0,-1-35 15,0 19-15,2-19 0,-2 0 16,1-19-16,-1 19 16,0-17-16,2 17 15,-2-18-15,1 18 16,-18-17-1,17 34 1,2-17-16,-19 18 16,0-1-16,17 2 15,-17-2 1,0 0 0,17-17-1</inkml:trace>
  <inkml:trace contextRef="#ctx0" brushRef="#br0" timeOffset="114466.78">18186 3726 0</inkml:trace>
  <inkml:trace contextRef="#ctx0" brushRef="#br0" timeOffset="114864.08">18450 3779 0,'19'-17'15,"-19"-2"-15,-19 55 0,38-89 16,-38 36 0,-16 34 15,18 0-31,-2 2 15,2 16-15,0-18 16,17 0-16,0 2 0,-18-19 16,18 52-1,0-33-15,0-2 0,18 0 16,-1 1-16,0-18 16,2 18-1,16-36-15,-18 18 16,2 0-16</inkml:trace>
  <inkml:trace contextRef="#ctx0" brushRef="#br0" timeOffset="117237.57">17586 4309 0,'159'-36'0,"-106"36"15,0-18-15,-1 1 0,2 0 0,-1-2 0,70 2 16,-70-1-16,18 1 16,-37-2-16,20 19 0,-20-17 0,20 17 15,-37 0-15,19 0 16,-19-17-16</inkml:trace>
  <inkml:trace contextRef="#ctx0" brushRef="#br0" timeOffset="117429">18221 4273 0,'0'0'0,"70"-18"0,-34 1 16,-1 17-16,36-17 0,-35 17 16,-2-19-16,1 19 0,1-17 0,-19 17 15,71-18 1</inkml:trace>
  <inkml:trace contextRef="#ctx0" brushRef="#br0" timeOffset="119448.15">19050 4167 0,'-17'-17'31,"34"34"360,0 1-391,2 18 31,-2-19-31,-17 0 0,0 18 15,18-16-15,-18-2 0,17 18 0,0 18 16,-17-36-16,0 19 0,19-18 16,-19-1-16,0 0 0,17 19 15,1-1 1,-18-16-16,17-2 16</inkml:trace>
  <inkml:trace contextRef="#ctx0" brushRef="#br0" timeOffset="119907.61">18962 4238 0,'53'-71'0,"-53"54"16,18-2-16,16 19 0,-15 0 0,-2 0 0,1-17 15,-1 17-15,0 17 16,2-17-16,16 0 0,-35 19 0,17-19 16,2 17-16,-2 1 0,-17-1 15,-17 2-15,17-2 16,-19 0-16,19 1 0,-17-1 0,-1 2 15,18-2-15,-36 18 0,36-17 16,-17-18 0,17 18-16</inkml:trace>
  <inkml:trace contextRef="#ctx0" brushRef="#br0" timeOffset="120638.21">19421 4502 0,'17'-53'16,"0"35"-16,-17 1 15,0 0-15,0-1 0,19 18 16,-19-18-16,0 0 15,-19 1-15,2 52 32,17 1-1,0-19-31,17-17 0,-17 17 16,19 1-16,16 0 15,-18-18 1,2 0-1,-2 0-15,0-18 0,1 18 16,-1-18-16,-17 1 16,19 0-16,-2-19 31,-17 18-31,17 1 31,1 17-15,-18 17-16,18-17 15,-18 18 1,0 0 0,18-36 15,-1 18-31,-17-18 16,17 1-16,-17 0 15,18 17-15,-18-19 0,18 19 16,0-17-16,-1 17 15,0-18-15</inkml:trace>
  <inkml:trace contextRef="#ctx0" brushRef="#br0" timeOffset="121490.65">20002 4185 0,'-17'0'16,"-1"17"-16,1-17 15,17 19-15,-17-2 16,17 0-16,0 1 15,0-1-15,0 19 16,17-36-16,0 17 16,1-17-16,18-17 15,16 0 1,-34-2 0,0 2-1,-18-1-15,17 18 16,-17-17-16,17 34 78,2 1-62,-2-18-16,1 0 31,-1 0-31,0 0 15,2-18-15,-2 18 0,1-17 16,-1 0-16,2-2 16,-19 2-16,17 17 0,0-35 15,1-1-15,-1 19 16,-17-1-16,19 0 0,-19 0 16,17 1-16,0-18 15,-17 17-15,0 0 16,18 54 15,-18-18-31,-18 16 16,18-16-1,0 0-15,0 0 0,0-1 0,0 36 16,-17-53-16,17 18 16,0-1-16,0 2 15,0-55 48,17 36-63,-17-18 15,18 1 1,0 17 0,0 0-16,-18-19 15,17 19-15,0 0 16,2 0-1</inkml:trace>
  <inkml:trace contextRef="#ctx0" brushRef="#br0" timeOffset="121731.23">20779 4061 0,'-18'53'0,"18"-36"16,18 19-1,-18-18-15,0-1 16</inkml:trace>
  <inkml:trace contextRef="#ctx0" brushRef="#br0" timeOffset="121890.65">20831 3885 0,'-17'0'16</inkml:trace>
  <inkml:trace contextRef="#ctx0" brushRef="#br0" timeOffset="122191.09">20902 3991 0,'36'70'0,"-36"-52"15,35-18 1,-18 0-16,2 0 16,-2 0-1,0 0-15,1 0 16,-1 18 15,2-18-15,-2 0-1,0 0-15,1 0 16</inkml:trace>
  <inkml:trace contextRef="#ctx0" brushRef="#br0" timeOffset="122955.81">20373 4643 0,'88'-17'16,"-35"0"-16,52-19 0,-51 18 15,52-18-15,-54 19 0,2 0 16,51-37-16,-52 37 16,-18 0-16,18-1 0,35-18 15,-34 2-15,-20 15 16,2 2-16,-18-1 0,18 1 0,-2-19 15,20 1-15,-2-18 16,-34 36-16,0-19 16,16 1-1,-34 18-15,0-19 0,0 18 0,0 1 0,0-19 16,0 19-16,-17-54 16,0-17-16,-19 35 15,18 1-15,-16-2 0,-37-51 16,-17-2-16,0 37 15,35 35-15,-54-1 16,-104 1-16,70 35 16,0 18-1,53-1-15,-88 36 0,86-35 16,-68 52-16,87-51 16,2 16-16,15-1 0,-70 20 15,2-1-15,-2 18 16,0-1-16,18-35 15,53 1-15,1-19 16,-55 35-16,19 2 16,54-37-16,-54 36 0,52-17 15,1-18-15,-1 16 0,-35 20 16,19 16-16,16 1 16,2 52-1,34-105-15,17 34 16,-17 19-1,35-18-15,-17-35 0,52 35 16,-34-18-16,52 1 16,70 16-1,-104-52-15,-1 18 0,70 17 16,-87-35-16,34 17 16,-52 2-16</inkml:trace>
  <inkml:trace contextRef="#ctx0" brushRef="#br0" timeOffset="125470.43">19562 5737 0,'-36'17'16,"36"2"-16,0-2 15,0 0 1,0 1-16,0 0 0,0 0 16,0-1-16,0 0 15,0 2 1,-17-55 15,17-17-15,0 35-1,0 1-15,0 0 0,0-2 16,0 2-16,0-1 31,36 36 0,-19-1-15,0-17 0,18-35-1,-16 18-15,-2 0 16,0-2-16,-17 2 16,18 17-1,0 0-15,0 0 16,-18 17-16,34 36 31,-16-35-31,0 35 16,0-36-1,-1 1 1,-17 0-16,0 0 0,17-18 16,2 0-16,-2 0 15</inkml:trace>
  <inkml:trace contextRef="#ctx0" brushRef="#br0" timeOffset="125777.81">20197 5543 0,'0'0'15,"0"35"32,0-18-47,0 2 0,-18-2 16,18 1-16,0-1 0,0 2 16,0-2-16,0 0 15,0 1-15,0-1 0,-17 2 16,17-2-1,0 0 1</inkml:trace>
  <inkml:trace contextRef="#ctx0" brushRef="#br0" timeOffset="126092.87">20143 5473 0,'36'-18'0,"-18"18"15,-1 0-15,19 0 0,-19 0 16,1 18-16,-1-18 0,2 17 15,-2 36 1,-17-35-16,0-1 16,0 0-16,0 2 0,-17-2 0,17 1 15,-19-1-15,2 2 16,-1-2-16,18 0 16,-36 1-16,36-1 0,-17-17 15,0 19-15</inkml:trace>
  <inkml:trace contextRef="#ctx0" brushRef="#br0" timeOffset="126909.01">19403 6107 0,'-70'18'16,"52"-18"-16,0 17 16,0-17-16,-16 19 0,15-19 15,-33 17-15,33 0 0,2-17 0,0 0 16,-1 18-16,1-18 0,-2 0 15,2 18-15,0-18 16,-1 0-16,0 18 0,0-18 0</inkml:trace>
  <inkml:trace contextRef="#ctx0" brushRef="#br0" timeOffset="127192.07">19015 6090 0,'-36'35'16,"19"-18"-16,-36 36 15,53-17 1,-18-18-16,1-1 0,0 19 0,17-19 16,-19 1-16,19-1 0,-17 0 15,17 37 1,0-37-16,0 2 0,0-2 0,17 0 15,19 19 1,16-36 0,-16 0-16,-19 0 0,19 0 0,-18 0 15,16 0-15,2-18 0,-1 18 0,1-18 16,-1 1-16,1 0 0</inkml:trace>
  <inkml:trace contextRef="#ctx0" brushRef="#br0" timeOffset="128286.49">19773 6371 0,'-18'36'31,"1"-1"-15,17-16-16,0-2 0,0 0 16,0 1-1,0-70 48,0-2-48,0 37-15,0-2 0,0 2 16,0 0-16,0-1 16,17 18-1,1 18 17,0-1-32,0-17 15,-1 17-15,0-34 31,2 17-31,-2 0 16,-17-17-16,18 17 0,-18-18 0,17 18 16,-17-17-16,36-2 31,-1 38-15,-35-2-1,0 1-15,17-18 16,-17 17-16,0 0 0,19 2 15,-19-2-15,17-17 16,0 35 0,1-35-16,0 0 0</inkml:trace>
  <inkml:trace contextRef="#ctx0" brushRef="#br0" timeOffset="128965.58">20267 6371 0,'0'-17'0,"0"34"0,0-51 16,-17-1 0,-19 52 15,19 1-16,17-1-15,0 0 0,0 2 16,0-2 0,0 18-1,17-35-15,0 19 0,2-19 16,-19 17-16,17-17 0,18-17 16,-16 17-16,-2 0 15,0 0-15,-17-19 0,18 19 16,-1 0-16,-17-17 0,19 17 0,-19-18 15,17 1-15,-17-2 16,0 2 0,0 0-1,-17 34 17,-2 0-17,19 2 1,0-2-1,0 1-15,19-18 16,-2 0 15,0 0-15,1 0 0,18 0-1,-19 0 1,0 0-1,2 0-15,-2 0 32,1 0-1</inkml:trace>
  <inkml:trace contextRef="#ctx0" brushRef="#br0" timeOffset="129132.63">20619 6407 0</inkml:trace>
  <inkml:trace contextRef="#ctx0" brushRef="#br0" timeOffset="131222.79">24025 8365 0,'-19'36'15,"19"-19"-15,0 0 0,0 2 16,0-2-16,0 1 0,0-1 0,0 0 16,0 2-16,0-2 0,0 1 15,0-1 1,0 2-1,0-73 17,0-16-17,0 52-15,0 1 0,0-2 0,19 2 16,-19 0-16,0-1 16,0-18-16,0 19 15,17 17 16,0 17-15,1-17-16,-18 18 0,18 0 16,0-18-1,-1 0-15,19 0 16,-36-18-16,17 18 16,-17-18-16,18 18 0,-1-17 15,0 0 1,2 34-1,-2 0 1,-17 1-16,18 0 0,-18 17 16,17-18-16,-17 2 15,0-2-15,0 1 0,0-1 16,0 0-16,19 19 16,-19-18-16,17-18 15,0 17-15</inkml:trace>
  <inkml:trace contextRef="#ctx0" brushRef="#br0" timeOffset="131531.01">24589 8506 0,'36'-71'0,"-36"54"16,0 0-16,-19 17 16,2-18-16,-1 36 15,1-1 1,-2-17 0,19 17-16,-17 2 15,17-2-15,0 1 0,17-1 16,-17 0-16,19-17 15,-2 19-15,1-19 16,-1 17-16,2-17 0,-2 0 16,0 0-16,1-17 0</inkml:trace>
  <inkml:trace contextRef="#ctx0" brushRef="#br0" timeOffset="132198.65">24959 8365 0,'0'-18'0,"-17"18"16,-19 18-1,19 0-15,-1 0 16,0-1-1,18 0-15,-18 2 0,18 16 32,0-18-17,18-17-15,0 0 16,0 0 0,-1-17-16,19-18 31,-36 16-31,17 19 0,-17-34 31,18 34-31,-18-18 0,0 0 31,17 36 1,-17 0-17,19-18 1,-19 17-1,17-34 1,0 17 0,1 0-16,-1 0 15,2 0 1,-2 17 0,0-17-1,1 0 1,0 0-1,0 0-15,-1 0 32,0-17-17,2 17-15,-2 0 16,1 0-16,-1-18 0,0 18 16,2 0-16</inkml:trace>
  <inkml:trace contextRef="#ctx0" brushRef="#br0" timeOffset="135281.94">25630 8225 0,'35'-19'0,"-18"19"0,0 0 15,2 0 1,-2 0-16,-17-17 0,18 17 0,-1 0 0,19 17 16</inkml:trace>
  <inkml:trace contextRef="#ctx0" brushRef="#br0" timeOffset="135490.57">25682 8347 0,'-17'0'16,"51"0"15,-15 0-15,-2 0-16,1 0 16,-1 0-16,2 0 0,-2-17 15,0 17-15,1 0 16,35-17-16</inkml:trace>
  <inkml:trace contextRef="#ctx0" brushRef="#br0" timeOffset="137382.89">19773 6107 0,'70'-17'0,"1"17"16,-35 0-16,16-17 0,1 17 0,1-19 15,16 19-15,-18-17 0,19-1 0,0 18 16,-1-17-16,1-2 0,0 2 16,-18 0-16,-1-1 0,1 1 15,1-2-15,-2 2 0,1 0 0,-17-1 16,-1 0-16,18 0 0,-36-16 0,18 15 16,-16 2-16,-2-1 0,0 1 15,1 0-15,0-19 0,0 18 0,-1-18 16,-17 2-16,0 16 15,0 0-15,0 0 0,0-16 0,-17 16 16,-1-18-16,0 2 0,-17-2 0,-1 1 16,1-1-16,-18 19 15,1-18-15,-19-1 0,18 19 0,-88-37 16,70 37-16,-17 0 0,17-1 0,1 18 16,-106-18-16,105 18 15,-17 18-15,0-18 0,0 18 0,-1-1 16,1 0-16,0 1 0,0 18 0,0-19 15,0 19-15,0-1 16,-54 53-16,72-35 0,16 0 0,1-1 16,1-16-16,16 35 0,-16-36 15,33 18-15,-15 35 16,16-35-16,18-18 0,0-18 0,0 19 16,18-1-16,-1 1 0,19-1 15,35 35-15,-2-52 0,2 18 16,-1-2-16,1-16 0,0 0 0,35 0 15,-18-1-15,18 0 0,106 2 16</inkml:trace>
  <inkml:trace contextRef="#ctx0" brushRef="#br0" timeOffset="145338.84">21238 5983 0,'35'0'0,"-18"0"0,0 19 16,19-2-16,-1 1 0,18-1 16,18 19-16,-18-1 0,18 18 0,17-18 15,-17 18-15,51 35 0,-51-35 16,0 1-16,17-2 0,-18-16 16,1 16-16,0-16 0,-1 17 15,1-18-15,0 1 0,-19-2 0,1-16 16,0 18-16,-1-19 0,-16 18 0,18-17 15,-20 0-15,-16-18 0,18 17 16,-2 0-16,-16-17 0,18 19 0,-19-19 16,0 17-16,19-17 0,-18 0 15,-1 18-15,0-18 0,2 0 16,-2 0-16,1 0 0,-1-18 16,-17 1-1</inkml:trace>
  <inkml:trace contextRef="#ctx0" brushRef="#br0" timeOffset="146127.93">21449 6249 0,'-18'-18'31,"1"0"-16,0 18-15,17-18 0,-19 1 16,2-19-16,-1 19 0,1-1 16,-2 1-16,-33-36 15,52 35-15,-17 1 0,-2-2 0,2 2 16,17 0-16,-17-1 16,-1 1-16,18-2 15,18 2 1,16 0-1,-15 17-15,-2 0 0,1 0 16,16 0-16,-15 0 0,-2 17 16,1-17-16,-1 0 0,2 0 0,15 17 15,-16-17-15,-1 0 0,2 0 16,-2 19-16,0-19 0,1 0 0,0 17 16,0-17-16,-1 0 15,0 0-15,2 0 16,-2 0-1</inkml:trace>
</inkml:ink>
</file>

<file path=ppt/ink/ink1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33:25.420"/>
    </inkml:context>
    <inkml:brush xml:id="br0">
      <inkml:brushProperty name="width" value="0.05292" units="cm"/>
      <inkml:brushProperty name="height" value="0.05292" units="cm"/>
      <inkml:brushProperty name="color" value="#0070C0"/>
    </inkml:brush>
  </inkml:definitions>
  <inkml:trace contextRef="#ctx0" brushRef="#br0">534 1746 0,'17'17'94,"159"2"-94,54 16 16,211 1-16,159 52 15,247 53-15,-159-72 16,229 21-16,52-56 16,-15-34-1,-108 0-15,18 0 0,-88 0 16,-70 0-16,-212 0 16,-159 0-16,106 0 15,-353 0 1,35 0-1,-104 0-15,-2 0 16</inkml:trace>
  <inkml:trace contextRef="#ctx0" brushRef="#br0" timeOffset="1361.18">1310 9313 0,'53'0'78,"141"0"-78,247 0 16,-177 18-1,19-18-15,51 0 16,2 0 0,52 0-16,-53 0 0,18 0 15,141 0 1,-300 0-1</inkml:trace>
  <inkml:trace contextRef="#ctx0" brushRef="#br0" timeOffset="8217.06">7801 8890 0,'0'-17'15,"0"51"32,-18-16-47,-16 18 16,15-2 0,2-15-16,-1-2 15,1-17-15,17 18 0,-19-1 0,2-17 16,0 17-16,-1-17 0,0 19 15,0-19 1,1-19 0,0 19-16,-1-17 0,0 0 15,18-1 1,-18 18-16,18-17 0,0-2 0,-17 19 0,17-17 16,0 0-16,0-1 15,0 0-15,17-17 16,1 18-1,0 17-15,0 0 0,-1 0 0,36-18 16,-35 18-16,16 0 16,2 0-16,-18 18 0,35-18 0,-18 0 15,1 0-15,-2 17 0,2-17 16,-18 0-16,16 17 0,-16-17 16,18 0-16,-19 0 0,0 18 0,2-18 0,-2 0 15,1 0-15,-1 0 0,2 0 16,15 0-1,-16 0-15,-1-18 16</inkml:trace>
  <inkml:trace contextRef="#ctx0" brushRef="#br0" timeOffset="9073.89">8313 8643 0,'0'-17'0,"17"17"0,0 0 0,2-19 0,16 19 15,-18 0-15,0 0 16,2 0-16,-2 0 0,1 19 0,-1-19 16,2 17-16,-2-17 15,-17 18-15,17-1 0,-17 0 16,-17-17-16,17 19 0,0-2 15,-17 1-15,17-1 0,-19-17 16,19 19-16,0-2 0,-17 0 16,17 1-1,17-18 1,2 18-16,-2-18 16,0 0-16,1 0 0,0 0 15,0 0-15,-1 0 0,0 0 0,1 0 16,0 0-16,0 0 0,-1 0 0,0 0 15,2 0-15,-2 0 16</inkml:trace>
  <inkml:trace contextRef="#ctx0" brushRef="#br0" timeOffset="11988.79">14239 1394 0,'0'-19'0,"18"55"32,-18-18-17,17-1-15,-17 0 16,0 2-16,19-2 16,-19 1-16,0-1 15,0 2-15,17-2 16,-17 0-16,17-17 31,1-17-15,-18 0-1,17-2-15,-17 2 0,19-1 16,-19 1-16,0-19 0,17 19 0,-17-18 16,0-1-16,17 19 15,-17-19-15,0 1 0,0-1 16,0 19-16,0-18 0,0 18 0,0-2 0,0-16 15,-17 18-15,17-2 16,0 2-16,-17-18 0,17 18 16,0-2-16,0 2 0,-19 17 0,19-17 15,0-1 1,0 0-16,36 0 16,-19 18-16,1 0 15,0 0-15,17 0 0,1-17 0,33 17 16,2 0-16,0-17 0,-1 17 15,1 0-15,17 0 0,-17 0 0,17 0 16,-18-19-16,18 19 0,36 0 16,-70 0-16,-2 0 0,37 0 15,-54 0-15,-18 0 0,19 0 16,-19 0-16,1 0 0,-1 0 16,2 0-16,-2 19 0,0-19 15,1 0 1,-1 0-16,-34 17 47,-18 0-32,18 1-15</inkml:trace>
  <inkml:trace contextRef="#ctx0" brushRef="#br0" timeOffset="13530.87">14962 1553 0,'17'0'15,"-51"17"79,-1 0-78,16-17-1,2 18-15,0-18 16,-1 0-16,0 18 16,0-18-16,1 0 15,0 0-15,-2 0 16,2 0-1,-1 0-15,18-18 16,-17 18-16,17-18 16,-17 18-16,17-17 15,0 0-15,-19 17 16,19-19-16,0 2 16,0-1 15,0 1-16,0-2 64,19 19-48,-2-17 16,0 34-32,1-34 1,-1 17 15,2 0-31,15 0 16,-16 0-1,0 0-15,0 0 0,-1 0 16,0 0-16,2 0 0,-2 0 16,1 0-16,16 0 15,-15 0-15,16 0 0,-18 0 16,2 0-16,-2 0 16,18 0-16,-17 0 0,0 0 15,-1 0-15,0 0 16,19-17-1,-18 17 1,-1 0 0,0 0-1,2 0 1,-2 0 0,1 0 46</inkml:trace>
  <inkml:trace contextRef="#ctx0" brushRef="#br0" timeOffset="14678.54">15315 1463 0</inkml:trace>
  <inkml:trace contextRef="#ctx0" brushRef="#br0" timeOffset="17521">15403 1165 0,'35'0'0,"-16"0"16,-2 17 0,-17 0-1,0 1-15,-17-1 31,-2 2-31,19-2 0,19 0 32,-2-17-17,0-17-15,1 17 16,0 0-16,0-17 0,16 17 16</inkml:trace>
  <inkml:trace contextRef="#ctx0" brushRef="#br0" timeOffset="17854.41">15509 1094 0,'-71'52'16,"54"-52"-16,17 19 0,-18-19 0</inkml:trace>
  <inkml:trace contextRef="#ctx0" brushRef="#br0" timeOffset="18204.64">15667 653 0,'-52'34'16,"35"-15"-1,-2-2-15,-15 1 0,16 18 16,0-19-16,0 0 0,1 1 15,0-1-15,-2 2 0,2-2 0,-1 0 16,18 1-16</inkml:trace>
  <inkml:trace contextRef="#ctx0" brushRef="#br0" timeOffset="18630.25">16426 1270 0,'36'-17'16,"16"17"0,-16 0-1,-1 0-15,-17 0 16,0 0-16</inkml:trace>
  <inkml:trace contextRef="#ctx0" brushRef="#br0" timeOffset="18804.08">16374 1517 0,'0'0'0,"52"0"32,-35 0-32,2 0 0,-2 0 15,18-18-15,-16 18 16,51-17-16,-18 17 0,-16 0 0</inkml:trace>
  <inkml:trace contextRef="#ctx0" brushRef="#br0" timeOffset="19412.95">18155 1341 0,'-18'0'0,"18"17"0,-18 0 16,1 2-16,0-2 16,-1-17-1,0 18-15,0-18 16,1 0-16,0 17 0,-2-17 16,2 0-16,-1 0 0,1 0 15,0 0-15,-2-17 16,2 17-16,17-18 15,0 1-15,0-2 0,0 2 16,17 0-16,2-1 16,-19 0-16,34 0 0,-16 1 15,-1 17-15,2-17 16,-2 17-16,18-19 0,1 19 16,-2 0-16,20 0 0,-1 0 15,-18 0-15,1 0 16,-2 0-16,1 0 0,18 0 15,-17 0-15,16 0 16,-33 0-16,-2 0 0,1 0 16,16 0-16,-15 0 0,-2 0 15,1 0 1,-1 0-16,2 0 16</inkml:trace>
  <inkml:trace contextRef="#ctx0" brushRef="#br0" timeOffset="20276.46">18807 1341 0,'-34'17'46,"-2"0"-30,18 2-16,1-2 0,-19 1 16,-16 16-16,-1 2 15,35-18-15,-18-1 0,19-17 0,0 19 16,17-2-16,-18-17 0,0 0 16,18 17-16</inkml:trace>
  <inkml:trace contextRef="#ctx0" brushRef="#br0" timeOffset="20513.88">19143 1341 0,'-53'34'16,"36"-34"-16,-2 19 16,2-2-16,-35 1 0,16 16 0,1-15 15,-18 16-15,-1 1 0,2-2 16,-18 2-16,16-1 0,1 0 0,1-17 0</inkml:trace>
  <inkml:trace contextRef="#ctx0" brushRef="#br0" timeOffset="22062.82">20430 1323 0,'53'0'0,"-35"0"0,-1 0 15,2-18-15,33 18 16,1 0-16,-36 0 0</inkml:trace>
  <inkml:trace contextRef="#ctx0" brushRef="#br0" timeOffset="22233.14">20501 1499 0,'-18'0'0,"53"0"47,-16 0-47,15 0 0,-16-17 16,88-2-16,-35 19 15</inkml:trace>
  <inkml:trace contextRef="#ctx0" brushRef="#br0" timeOffset="22560.31">21559 1129 0,'-53'0'0,"106"0"16,-123 0-1,52 17-15,18 2 16,0-2-16,0 0 0,0 1 0,18-1 15,-1-17-15,0 36 16,19-1-16,-18-17 16,-1 0-16,2-1 0,-19 0 0,17 2 15,-17-2-15,0 1 0,0-1 16,-17 19-16,-2-36 16,19 17-16,-17 1 0,-1-1 0,1-17 15,-19 19-15,19-19 0,-1 0 16,1 17-16,-2-34 15</inkml:trace>
  <inkml:trace contextRef="#ctx0" brushRef="#br0" timeOffset="22781.55">21965 1146 0,'0'53'16,"0"-35"-16,-18-1 16,18 2-16,0-2 0,-17 18 15,17-17-15,-17 0 0,17-1 0,0 19 16,0-19-16,-19 1 0,19-1 0,0 0 16,0 2-16,0-2 15</inkml:trace>
  <inkml:trace contextRef="#ctx0" brushRef="#br0" timeOffset="23065.9">21894 1165 0,'53'-36'0,"-35"36"0,-1 0 15,19 0-15,-19 0 0,19 0 0,-18 0 16,16 17-16,2 2 16,-18-2-16,16 0 0,-15 1 0,16-1 15,-18 2-15,-17 15 0,19 2 16,-19-18-16,-19 16 0,19-15 16,0-2-16,-17 1 0,-1 16 15,1-15-15,-2-2 0,2 18 0,-18 1 16,18-19-16,-19 1 15,1 0-15,-18 17 0</inkml:trace>
  <inkml:trace contextRef="#ctx0" brushRef="#br0" timeOffset="23604.88">21647 1922 0,'88'-17'16,"-52"17"-16,-160 17 0,300-34 0,-122 17 0,16 0 16,-16-18-16,16 1 0,1 0 15,17-2-15,0 2 0,-17-1 0,17 1 16,-18-2-16,1-15 0,0 16 0,51-35 16,-68 36-16,-1-19 0,-18 18 15,18-16-15,-18-2 0,1 1 16,-2-1-16,37-52 0,-54 53 15,19-18-15,-18 17 0,-1-16 16,-17-1-16,17-18 0,-17 19 16,0-19-16,0 18 0,0-18 0,-17 1 15,-18-1-15,17 0 0,-34 1 0,-2-1 16,-16 19-16,-1-19 0,-88-17 16,71 35-16,0 36 0,-17-19 15,-2 18-15,2 18 0,-2-17 16,2 34-16,0 1 0,-2 0 15,-157 88-15,176-53 16,0-18-16,17 35 0,1-16 0,16 16 16,-16 0-16,35 19 0,-18-18 15,-1 87-15,54-87 0,0-2 16,19 21-16,-2-21 0,18-16 16,18 18-16,71 53 0,-54-72 15,19 1-15,-1 1 0,0-20 0,17 2 16,2-18-16,-19 16 0,0-15 15,17-19-15,-17 17 0,-17-17 0,0 0 16,-1 0-16,106-17 16,-140 17-16,-1-19 0,1 19 15</inkml:trace>
  <inkml:trace contextRef="#ctx0" brushRef="#br0" timeOffset="24185.94">21982 1375 0,'-35'19'0,"35"-2"16,-17 1-16,17-1 16,0 0-16,-17-17 0,17 19 15,0-2-15,-19 1 0,19-1 0,-17 36 31</inkml:trace>
  <inkml:trace contextRef="#ctx0" brushRef="#br0" timeOffset="24631.96">22018 1182 0,'17'-17'0,"1"17"16,0 0-16,-71 17 0,106-53 0,-35 36 0,-1 0 15,0 0-15,19 0 0,-18 19 16,16-19-16,-15 17 16,16 0-16,-18 1 0,2-1 15,15-17-15,-16 19 0,0 15 0,-18 2 16,18-1-16,-18-18 0,-18 2 15,18 16-15,-18-18 0,0 19 16,-52 16-16,-1 1 16,19-17-16,-1-18 0,-54 16 15,72-16-15,-18 0 0,18-18 16,-18 0-16,18 0 0</inkml:trace>
  <inkml:trace contextRef="#ctx0" brushRef="#br0" timeOffset="27622.18">7378 9278 0,'35'-17'0,"1"17"16,-19 0-16,18 0 15,1 0-15,16 0 0,72 17 16,17-17-16,18 0 15,-89 0-15,18 0 0,-17 17 16,0-34-16,17 17 0,-18 0 0,1 0 16,141-53-16,-141 53 15,-2-18-15,38-35 16,69-18-16,-123 54 16,-18 0-16,18-18 0,-18-1 0,1 19 15,17-54-15,-36 18 16,1 35-16,-18-16 0,0-2 15,0-18-15,-18 2 16,1 16-16,-2-16 0,-15-1 16,16 17-16,-18-16 0,-105-89 15,89 105-15,-19-16 0,-53-19 16,-17 0 0,70 54-16,-105-36 0,0 18 15,70 16 1,-88 2-16,18 17 15,70 17-15,18 2 0,-18-2 0,-106 18 16,124 1-16,-18-1 16,0 18-16,-87 52 0,33 2 15,20-2-15,16 1 16,89-36-16,-54 37 16,54-19-16,18 0 15,17-53-15,17 18 0,1-17 16,35 52-16,-36-53 15,37 1-15,-2-2 0,1-16 0,88 35 16,18-18-16,-88-35 16,-1 18-16,142 0 15,-160-18-15,19 0 0,0 0 16,-18 0-16,-18 0 0,1 0 16,34 0-16,-35 0 15,-18 0-15,2 0 0,-2 0 0,1 0 16,-1 0-16,19 0 15,-19 0-15,1 0 16,-1 0 0,2 0 31,-2 0-16,-17-18 47,0 0 141,0 0-188</inkml:trace>
  <inkml:trace contextRef="#ctx0" brushRef="#br0" timeOffset="31113.66">21965 1253 0,'-18'34'16,"18"-16"-16,0 0 0,-17 17 15,17 1-15,-17-19 0,17 18 16,-19 36-16,2-18 15,-1 0-15,18-35 0,-17-1 16,17 18-16,0-17 16,0 0-16</inkml:trace>
  <inkml:trace contextRef="#ctx0" brushRef="#br0" timeOffset="31477.63">22018 1094 0,'35'-36'0,"1"36"15,-2 0-15,54 17 32,-34 19-32,-37-18 0,2-1 15,33 19-15,-34-19 16,0 18-16,-18 18 16,0-17-16,-18-1 0,-18 53 15,-17-35-15,18-18 0,-89 72 16,2-19-16,68-71 15,-16 36-15,-1-18 0,-52 36 16,53-35-16,16-19 16,1 0-16</inkml:trace>
  <inkml:trace contextRef="#ctx0" brushRef="#br0" timeOffset="46593.67">13181 10742 0,'36'0'109,"52"0"-93,70 0-16,36 0 0,18 0 16,70 0-16,-18 0 15,124 0-15,0 0 16,618 0-1,-441 0-15,-36 0 16,53 0-16,0 0 16,458 0-1,-545 0 1,-19 0-16,-36 0 16,-16 0-16,-36 0 15,-53 0-15,247 0 16,-335 0-1,-35 0-15,-19 0 16,-34 0 0,1 0-16,-37 0 0,-35 0 15,36 0-15,-54 0 16,1 0-16,-19 0 16,19 0-16,-35 0 15,-19 0-15,18 0 16,-17 0-16,17 0 15,-18 0 1,19 0 0,-1 0-16,18 0 15,71 0 1,-53 0 0,17 0-16,52 0 0,-33 0 15,51 0-15,-34 0 16,194 0-1,-142 0-15,-18 0 32,37 0-32,-36 0 0,17 0 15,0 0-15,53 0 16,-34 0 0,-73 0-1,-34 0 1,36-35-1,52 35 1,54 0 0,-36 0 15,-52 0-15,-90-18-16,18 18 15,-52 0 1,0 0 78,0 0-79,-1 0 1,0 0-16,2 0 15,16 0-15,-18 0 16,19 0 0,-19 0 249,18 0-265,-16 0 16,33 0-16,72 0 16,-54 0-1,18 0-15,18 0 16,-17 0-16,-18 0 15,51 0-15,-86 0 16,16 0-16,36 0 16,-34 0-16,16 0 15,1 0-15,-18 0 16,-1 0 0,-16 0-16,35 0 0,17 0 15,-17 0-15,34 0 16,0 0-16,19 0 15,-18 0-15,18 0 16,17 0-16,52 0 31,19-18-15,-70 18 0,-37 0-1,-52 0-15,1 0 0,-20 0 16,20 0-1,-20-17 1,-15 0-16</inkml:trace>
  <inkml:trace contextRef="#ctx0" brushRef="#br0" timeOffset="47960.53">746 11783 0,'17'0'78,"195"0"-62,-36 0-16,54 0 16,-1 0-16,71-36 15,0 19-15,88 17 16,-89 0-16,-87-17 16,-54-2-1,-87 19-15,-54 0 0,2-17 16</inkml:trace>
  <inkml:trace contextRef="#ctx0" brushRef="#br0" timeOffset="56701.05">20537 9966 0,'-19'141'0,"19"-106"16,0 18-16,0 1 0,0-2 0,0 18 15,0 37 1,-17 16-16,17-70 0,0 0 16,0-18-16,0 0 0,-18 1 0,18-2 0,0 56 15,0-73 1,0 35-1,0-33-15</inkml:trace>
  <inkml:trace contextRef="#ctx0" brushRef="#br0" timeOffset="59765.65">20483 9842 0,'-17'-52'0,"34"104"0,-34-123 15,17 54-15,-17 0 16,17-1-1,17 18-15,-17-18 16,17 0 0,1 18-1,-1 0-15,-17-17 0,19 17 0,-2 0 16,0-17-16,19 17 0,-18 0 0,16 0 16,2-18-16,123 0 15,-107 18-15,72-18 16,-53 1-16,-18 17 0,18 0 0,-1-17 15,-18 17-15,160-19 16,-158 19-16,16-17 16,18 17-16,-17 0 0,-19 0 0,19-18 15,-1 18-15,142 0 16,-158-17-16,16 17 0,0 0 16,71 0-16,-70 0 0,-1 0 15,1-17-15,124 17 16,-126 0-16,2 0 0,-18 0 15,71 0-15,-72 0 0,1 0 16,1 0-16,104-19 16,-123 19-16,18 0 15,-18 0-15,18 0 0,35 0 16,-52 0-16,16 0 0,-16 0 0,-1 0 16,18 0-16,-18 0 0,1 0 0,-1 0 15,18 0-15,-18 0 0,1 0 16,17 0-16,-18 0 0,1 0 15,16 0-15,-16 0 0,16 0 0,-16 0 16,-2 0-16,2 0 0,-1 0 0,1 0 16,-1 0-16,1 0 15,-2 0-15,1 0 0,18 0 0,-17 19 16,-1-19-16,1 0 0,-1 0 0,18 0 0,-18 0 16,1 0-16,16 0 15,-16 17-15,16-17 0,-16 0 0,-2 0 0,20 0 16,-18 0-16,-2 0 0,20 0 0,-20 0 15,2 17-15,16-17 16,-16 0-16,-1 0 0,18 0 0,-18 0 16,18 0-16,-18 0 0,1 18 0,17-18 15,35 0-15,-53 0 16,18 0-16,-18 0 0,1 0 0,17 0 16,-18 0-16,0 17 0,18-17 0,-17 0 15,-1 0-15,35 0 16,-35 0-16,1 0 0,-1 0 0,1 0 15,-2 0-15,2 0 0,16 0 16,-16 0-16,-1 0 0,36 0 16,-35 19-16,-19-19 0,18 0 0,1 0 15,-2 0-15,2 0 0,-1 0 16,-18 0-16,19 0 0,-1 0 16,18 0-16,1 0 15,-37 0-15,18 0 0,-17 0 0,17 0 16,-18 0-16,2 0 0,16 0 15,-18 0-15,19 0 0,-1 0 16,1 0-16,-19 0 0,18 0 0,-17 0 16,0 0-16,-1 0 0,0 0 15,19 0-15,-1 0 16,-18 0-16,2 0 0,-2 0 0,1 0 0,-1 0 16,2 0-16,-2 0 15,0 0-15,1 0 0,18 0 16,-19 0-16,0 0 0,1 0 15,0 0-15,0 0 0,-1 0 16,0 0-16,1 0 0,0 0 16,0 0-16,-1 0 0,0 0 0,2 0 15,-2 0-15,1 0 0,-1 0 16,2-19-16,-2 19 0,0 0 16,1 0-16,-1 0 15,19 0-15,-19 0 16,1 0-16,0 0 15,0 0 1,-1 0-16,0 0 31,2 0 1,-2 0-17,1 0 1,-1 0 46,0 19-46,2-19 31,-2 17-16,1-17 0,-1 0-15,2 17 15,-2-17-15,0 0 15,1 0-15,0 0-1,0 0 1,-18 18 0,17-18-1,0 0 16,-17 18-15,0 0-16,0-1 31,0 0-31,0 1 0,0 0 16,0 17-16,0-18 0,18 37 31,-18-37-31,0 2 0,0-2 16,-18 18-16,18-18 15,0 2-15,0-2 0,0 0 0,0 1 16,0 0-16,0 0 16,0 16-16,-17 2 0,17-1 31,0-18-31,0 2 0,0-2 0,0 1 16,0-1-16,0 2 0,0-2 15,-17-17-15,17 17 0,0 1 16,0 0-16,0 0 0,0-1 0,0 18 15,-18 1 1,18-19-16,0 0 0,0 2 16,0-2-16,0 1 0,0-1 15,0 2-15,0-2 0,0 0 16,0 1-16,0-1 0,0 2 16,0-2-16,0 0 15,0 1-15,0 18 16,18-19-1,-18 0-15,0 1 16,0 0-16,0 0 31,0-1-15,-18-17 15,0 0-15,-17 0-16,18 0 0,-19 0 15,18 0-15,-18 0 0,2 0 16,16 0-16,-18 0 0,2 0 16,-2 0-16,-16 0 0,16 0 15,-16 0-15,-2 0 0,1 0 0,-18 0 0,19 0 16,-18-17-16,-1 17 0,0-18 16,-17 18-16,-18-18 0,18 18 15,0-18-15,0 18 0,-54-17 16,72 17-16,-1-17 0,19 17 0,-19 0 15,18 0-15,-52-18 16,69 18-16,-18 0 0,20 0 0,-37 0 16,18 0-16,-70-18 0,70 18 15,-18 0-15,0 0 0,1-18 16,-72 18-16,73-17 0,-20 17 16,1 0-16,-71-17 15,88 17-15,-17 0 0,35-19 0,-70 19 16,87 0-16,-16 0 15,16 0-15,-16 0 0,16-17 16,-17 17-16,18 0 0,-18 0 0,18 0 0,-18 0 16,0 0-16,1 0 0,-19 0 15,0 0-15,-70 0 16,70 0-16,1 0 0,-1 0 0,0 0 16,1 0-16,-70 0 0,16 0 15,70 0-15,-16 0 16,18 0-16,-2 0 0,-16 0 0,-36 17 15,-18-17-15,71 0 16,-16 0-16,15 19 0,1-19 16,-18 0-16,19 0 0,-1 0 0,-35 17 15,52-17-15,1 0 0,-1 17 16,2-17-16,-2 0 16,-34 0-16,52 18 0,-17-18 0,-1 0 15,19 0-15,-37 18 16,2-18-16,16 0 15,2 18-15,-2-18 0,1 0 16,18 17-16,-19-17 16,18 0-16,1 0 0,0 0 15,-2 17-15,2-17 16,-1 0-16,1 0 0,-2-17 16,2 17-16</inkml:trace>
  <inkml:trace contextRef="#ctx0" brushRef="#br0" timeOffset="61590.96">3250 11394 0,'-17'-88'0,"17"53"15,-18 18-15,18-2 0,0 2 16,0 0-16,-18-1 16,18 1-16,-18-2 0,18 2 0,-17 0 15,17-1-15,-17 0 0,17 0 0,-19 1 16,2 17-16,-18-36 15,18 19-15,-2-1 16,2 18-16,-1-17 0,1 17 0,-2-17 16,2 17-16,0-19 0,-19 19 15,-16-17-15,34 17 16,0-18-16,0 18 0,-16 0 0,15-17 0,2 17 16,-18 0-16,18-19 0,-37 19 15,18-17-15,-16 17 16,34-17-16,-17 17 0,18 0 0,-19-18 15,18 18-15,-16 0 0,15-18 16,-16 18-16,-1 0 0,19 0 0,-18-18 16,18 18-16,-19 0 0,19 0 15,-19 0-15,-16-17 0,34 17 16,0 0-16,-34 0 16,33 0-16,2 0 0,-1 0 0,1 0 0,-19-17 15,19 17-15,-1 0 16,1 0-16,-2 0 0,2 0 0,-18 0 15,-1-18-15,19 18 16,0 0-16,-19-18 16,18 18-16,-16 0 0,15 0 15,-16 0-15,-1 0 0,19 0 16,-18 0-16,17 0 0,0 0 0,-34 0 16,16 0-16,19 18 15,-19-18-15,19 0 0,-18 0 0,-18 18 16,35-18-16,-18 0 15,19 0-15,-18 17 0,17-17 0,0 17 16,-16-17-16,16 0 0,-18 18 0,19-18 16,-19 18-16,-16 0 15,-1-1-15,35-17 0,-35 17 16,36 2-16,-1-19 0,-18 17 16,19-17-16,0 18 0,-2-18 15,2 17-15,-1-17 0,1 19 16,0-19-16,-19 17 0,18-17 15,1 17-15,-2-17 0,19 18 16,-17-18-16,0 17 16,-18 19-16,16-19 15,19 1-15,-17 0 0,0 0 16,17-1-16,-18 0 0,0 19 16,0-18-16,1 16 15,0 2-15,17-18 0,-19-1 16,19 2-16,0-2 0,0 35 15,0-16-15,0-19 0,19 19 16,-2-18-16,18 35 16,-17-18-16,0-18 0,16 19 15,2-19-15,16 1 0,38 35 16,15-18-16,19-17 0,-72-18 16,89 18-1,54-1-15,-36-17 16,-89 17-16,0-17 0,71 0 15,-70 18-15,-1-18 16,72 0-16,-72 0 16</inkml:trace>
  <inkml:trace contextRef="#ctx0" brushRef="#br0" timeOffset="63665.9">24329 11589 0,'-18'34'31,"18"-15"-31,0-2 16,0 1-16,-18-1 15,18 2-15,0 15 16,0-16-1,0 0-15,0 0 16,18-54 31,-18 1-31,0 18-1,0-2-15,0 2 0,0-1 0,18 1 16,-18-2-16,0 2 0,0 0 31,17-1-15,0 18-16,2 0 15,-19 18 1,17-1-16,-17 0 16,18-17-16,-18 19 0,17-19 15,-17 17 1,19-17-16,-2 0 15,0-17 1,1-19 0,18 1-1,-36 18-15,17 17 32,0-19-32,1 38 15,0-2 1,0 1-16,-18-1 15,0 0-15,17-17 0,-17 36 16,17-1-16,-17-16 0,0-2 16,0 0-16,0 1 15,19-18-15,-19 18 16,0 17-16,17-18 31</inkml:trace>
  <inkml:trace contextRef="#ctx0" brushRef="#br0" timeOffset="63928.52">24875 11589 0,'0'34'32,"0"-15"-32,0-2 0,-17 1 15,17 18-15,0-19 16,0 0-16,0 1 0,0 0 16,0 0-1,0-1-15</inkml:trace>
  <inkml:trace contextRef="#ctx0" brushRef="#br0" timeOffset="64334.11">24929 11535 0,'0'-17'16,"0"34"-16,17-51 0,0 34 15,1 0 1,0 0-16,0 17 15,16 0-15,-15 2 0,-2-2 16,1 1-16,-18-1 0,17 0 0,-17 19 16,17-1-16,-34-16 15,17-2-15,0 0 0,-17 1 16,-18 52-16,16-52 16,2 0-16,0 0 0,-1-1 15,0-17-15,0 0 16,1 0-1</inkml:trace>
  <inkml:trace contextRef="#ctx0" brushRef="#br0" timeOffset="64905.58">25563 11694 0,'71'0'31,"-54"0"-15,1 0-16,0 19 0,0-19 16,-1 0-1,-17 17-15</inkml:trace>
  <inkml:trace contextRef="#ctx0" brushRef="#br0" timeOffset="65097.62">25634 11835 0,'-17'18'0,"34"-18"31,0 18-15,1-18-16,0 0 0,0-18 15,-1 18-15,0 0 0,2 0 16,-2 0 0</inkml:trace>
  <inkml:trace contextRef="#ctx0" brushRef="#br0" timeOffset="67722.03">27257 11077 0,'0'-18'0,"0"1"16,-35 52 15,-1 18-15,19-53 0,17 17-16,-18 2 0,0-2 0,18 1 15,-18-1-15,1 0 0,0 2 16,17-2-16,-19 1 0,2-1 15,17 2-15,-18-19 0,18 17 0,-17-17 16,17 17 0</inkml:trace>
  <inkml:trace contextRef="#ctx0" brushRef="#br0" timeOffset="68046">27010 11095 0,'35'18'15,"-18"-1"-15,2-17 16,15 36-16,-16-19 0,0 1 16,17-18-16,-18 17 0,2 0 0,33 2 15,1 16 1,-35-35-16,-1 0 0,2 17 16,-2-17-16,0 19 0,1-19 15,0 0 1,0 17-16</inkml:trace>
  <inkml:trace contextRef="#ctx0" brushRef="#br0" timeOffset="69680.83">28933 11271 0,'-18'18'0,"36"-36"47,-1 1-31,18-36-1,-17 35-15,0-18 0,-1 2 16,0-20-1,2 37-15,-2-36 16,-17 35-16,18 18 16,-18-17-16,-18 34 47,18 1-47,0-1 15,0 19 1,0-19-16,18 1 0,-18 0 15,17-18-15,-17 18 0,19-18 16,15 0 0,1-18-1,-16 0-15,-2 18 0,0-18 16,1 1-16,0 0 16,0-2-16,-1 2 15,-17 34 16,0 2-15,0-2 0,17 0-16,-17 1 0,0 0 15,0 0-15,18-1 16,0 0 0,0-17-16,16 0 15,-15 0-15,-2 0 16,1 0-16</inkml:trace>
  <inkml:trace contextRef="#ctx0" brushRef="#br0" timeOffset="71368.86">31102 10989 0,'-17'36'47,"-2"-2"-31,19-16-16,-17 0 15,17 0-15,0-1 0,-18-17 16,18 17-16,0 2 0,0-2 0,-17 1 16,17-1-16,0 0 15,-17-17 1,17 19-16,0-38 172,17 2-141,-17 0 63,17-1 78</inkml:trace>
  <inkml:trace contextRef="#ctx0" brushRef="#br0" timeOffset="72321.95">31066 11006 0,'36'-35'0,"-36"18"16,17 17-16,1 0 0,0-17 0,0 17 16,16 0-1,-15 17-15,-2-17 16,-17 17-16,18-17 0,-18 18 0,17-1 15,-17 2-15,0-2 16,0 0-16,0 1 0,0 0 0,0 0 16,-17 16-16,-1-15 15,1-2-15,-2 1 16,2-1-16,0 0 16,-1-17-16,0 19 0,0-19 15,1 17-15,0-17 16</inkml:trace>
  <inkml:trace contextRef="#ctx0" brushRef="#br0" timeOffset="72876">31437 11201 0,'36'-18'0,"-36"1"0,17 17 16,-17-19-16,0 2 16,0-18-1,0 17 1,-17 0-1,-1 18 1,0 36 15,18-1 1,0-18-32,0 2 0,0-2 15,0 1 1,18-1-16,-18 0 15,18-17-15,-18 19 16,17-2-16,0-17 16,1 0-16,0 18 15,0-18-15,-1 0 0,0 0 16,2 0-16,-2 0 16,1-18-16,16 1 15,-15-2 1,-2 2-1,1 0 1</inkml:trace>
  <inkml:trace contextRef="#ctx0" brushRef="#br0" timeOffset="73268.61">31825 11095 0,'-18'35'31,"18"1"-31,18-36 0,-18 17 16,0 1-16,0-1 15,0 0-15,18 2 16,0-2 0,-1-17-1,0-17 1,1 17-16,0-19 0,0 2 15,-1 0-15,0-1 16,-17 1 0,19 17-16,-19-19 0,17 2 15,1 17 17</inkml:trace>
  <inkml:trace contextRef="#ctx0" brushRef="#br0" timeOffset="73424.19">32107 11113 0,'0'17'15,"18"-17"-15,-36-17 0,36 51 0,-18-15 16,0-2-16,0 18 16,0-18-16,0 2 31,0-2-31</inkml:trace>
  <inkml:trace contextRef="#ctx0" brushRef="#br0" timeOffset="74485.84">32478 11147 0,'-36'-17'0,"19"17"16,-1 0-16,18 17 0,-17-17 15,-2 19-15,2-2 16,0-17-16,17 18 0,-18-1 15,18 0 1,18 2 0,-1-19-16,0 17 15,19-34 1,-18 17-16,-1 0 16,2 0-16,-2-19 15,0 19-15,1 0 16,0 19-1,-18-2 1,18-17 0,-18 18-16,17-18 15,0 0-15,19 0 32,-18 0-32,-1 0 0,-17-18 15,17 18-15,-17-17 0,19-2 16,-2 2-16,1 0 0,-1-37 15,0 20-15,-17 16 0,19 0 16,-19-17-16,17 18 0,-17-2 16,18-16-16,-18 18 0,0 0 15,17 17-15,-17-19 16,-17 55 15,17-19-15,0 18-16,-18-35 0,18 36 15,0-19-15,18 19 16,-18-18 0,17-1-16,2-17 15,-2 0 1,0 0-16,19 0 16,-18 0-1,-18 17 1,17 2-16,-17-2 15,0 1-15,0-1 16,0 0 0,17-17-16,-17 19 15</inkml:trace>
  <inkml:trace contextRef="#ctx0" brushRef="#br0" timeOffset="74766.12">32707 11042 0,'-17'0'0,"86"-17"32,-50 17-32</inkml:trace>
  <inkml:trace contextRef="#ctx0" brushRef="#br0" timeOffset="75126.13">33201 11077 0,'0'18'0,"0"0"0,-18-18 16,18 34-1,18-15 1,-1-19-1,-17 17-15,19-34 16,-2 17 0,0-19-16,-17 2 15,18 0-15,-18-1 32,-35 36-1,70-18 0,1 0-15,-19 0-16,0 0 15,1 0-15</inkml:trace>
  <inkml:trace contextRef="#ctx0" brushRef="#br0" timeOffset="76072.08">27010 11942 0,'35'0'0,"1"0"0,16 17 16,1 37 15,-53-37-31,0 35 16,0-33-16,0-2 15,-17-17-15,-1 35 0,0 1 16,0-19-16,1 0 16,0-17-16,17 19 15,-19-19-15,2 17 0,34-53 31</inkml:trace>
  <inkml:trace contextRef="#ctx0" brushRef="#br0" timeOffset="76383.21">27310 11906 0,'-36'0'31,"36"17"-31,-17-17 0,17 19 16,-18 16-16,1-18 16,-2 19-16,19-19 15,0 1-15,0-1 16,0 2-16,0-2 0,0 0 16,19 1-16,-19 0 15,17-18-15,1 18 0,-1-18 16,0 17-16,2-17 15,-2 0-15,1 0 0,18 0 16,-19 0-16,0 0 16,1 0-1,-18-17-15,18 17 16</inkml:trace>
  <inkml:trace contextRef="#ctx0" brushRef="#br0" timeOffset="78211.42">26903 11818 0,'54'-53'15,"-37"53"-15,19-18 0,-19 18 16,18 0-16,-16-17 0,15 17 0,20 0 16,-1 0-1,-36 0-15,1 17 0,16-17 16,2 18-16,-36 18 15,18-36-15,-18 17 16,0 0-16,-18 1 0,1 18 16,-19-19-16,19 0 0,-1 2 15,-35-2-15,36 1 0,-54 18 16,35-19-16,-16 0 16,35-17-16,-37 18 15,37-18-15,-2 0 0,2 17 16,0-17-16,51-17 31,-15 17-31,-2 0 16,18 0-16,-16 0 0,33 0 15,-16 0-15,-2 0 0,-16 0 16,52 0-16,-51 0 16,-2 17-16,18-17 0,-18 19 0,2-19 15,-2 17-15,-17 0 0,18 1 16,-18 0-16,0 17 15,-18-18-15,18 2 16,-36 16-16,-16-1 16,-1-15-16,36-2 15,-54 1-15,35-1 16,-16 2-16,-1-2 16,-35-17-16,70 17 15,0-17-15,-17 0 16,18 0-16,-1 0 15,0 0-15,0 18 0,1-18 16,52 0 31,1 0-47,-19 0 16,36-18-16,-1 1 15,-33 17-15,16 0 0,1-17 16,-19 17-16,35-19 15,-16 2-15,-19 17 0,1 0 16,0-18-16,17 18 0,1-17 16,-1-2-1,-35 2-15,17 17 16,-17-17-16,17-1 0,-17 1 16,0-2-1,0 2 1,0 0-16,-17-1 0,17 0 15,-17 18-15,-1-18 16,1 18-16,-2-17 16,2 17-16,-18-17 15,17 17-15,0 0 16,1-19-16,-19 19 16,36-17-16,-35 17 0,18 0 15,0-18 1,-2 18-16,2 0 0,-1 0 15,1 0-15,52-17 47,-35 0-31,17 17-16,2 0 16,-2-19-16,18 19 0,1-17 15,69-18 1,-88 16-16,19 2 0,-18 17 15,-1-17-15,0-1 16,2 0-16,-19-17 16,-19 0-1,2 17-15,0 0 16,-18 18-16,16 0 0,-15-17 16,-37 0-1,35 17-15,19 0 0,-1 0 0,-35 17 16,36-17-16,-1 0 15,1 17-15,-2 1 16</inkml:trace>
  <inkml:trace contextRef="#ctx0" brushRef="#br0" timeOffset="78953.25">29426 11747 0,'0'-17'0,"-35"34"32,35 1-32,-18 18 15,18-19-15,-18 36 16,1-18-16,17-18 16,0 19-16,0-1 0,0 1 15,0-19-15,0 1 0,0-1 16,0 2-16,17-2 0,1 0 0,0-17 15,-18 18-15,18-18 0,16 0 16,-15 0-16,-2 0 16,1 0-16,-1-18 0,2 18 15,-19-17-15,17 0 16,-34-2 0,17 2-16,-19 17 0,2 0 15,-1-18-15,1 18 0,-19 0 16,19 0-16,-1 18 15,0-18 1</inkml:trace>
  <inkml:trace contextRef="#ctx0" brushRef="#br0" timeOffset="80282.02">32019 11783 0,'35'18'0,"-16"-18"16,-19 17-16,0 0 15,0 1-15,0 0 16,-19 0-16,2-1 15,17 0-15,-18-17 0,1 19 16,17-2-16,-19-17 0,19 18 16,19-18 15,33 0-15,-33 17-16,-2-17 15,0 0-15,1 19 0,-1-19 16,2 0-16,-19 17 15,0 0-15,0 1 16,0-1 0,-19-17-16,2 0 0,17 19 0,-18-19 15,-16 17-15,15-17 0,2 17 16,-1-17-16,1 0 0,-2 0 16,2 18-16,0-18 15</inkml:trace>
  <inkml:trace contextRef="#ctx0" brushRef="#br0" timeOffset="84546.65">27027 12911 0,'0'18'0,"18"-18"16,18-18-16,-19 18 0,0 0 16,1 0-16,0-17 0,0 17 15,-1 0-15,0 0 16,2 0 0,-2 0-16,-17 17 0,0 1 15,0 0-15,0 17 16,0-18-16,0 37 15,0-37-15,0 0 0,-17 19 16,17-18-16,0 18 0,0-19 16,0 0-16,-19 1 0,19 0 0,0 0 15,0-1-15,0 0 16,0 1-16,0 0 16</inkml:trace>
  <inkml:trace contextRef="#ctx0" brushRef="#br0" timeOffset="84763.07">26869 13282 0,'0'-17'0,"17"-1"16,0 18-16,2 0 15,16-18-15,-18 18 0,36 0 16,35-18-16,-52 18 16,-1-17-16,1 17 0,52-17 15,-53 17-15,1-19 16,-2 19-16,20-17 0,51-1 0,-69 18 16</inkml:trace>
  <inkml:trace contextRef="#ctx0" brushRef="#br0" timeOffset="85494.52">29779 12823 0,'-36'18'32,"36"0"-32,-17 0 0,0 16 15,17-16-15,-18 18 16,18-19-16,0 0 0,0 2 15,0-2-15,0 1 0,0-1 0,0 0 16,18 2-16,-18-2 0,17 1 16,0-1-16,19-17 0,-18 19 15,16-19-15,2-19 16,-18 19-16,18 0 16,-36-17-16,0-1 15,-19 1 1,2-2-16,-1 19 0,18-17 15,-17 17-15,-2 0 0,-15-17 16,16 17-16,1 0 0,-2 0 16,2 0-1,0 0-15</inkml:trace>
  <inkml:trace contextRef="#ctx0" brushRef="#br0" timeOffset="86089.35">32213 12841 0,'18'36'16,"-18"-19"-16,0 0 0,0 1 16,0 18-16,0-19 0,0 0 0,0 19 15,0-1 1,0-18-16,0 2 0,0-2 15,0 1-15,0-1 16</inkml:trace>
  <inkml:trace contextRef="#ctx0" brushRef="#br0" timeOffset="90406.39">29003 6826 0,'-18'0'31,"54"-17"16,-19 17-31,0-18-16,2 18 0,-2 0 15,1 0-15,-1-18 0,2 18 16,-2 0-16,0 0 0,1 18 15,-1-18-15,2 18 16,-19-1-16,0 19 16,-19-36-16,19 17 15,-17 18-15,-1-35 0,1 19 16,0-2-16,-2 0 16,38 1 30,15-18-30,-16 0-16,-1 0 16,2 0-16,-2 0 0,0 17 15,1-17-15,0 19 16,-18-2 0,18-17-16,-18 17 0,0 1 15,-18 0 1,0 0-16,18-1 15,-18-17-15,1 17 16,0-17-16,-2 19 16,2-19-1,17-19 1,0 2 0</inkml:trace>
  <inkml:trace contextRef="#ctx0" brushRef="#br0" timeOffset="90705.47">29514 6738 0,'0'-17'0,"19"34"16,-19 0-1,17 1-15,-17 18 16,0-2-16,0-15 0,17-2 16,-17 1-16,0-1 0,0 2 15,0-2 1,18 0-16,-18 1 0,0-1 15,17 2 1</inkml:trace>
  <inkml:trace contextRef="#ctx0" brushRef="#br0" timeOffset="90954.09">29443 6914 0,'19'0'16,"-2"-17"-16,1-1 16,-1 18-16,19-17 15,-19 17-15,1 0 0,18-19 16,-19 19-16,0-17 15,1 17-15,0 0 0,0-17 0,-1 17 16,0-18-16</inkml:trace>
  <inkml:trace contextRef="#ctx0" brushRef="#br0" timeOffset="91392.26">30185 6543 0,'0'54'15,"0"-37"1,0 2-16,0-2 0,0 18 16,0 1-16,0-19 0,0 18 15,0-17-15,17 0 0,-17 16 16,0 2-16,17-1 16,-17-16-16</inkml:trace>
  <inkml:trace contextRef="#ctx0" brushRef="#br0" timeOffset="91798.48">29409 7321 0,'53'-19'15,"-18"19"-15,1-17 16,-19 17-16,35-18 0,1 1 0,1-2 15,-1 2-15,70-18 16,-18-1-16,2-16 16,-54 34-16,-18 0 0,18 1 15,-18 17-15,1-17 0,52-19 16,-36 18 0,-34 18-16,0 0 15,-1 18 1</inkml:trace>
  <inkml:trace contextRef="#ctx0" brushRef="#br0" timeOffset="92253.06">30043 7531 0,'54'-17'15,"-108"34"-15,142-34 0,-69 17 16,-2 17-1,1 2-15,-18-2 16,0 1 0,-18-1-16,-18 19 0,19-19 0,-18 37 15,17-37-15,-17 18 16,18-17 0,-2 0-16,38-1 31,-2-17-16,18-17-15,-17 17 16,0-18-16,16 18 0,-15-18 0,-2 18 16,1-18-16,16 1 15,-15 0-15,16-2 0,-18 2 16</inkml:trace>
  <inkml:trace contextRef="#ctx0" brushRef="#br0" timeOffset="92610.66">30855 6826 0,'35'-17'16,"-18"17"-16,2-18 15,-90 53-15,177-70 0,-89 17 0,19 18 16,-19 0-16,1 0 16,-1 0-16,2 0 15</inkml:trace>
  <inkml:trace contextRef="#ctx0" brushRef="#br0" timeOffset="92801.87">30855 7091 0,'0'18'16,"18"-18"-16,16 0 15,2-18-15,-18 18 16,-1-18-16,36 18 16,1-35-16,-232 18 0,408 17 15,-194-19-15,-19 19 0,-352 89 0,706-213 16,-336 124-16</inkml:trace>
  <inkml:trace contextRef="#ctx0" brushRef="#br0" timeOffset="96362.66">32107 6543 0,'35'0'0,"-16"0"15,-19 19 1,0 16-16,0-18 16,-88 90-1,69-90 1,-16 18-16,35-17 16,-17 0-16,-2-1 0,19 0 15,19-17 1,-2 0-1,1 0-15,-1 0 16,2-17-16,-2 17 0,0 0 16,1 0-16,-1-17 0,19 17 0,-1-36 15,-17 36-15</inkml:trace>
  <inkml:trace contextRef="#ctx0" brushRef="#br0" timeOffset="96552.92">32495 6633 0,'-17'17'32,"0"0"-32,-2 1 0,19 0 15,-17 0-15,-1-1 0,-18 36 16,160-211-16,-282 368 0,123-174 16,16-18-16,-15 18 0,34-19 15,-18 0-15,18 1 0,-18-1 16</inkml:trace>
  <inkml:trace contextRef="#ctx0" brushRef="#br0" timeOffset="96739">32637 6721 0,'-36'70'0,"1"1"15,0-36-15,-35 35 0,34-16 16,-87 87 0,104-89-16,-69 36 0,35 0 15,36-52-15</inkml:trace>
  <inkml:trace contextRef="#ctx0" brushRef="#br0" timeOffset="98952.87">28738 6755 0,'-17'142'16,"17"-54"-16,17-35 0,-17-18 16,17 18-16,2-17 0,-2 16 15,1-16-15,70 69 16,-52-70-16,16 1 0,1-19 15,-17 1-15,-19-18 16,18 0-16</inkml:trace>
  <inkml:trace contextRef="#ctx0" brushRef="#br0" timeOffset="99493.75">30273 6191 0,'53'18'0,"-36"-1"0,-87-52 0,158 106 16,0 34-1,-35 2-15,-36-55 0,2 1 16,-19 71-16,0-72 0,-19 72 16,2-53-16,0 0 0,-19 34 15,18-52-15</inkml:trace>
  <inkml:trace contextRef="#ctx0" brushRef="#br0" timeOffset="106261.45">28279 12082 0,'36'19'31,"-18"-19"-31,-1 0 0,54 0 16,-54 0-16,19-19 15,-19 19-15,1 0 0,18 0 16,-19 19-16,0-19 0,1 0 0,0 0 16</inkml:trace>
  <inkml:trace contextRef="#ctx0" brushRef="#br0" timeOffset="106809.99">28509 13282 0,'36'-17'15,"-19"17"-15,0 0 0,1 0 16,0 0-16,0 0 0,16 0 16,20-18-16,-1 18 15,-18 0-15,1 0 0,16-18 0,-16 18 0,34 0 16,-35 0-16,1 0 15</inkml:trace>
  <inkml:trace contextRef="#ctx0" brushRef="#br0" timeOffset="108231.1">26357 11871 0,'-106'494'16,"124"-441"-16,18-1 0,69 37 15,-52-54-15,106 36 0,105-18 16,-176-53 0,19 0-16,-2-19 0,0 2 15,2 0-15</inkml:trace>
  <inkml:trace contextRef="#ctx0" brushRef="#br0" timeOffset="108828.89">29673 11606 0,'18'-17'16,"0"17"-16,-1 17 0,0 0 16,2 2-16,-2 33 15,1-33-15,-1 33 16,-17-16-16,0-19 0,0 18 0,0 54 16,-17-54-1,17 1-15,-18-19 16,18 0-16,-17 18 0,17-16 15,-19-19-15,19 17 16</inkml:trace>
  <inkml:trace contextRef="#ctx0" brushRef="#br0" timeOffset="109182.17">30167 11518 0,'18'0'0,"-36"0"0,53 0 16,-18 36-1,-17 16 1,0-35-16,-17 2 0,17-2 15,-17 1-15,17-1 0,0 2 16,-18 15-16,18-16 0,18 0 16,-1-18-1,0 18-15,19-36 16,35 0-16,-36 0 16,35 1-16,-34 17 15,-36-17-15,35 17 16</inkml:trace>
  <inkml:trace contextRef="#ctx0" brushRef="#br0" timeOffset="109868.93">26903 12911 0,'-105'247'16,"105"-194"-16,0 1 0,0-20 15,35 20-15,-17-1 0,17-18 16,18 18-16,159 35 16,-124-71-16,0-17 0,18 18 0,0-18 15,124-35-15</inkml:trace>
  <inkml:trace contextRef="#ctx0" brushRef="#br0" timeOffset="110396.74">30097 12489 0,'53'52'15,"-36"-34"-15,1 0 16,-18 16-16,17-15 0,0 16 0,-17-1 15,19-15-15,-19 16 0,0 18 0,0-36 16,0 19-16,0-18 16,-19 34-16,2-34 0,17 0 15,-17-1-15,17 0 0,-18 2 16,1-2-16,-2-17 16,2 0-16</inkml:trace>
  <inkml:trace contextRef="#ctx0" brushRef="#br0" timeOffset="110703.32">30397 12259 0,'34'0'0,"-16"0"0,-18 18 0,18-1 16,-18 0-16,0 2 15,0-2-15,0 1 0,-18 35 16,18-36-16,0 1 0,0-1 16,0 2-16,0-2 0,0 0 15,18 1-15,70-18 16,54-18-16,-37 1 15,0-19-15,2 19 0,105-54 16,-107 36-16</inkml:trace>
  <inkml:trace contextRef="#ctx0" brushRef="#br0" timeOffset="114134.31">24417 9666 0,'0'71'0,"0"-37"16,0 20-16,0 16 0,0 1 0,-18 0 0,18 17 15,-17 0-15,17-18 0,0 18 16,0 0-16,-19-34 0,19 16 15,0-16-15,0-2 0,0 1 16,0 0-16,-17-18 0,17 1 0,0-19 16,0 18-16,0-16 0,0-2 0,0 0 15,0 1 1</inkml:trace>
  <inkml:trace contextRef="#ctx0" brushRef="#br0" timeOffset="114806.52">24382 9595 0,'52'0'15,"1"-17"-15,-158 34 0,245-34 0,-104 17 16,-1-17-16,35 17 0,54-19 16,-53 2-16,88-1 15,-71 18-15,106-17 0,-106 0 16,18 17-16,-1-19 0,2 19 15,210-17-15,-193 17 16,-19 0-16,1-18 0,123 18 16,-105-17-16,-19 17 0,107-19 15,-106 19-15,0 0 0,-35 0 16,34-17-16,-34 17 0,0 0 16,87 0-16,-87 0 0,0-17 15,70 17-15,-70 0 16,-19 0-16,1-18 0,-18 18 0,18 0 15,-18 0-15,1 0 0,-19 0 16,19-18-16,16 18 0,-33 0 16,15 0-16,-16 0 0,-1-18 15,2 18 1,-2 0-16,0 0 31,1 0-15</inkml:trace>
  <inkml:trace contextRef="#ctx0" brushRef="#br0" timeOffset="115357.86">29814 10583 0,'-17'0'15,"51"0"17,-15 0-17</inkml:trace>
  <inkml:trace contextRef="#ctx0" brushRef="#br0" timeOffset="116306.39">2139 12153 0,'35'18'0,"1"-36"16,123 0 0,-107 1-16,72-19 0,-71 19 15,140-54 1,-105 36-16,-17-1 0,0 19 15</inkml:trace>
  <inkml:trace contextRef="#ctx0" brushRef="#br0" timeOffset="118529.3">27486 12401 0</inkml:trace>
  <inkml:trace contextRef="#ctx0" brushRef="#br0" timeOffset="120657.57">27557 12382 0,'17'36'15,"-17"-19"-15,17-17 0,-17 18 16,19-1-16,-19 2 0,17-2 16,1 0-16,-1 1 0,19 0 0,-19 0 15,1-1-15,18 0 0,16 19 16,-16-18-16,-2-1 0,2-17 16,16 17-16,-16 2 0,-1-2 0,1-17 15,35 18-15,-37-1 0,2-17 16,-1 0-16,0 19 15,1-19-15,17 0 0,-18 0 0,1 0 0,-2 0 16,1 0-16,1 0 0,-19 0 16,19 0-16,-1 0 0,1 0 15,-1 0-15,-18 0 0,54 0 16,-54 0-16,19-19 0,-19 19 0,19 0 16,-18 0-16,16 0 0,-16-17 15,18 17-15,-19 0 0,19-18 0,-19 18 16,18 0-16,-16-17 0,-2 17 0,18-19 15,1 2-15,-19 17 16,18 0-16,-17-17 0,0 17 0,-1-18 16,0 18-16,1-17 0,18-2 0,-19 19 15,0 0-15,2-17 0,-2 0 16,1 17-16,-1-18 16,2 18-16,-19-18 0,17 18 0,-17-18 0,17 18 15,1-17-15,-1 0 16,-17-2-1,19 19 1,-19-17-16</inkml:trace>
  <inkml:trace contextRef="#ctx0" brushRef="#br0" timeOffset="121095.17">29426 12382 0,'53'0'31,"-18"-17"-16,1 17 1,-19 0-16,18 0 16,-16 0-1,-2 0-15,0 0 16,1 0-16,-18 17 0,18-17 16,-18 36-1,0-19-15,0 1 0,0-1 0,0 2 16,0-2-16,0 0 0,0 1 0,-18 0 15,18 0-15,0-1 0,0 0 16,0 2-16,-18 16 0,18-18 16,0 0-16</inkml:trace>
  <inkml:trace contextRef="#ctx0" brushRef="#br0" timeOffset="133227.87">8118 14887 0,'0'18'0,"36"-18"31,-19 0-31,1 0 16,18 0-16,-2 0 0,2 0 0,87 0 15,-52 0-15,158 0 16,-70 0 0,-71 0-16,-18 0 0,18 0 0,2 0 15,-21 0-15,214-18 16,-213 18 0,1-17-16,-36 17 0,1 0 0,-19 0 15,54 0 1,-54 0-1,0 0-15,2 0 0,-2 0 16,1 0 0</inkml:trace>
  <inkml:trace contextRef="#ctx0" brushRef="#br0" timeOffset="134609.43">14151 14905 0,'18'0'15,"16"0"-15,-15 0 16,-2-18-16,18 18 0,1 0 16,87 0-16,18-17 15,-70 17-15,34 0 0,2-19 0,105 19 16,-107 0-1,19 0-15,-1 0 0,142 0 0,158-17 16,-247 17 0,-18 0-16,108 0 0,-2 0 15,-158 0-15,17 0 0,-16-17 16,-19 17-16,-18 0 16,72 0-16,-54 0 15,-18 0-15,-52 0 0,-1 0 16,0 0-16,2 0 0,-2 0 15,-17-18-15,18 18 0,18 0 32,-19 0-32,0 0 0,18 0 15</inkml:trace>
  <inkml:trace contextRef="#ctx0" brushRef="#br0" timeOffset="135473.81">21171 14922 0,'18'-17'0,"-1"17"0,2 0 15,15 0-15,2 0 0,-18 0 16,16 0-16,2-18 16,16 18-16,-16 0 0,35 0 0,0 0 0,-1 0 15,0 0-15,71 0 0,-70 0 16,-1 0-16,18 0 0,107 0 16,-90 0-16,19 0 15,-18 18-15,0-18 0,0 0 0,18 0 16,-19 0-16,18 0 0,106 17 15,-122-17-15,15 0 0,108 19 16,-124-19-16,0 0 16,0 17-16,0-17 0,-36 0 0,36 0 15,35 0-15,0 17 16,-87-17-16,-20 0 0,20 0 16,-20 0-16,20 0 0,-37 0 15,0 0-15,2 0 16,-2-17-16,-53 17 31,19-17-15</inkml:trace>
  <inkml:trace contextRef="#ctx0" brushRef="#br0" timeOffset="136936.91">6249 15698 0,'34'0'0,"2"0"0,-18-17 16,-1 17-16,54 0 15,-35 0-15,34 0 0,-18 0 16,19 0-16,-18-18 0,18 18 0,0 0 16,-1 0-16,1 0 0,0 0 0,-1 0 15,0 18-15,0-18 0,18 0 16,-17 0-16,18 0 0,17 0 16,-1 0-16,-17 0 0,19 17 0,-2-17 0,2 0 15,-2 0-15,0 0 16,2-17-16,-2 17 0,1 0 0,0 0 0,-18 0 15,18 0-15,0-18 0,0 18 16,-1 0-16,-16-17 0,-1 17 16,54 0-16,-73 0 0,2 0 15,-18-17-15,-17 17 0,16 0 16,-35 0-16,19 0 0,-18 0 0,18 0 16,-2 0-16,-16 0 15,0 0 1</inkml:trace>
  <inkml:trace contextRef="#ctx0" brushRef="#br0" timeOffset="141469.57">12246 16845 0,'71'0'16,"-54"0"-16,19 0 0,-19 0 0,1 0 0,35 0 15,-18-18-15,35 18 16,-34 0-16,16 0 15,-16 0-15,16 0 0,19 0 0,0 0 16,-18 0-16,18 0 0,-1 0 0,1-17 16,17 17-16,-17 17 0,-1-17 15,18 0-15,0 0 0,18 0 0,-18 0 16,18 0-16,88 18 0,-88-18 16,0 0-16,-1 0 0,2 18 15,-19-18-15,124 18 0,-107-18 16,19 0-16,-19 0 0,213 0 15,-194 0-15,-19 17 16,2-17-16,103 0 16,-103 0-16,-19-17 0,0 34 0,-17-17 15,17 0-15,70-17 0,-87 17 16,0 0-16,53 0 16,-90 0-16,1 0 0,1 0 0,-19 0 15,37 0-15,-37 0 0,0 0 16,2 17-1,-2-17-15,1 17 16</inkml:trace>
  <inkml:trace contextRef="#ctx0" brushRef="#br0" timeOffset="142565.79">19019 16774 0,'106'0'0,"-53"0"0,18 0 15,105 0-15,-70 0 0,0 0 16,18 0-16,-2 0 0,20 0 16,-18 0-16,16 0 0,1 0 0,36 0 15,-37 0-15,2 19 0,16-19 0,-16 0 16,-18 0-16,17 0 0,-18 0 16,1 0-16,-19 0 0,2 0 0,-38 17 15,2-17-15,-1 0 0,-16 0 0,-1 0 16,-18 0-16,1 0 15,34 0-15,-35 0 16,-18 0-16,1 0 0,0-17 16,-71 17 15,36 17-15,-1-17-16,0 0 15,0 0-15,-16 0 16,15 0-1</inkml:trace>
  <inkml:trace contextRef="#ctx0" brushRef="#br0" timeOffset="145052.48">15245 15505 0,'17'17'16,"0"36"-16,-17-18 0,19 18 15,-19 1-15,0 16 0,0 18 16,17 0-16,-17 0 0,0 18 0,0-17 16,18-1-16,-18-17 0,17 87 15,-17-106-15,0 19 0,19-18 16,-19 1-16,0-2 0,0-16 16,17-2-16,-17 37 0,0-18 15,0-35-15,0-1 16</inkml:trace>
  <inkml:trace contextRef="#ctx0" brushRef="#br0" timeOffset="147954.5">15139 15558 0,'18'-19'0,"16"19"31,37-17-15,-54 17-16,2 0 0,16 0 0,1-17 15,-2 17-15,20 0 0,156-18 16,-68 0 0,-72 0-16,1 18 0,0 0 15,70-17 1,-70 17-16,-1-17 0,1 17 0,-2 0 0,126-18 15,-107 0-15,0 18 0,-17 0 16,17 0-16,1 0 0,-1-18 16,17 18-16,-17 0 0,19 0 15,-19 0-15,0 0 0,-17 0 0,17 0 0,17 0 16,-17 0-16,19-17 0,-2 17 16,-34 0-16,105 0 15,-87 0-15,-1 0 0,0 0 0,-17 0 16,34 0-16,-17 0 0,0 0 15,89 0-15,-71-17 0,-36 17 16,18 0-16,-17 0 0,34 0 16,-34 0-16,17 0 0,-17 0 0,18 0 15,-20 0-15,2 0 0,18 0 0,-19 0 16,0 0-16,72 0 16,-72 0-16,1 0 0,0 0 0,-1 0 15,1 0-15,-19 0 0,19 0 16,-1 0-16,1 0 15,-18 0-15,1 0 0,-2 0 0,1 0 0,18 17 16,-18-17-16,-18 0 0,18 0 0,-1 0 16,1 0-16,1 0 0,-2 0 15,37 0-15,-37 0 0,1 0 16,-18 0-16,18 0 0,-17 0 16,16 0-16,-16 17 0,16-17 0,-16 0 15,18 0-15,-20 0 0,20 0 16,34 0-16,-54 0 0,20 0 15,-20 0-15,20 0 0,-1 0 16,0 0-16,-18 0 0,18 0 16,-18 0-16,18 0 0,1 0 0,-20 0 0,20 0 15,-2 0-15,-16 0 0,34 0 16,-18 0-16,19 0 0,-18 0 0,1 0 16,-20 0-16,37-17 0,-18 17 15,-1 0-15,2 0 0,-1 0 0,0-17 16,-1 17-16,-16 0 0,16 0 0,2 0 15,-1-19-15,-18 19 16,18 0-16,-18 0 0,1 0 0,16 0 16,-16-17-16,-2 17 0,2 0 0,35 0 15,-54 0-15,18-18 16,1 18-16,-19 0 0,1 0 0,18 0 16,-19 0-16,0 0 0,2 0 15,-2 0-15,18-17 0,-18 17 16,19 0-16,-18 0 0,18 0 15,-19 0 1,0 0-16,18 0 16,-16 0-1,-2-19-15,0 19 16,1 0-16,0 0 0,0 0 16,16 0-16,-15 0 31,-2 0-31,1-17 0,-1 17 0,0 0 15,2 0-15,-2 0 16,1 0 0,-1 0-1,2 0 1,-2 0 15,-17 17-15,0 2-1,17-2-15,-17 1 16,0-1 0,0 19-16,0-19 0,0 1 15,0 18-15,0-2 0,0-16 0,0 18 16,-17-2-16,17 20 0,0-18 16,0-2-16,-17 20 0,17-2 0,0-16 15,-19-2-15,19 2 0,0-1 16,-17 18-16,17-18 0,0 1 0,-18 35 15,18-37-15,0 2 0,0-1 16,0 1-16,0-1 0,0-1 16,18 2-16,-18-1 0,0 1 15,17 35-15,-17-54 0,19 18 16,-19 1-16,17-19 0,-17 0 16,0 19-16,17-18 0,1 16 15,0-15-15,-18-2 0,18 1 0,-1-1 16,-17 2-16,17-2 15,1 0 1,0 1 0,-54 0 46,2-18-46,16 0-16,0 0 15,-17-18-15,18 18 0,-19 0 16,18 0-16,-18 0 0,2 0 16,-37 0-16,36 0 0,-18 0 15,17 0-15,-33 0 0,15-18 16,-70 18-16,72 0 0,-1 0 16,-52 0-16,51 0 0,-16 0 15,-1 0-15,0-17 0,1 17 16,-72 0-16,72 0 0,0 0 15,0 0-15,-1 0 0,0 0 16,1 0-16,-1 0 0,0 0 0,1 0 16,-89-17-16,88 17 15,-87 0-15,87 0 0,-17 0 16,17 0-16,1-19 0,-1 19 16,0 0-16,-17 0 0,18 0 0,-18 0 15,-54 0-15,72 0 16,-1 0-16,-69 0 0,69 0 15,18 0-15,-18-17 0,-53 17 16,2 0-16,68 0 16,2 0-16,16 0 0,-52-18 15,35 18-15,1 0 0,16 0 16,-52 0-16,0 0 16,52 0-16,1-17 0,-18 17 15,1 0-15,-19 0 16,18 0-16,17 0 0,1 0 15,1 0-15,-37 0 0,35 0 16,-35 0-16,19 0 0,16 0 16,2 0-16,-2 0 0,1 0 15,-1 0-15,1 0 0,-89 0 16,90 0-16,-2 0 0,-16 0 16,16 0-16,1 0 15,-18 0-15,-35 0 0,34 0 0,20 0 16,-20 0-16,20 0 0,-20 0 15,18 0-15,-69 0 16,70 0-16,-18 0 0,17 0 0,-69 0 16,51 0-16,-16 0 15,-53-19-15,-1 19 16,89 0-16,-18 0 0,0 0 0,18 0 16,-18 0-16,-18 0 0,-52 0 15,53 0-15,16 0 16,1 0-16,-16 0 0,-2 0 0,18 0 15,-1 0-15,20 0 0,-37 0 0,18 0 16,-35 0-16,17 0 0,18 0 16,-53 0-16,53 0 15,1 0-15,-1 0 0,-1 0 16,2 0-16,-1-17 0,17 17 16,-16 0-16,16 0 0,-35 0 0,37 0 15,-20-17-15,20 17 0,-37 0 16,54 0-16,-90-18 15,55 18-15,16 0 16,1 0-16,17 0 16,-52-17-16,0 17 0,51 0 15,-16 0-15,-1 0 0,2 0 16,16 0-16,-52 0 16,34 0-16,18 0 0,-52 0 15,35 0-15,18 0 0,-19 0 0,18 0 16,-52 0-16,16 0 15,37 0-15,-18 0 0,-1 17 16,2-17-16,15 0 16,2 0-16,-35 0 0,16 0 15,18 0-15,-18 0 0,19 0 16,0 18-16,-19-18 16,18 0-16,1 0 15,0 0-15,-1 0 0,0 0 16,0 0-16,1 0 15,0 0-15,-2 0 16,2 0-16,-1 0 16,1 0-1,-2 17-15,2-17 16,0 0-16,-1 0 16,1 0-1,-2 0-15,2 17 16,0-17-1,-1 0 1,0 19 15,0-19 1,72 0 14,-54-19-46,17 19 0,0 0 16</inkml:trace>
  <inkml:trace contextRef="#ctx0" brushRef="#br0" timeOffset="149617.04">19849 17074 0,'34'107'15,"-16"-90"-15,18 18 0,-19 1 0,19 17 16,-19-18-16,35 18 0,-16-1 0,18-16 16,-2 16-16,-16-16 0,16 17 15,54 35-15,-35-53 16,70 36-16,-70-54 0,17 19 0,0-1 15,17-17-15,2 17 16,104 0-16,-105-17 0,0 0 16,-1-1-16,19-17 0,-19 17 0,2-17 15,16 0-15,-17 0 0,17 0 16,1 0-16,0 0 0,105 0 16,-106 0-16,-16 0 0,15-17 0,2 17 15,-1 0-15,1 0 0,0-17 16,-19 17-16,19 0 0,-1-18 15,1 0-15,-1 18 0,-17-18 0,0 1 0,123-18 16,-124 17-16,2 0 16,-19 1-16,17-19 0,-17 19 15,90-37-15,-108 20 0,1-1 16,0-1-16,-37 1 0,20 17 16,-2-17-16,-16 18 0,-2-19 0,2 18 15,-18 1-15,-1 0 0,0-2 0,2 2 16,-2-1-16,1 18 15,-18-17-15,17-2 16,-17 2-16,-17 0 16,-1 17-1,1 0-15,-2-18 0</inkml:trace>
  <inkml:trace contextRef="#ctx0" brushRef="#br0" timeOffset="150408.38">19461 17374 0,'0'-35'15,"0"-1"-15,17 36 0,0-17 16,1 0-16,0-1 0,0 0 16,-1-17-16,0 18 0,37-19 15,34 1-15,-52 35 16,-19-17-16,18 17 0,1 0 0,-2 0 15,54-19-15,-52 38 0,16-19 16,2 0-16,-1 0 0,0 17 0,-1-17 16,36 17-1,-52-17-15,-1 0 0,18 0 0,-18 18 0,18-18 16,-17 0-16,-1 0 0,1 0 16,-1-18-16,18 18 15</inkml:trace>
  <inkml:trace contextRef="#ctx0" brushRef="#br0" timeOffset="156292.92">25687 1658 0,'176'-53'0,"-141"53"15,-16 0-15,-2 18 16,-17 0-16,17-1 0,-17 0 0,18 19 15,-18 16-15,0 19 0,0-18 16,0 35-16,0 19 0,0-19 0,0 0 16,0 0-16,0 17 0,0-17 15,17 2-15,2-2 0,-19 0 0,34 17 16,-16 2-16,18 15 0,-2 2 16,2-1-16,-1 1 0,18 0 0,-18-1 15,1-17-15,-1 17 0,-17-35 0,17 36 16,-18-19-16,1 2 0,0-2 15,0-17-15,-1 19 0,0-2 0,-17-17 16,19 19-16,-19-19 0,17 0 16,-17 0-16,0 0 0,0-17 0,0-1 15,18-16-15,-18 16 0,0-18 0,0 2 16,0-1-16,-18-1 0,18 1 16,0-18-16,0 1 0,-17 17 0,17-18 15,0 1-15,-19-1 0,19-1 16,-17-15-16,0 16 0,-1 1 15,18-19-15,-18 0 0,-17 18 0,18-16 0,-1-2 16,-18 0-16,19 1 16,-19 0-16,1 0 0,-70 16 15,52-15-15,-1-2 0,-16-17 0,-1 35 16,-17-18-16,-17 2 0,-2-2 0,2 1 16,-1 18-16,-35-19 0,-176 54 15,158-37-15,-18-16 0,18 18 16</inkml:trace>
</inkml:ink>
</file>

<file path=ppt/ink/ink1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36:16.375"/>
    </inkml:context>
    <inkml:brush xml:id="br0">
      <inkml:brushProperty name="width" value="0.05292" units="cm"/>
      <inkml:brushProperty name="height" value="0.05292" units="cm"/>
      <inkml:brushProperty name="color" value="#0070C0"/>
    </inkml:brush>
  </inkml:definitions>
  <inkml:trace contextRef="#ctx0" brushRef="#br0">10230 3793 0,'-34'-36'110,"-2"36"-95,-18 0-15,20 0 16,-37 0-16</inkml:trace>
  <inkml:trace contextRef="#ctx0" brushRef="#br0" timeOffset="239.82">9420 3757 0</inkml:trace>
  <inkml:trace contextRef="#ctx0" brushRef="#br0" timeOffset="12678.97">23213 4974 0,'17'35'0,"1"-35"0,-1 0 0,2 0 16,-2 0-16,0 0 15,1 0-15,0 0 0,17 0 0,-18 0 16,1 0-16,18 0 0,-2 0 15,-15 0-15,16 0 0,1 0 0,-2-17 0,-16 17 16,18 0-16,-19 0 0,0 0 16,19 0-16,-18 0 0,-1 0 15,0-18-15,2 18 0,-2 0 0,1 0 16,-1 0-16,-17-17 0</inkml:trace>
  <inkml:trace contextRef="#ctx0" brushRef="#br0" timeOffset="12959.91">23760 4816 0,'88'17'0,"-18"19"15,-52-19-15,18 1 16,-19-1-16,0 19 0,1-19 0,0 1 16,0 18-16,-18-2 0,0-16 15,0 18-15,0-19 0,0 18 0,-18 1 16,-18-2-16,19 2 0,0-1 16,-2-18-16,2 19 0,-1-18 0,1-1 15,-2 2-15</inkml:trace>
  <inkml:trace contextRef="#ctx0" brushRef="#br0" timeOffset="13863.01">25436 4321 0,'0'-17'0,"0"34"0,17-52 0,0 89 32,-17-37-32,18 18 0,-18 35 15,18-16-15,-18 16 0,0-16 16,18-2-16,-18 1 0,0 0 15,0-18-15,0 1 0,0-1 0,17-18 16,-17 19-16,0-1 0,0-18 16,0 2-16,0-2 0,0 0 0,0 18 15,17-16-15,-17-55 47,-17-16-31,0 16-16,-1 18 0,18 1 15,-36-2-15,19-15 0,17 16 0,-17 18 16,-37-36-16,37 36 0,-2 0 16,2-17-16,0 17 0,-1 0 15,1 17-15,-2-17 0,2 19 16,0-2-16,-19 1 0,18-1 0,1 0 16,17 19-16,0-18 0,-17-1 15,17 2-15,17-2 0,-17 0 16,0 18-16,17-35 0,-17 19 0,36 15 15,-1-16-15,-18-18 0,19 0 16,-18 0-16,16 0 0,2 0 16,18-18-16,-2 1 0,1 0 15,0-19-15,-18 18 0,18-16 0,-18-2 0,1 1 16,-1-1-16,-18 19 0,19-18 16,-19-1-16,-17 19 0,18-1 0,0-18 15,-18 19-15,0 0 16,-18 17-1,0 17 1,18 0-16,-34 19 0,34-18 16,-19-1-16,19 0 0,0 2 0,0-2 15,0 1-15,0-1 0,0 0 16,0 2-16,19-2 0,-2 1 16,0-1-16,1 2 0,0-19 0,0 17 15,16-17-15,-15 0 0,-2 0 16,1 0-16,35 0 0,-18 0 15,-18 0-15,2 0 0</inkml:trace>
  <inkml:trace contextRef="#ctx0" brushRef="#br0" timeOffset="14271.34">26246 4745 0,'36'53'15,"-18"-18"-15,-1 1 16,-17-19-16,17 1 0,-17 16 15,19-15-15,-19-2 0,17-17 16,-17 18-16,18-1 0,-1 2 16,0-19-16,2 0 15,-2 0-15,1-19 0,-1 2 16,2-1-16,-2 1 0,18-54 16,-35 35-1,18 19-15,-18 0 0,18-1 0,-1-18 16,-17 19-16,0 0 15,17-2-15,-17 2 0,18-1 16</inkml:trace>
  <inkml:trace contextRef="#ctx0" brushRef="#br0" timeOffset="14439.92">26793 4640 0,'0'34'16,"17"-16"-16,-17 35 15,0-36 1,0 1-16,0 0 0,0 17 16,0 1-16,0-1 15,0-18 1,19 0 0</inkml:trace>
  <inkml:trace contextRef="#ctx0" brushRef="#br0" timeOffset="14581.27">26864 4445 0,'0'-17'0</inkml:trace>
  <inkml:trace contextRef="#ctx0" brushRef="#br0" timeOffset="15398.85">27269 4604 0,'-69'17'16,"50"-17"0,19 19-16,-17-2 0,-1-17 0,1 17 0,17 1 15,-19-1-15,-15 19 16,34-19-16,-18 19 0,18-18 15,0-1-15,-18 0 0,36 2 16,0-19 0,-1 0-16,0 0 0,2-19 15,-2 19-15,18-17 16,-35 0-16,36-1 0,-19 18 16,-17-18-16,18 18 0,-1 0 15,2 18 1,-2 0-16,-17-1 15,17-17-15,-17 17 16,18 2-16,0-19 16,0 17-16,-1-17 15,0 0-15,2 0 0,-2 0 16,18-17-16,-18-2 0,2 2 16,-2 0-16,1-1 0,-1-18 15,19 2-15,-19-2 0,1-16 16,0 16-16,0 1 0,-1-18 0,0 17 15,19-34-15,-36 52 0,18-17 16,-18 18-16,17-2 0,-17 2 16,17 53 15,-17-19-31,0 0 0,0 1 16,-17 18-16,17-19 0,0 18 0,0 1 15,0-2-15,0-15 16,0-2-16,0 1 0,0-1 15,17 2-15,-17-2 0,19 0 16,16-17 0,-18 0-16,-17-17 15,17 17-15,2 0 0,-2-17 16,1 34-16,-1-17 16,2 17-16,-19 1 15,17-18-15,-17 17 16,17 2-16,1-2 0,-18 0 15,18-17-15,0 18 16,-1-18 0</inkml:trace>
  <inkml:trace contextRef="#ctx0" brushRef="#br0" timeOffset="15691.82">27517 4533 0,'52'0'16,"-16"0"-16,17 0 16,-18 0-16</inkml:trace>
  <inkml:trace contextRef="#ctx0" brushRef="#br0" timeOffset="16289">28416 4586 0,'0'0'15,"-18"35"1,18-16-16,-17-2 15,17 0-15,0 1 0,0-1 16,0 2-16,0-2 0,0 0 16,0 1-16,0 0 15,17-18-15,1 0 0,-18 18 16,36-18-16,-36-18 16,17 18-16,18-18 15,-17 0-15,0 1 0,16-36 16,-15 18-16,-2-1 0,-17 19 15,0-1-15,0 1 0,0-19 16,0 19-16,-17 17 16,-2-18-16,2 18 0,0 0 15,-19-18-15,18 36 16,1-18 0,34 35-1,1-35-15,52 36 31,-70-19-31,54 1 16,-37-1-16,2-17 16,-2 19-16,0-19 0,18 34 15,-16-34-15,-2 18 16,0-18-16,1 17 16,0-17-16,0 0 0,16 19 15,-15-19-15,-2 0 0,18 0 16,-18 0-16,2 17 0,-2-17 15,18 0-15,-16 0 16,-2 0-16,0 0 0,1 0 16,0 0-16,0-17 0,-1 17 15,-17-19-15</inkml:trace>
  <inkml:trace contextRef="#ctx0" brushRef="#br0" timeOffset="115888.75">7497 10884 0,'-19'0'16,"19"-19"-1,19 19 16,50 0-15,-50 0-16,-2 19 16,1-19-16,-1 17 0,2-17 15,-2 17-15,-17 1 0,17-18 16,-17 18-16,0 0 0,0-1 0,0 0 16,-34 37-16,15-37 0,2 0 15,-1 2-15,-18 16 0,19-18 0,0 2 16,-18-2-16,16-17 0,2 17 15,0 1-15,-1-18 0,18 17 16,-18-17-16,0 19 0,1-19 16,52 0 15,-17 0-31,0 0 16,-1 0-16,0 0 0,2 0 0,33 0 15,-16 0 1,-19 0-16,37-19 15,-2 2 17,-34 17-32</inkml:trace>
  <inkml:trace contextRef="#ctx0" brushRef="#br0" timeOffset="116335.77">8114 10918 0,'-18'-17'15,"0"17"-15,-16 0 16,34 17-16,-19-17 0,19 18 16,-17-18-16,17 18 15,-18 0-15,18-1 0,-17 0 0,17 2 16,0-2-16,0 1 0,-17-1 0,17 0 15,17 2-15,-17-2 16,0 1-16,0-1 0,17 2 0,1-2 16,-1-17-16,-17 17 0,19-17 0,-2 0 15,-17 18-15,35-18 16,-17-18-16,0 18 0,-1 0 16,0-17-16,1 0 15,0-2-15,-18 2 16,0-1-16,0 1 15,0-2-15,-18 2 0,18 0 16,-18-1-16,18 1 0,-17-2 16,17 2-16,-17 17 0,17-17 15,-18 17-15,0-18 16,0 18 0,1 0-16</inkml:trace>
  <inkml:trace contextRef="#ctx0" brushRef="#br0" timeOffset="116678.11">8537 10777 0,'-17'36'31,"17"-19"-31,-18 1 0,0-1 15,18 19-15,-18-19 0,18 19 0,-17-18 16,17 16-16,-17 2 0,17-18 0,0 16 16,0-15-16,0 16 0,17-18 15,0 36-15,1-18 16,0-35-16,0 19 0,-1-2 16,0-17-16,2 0 15,-2-17-15,1-2 31,-18 2-31,-18-1 16,18 1-16,0 0 0,-17 17 0,-2-19 16,2 19-16,0-17 0,-54-1 15,54 18 1,-19 0-16,-16 0 0,16 0 0</inkml:trace>
  <inkml:trace contextRef="#ctx0" brushRef="#br0" timeOffset="117115.24">6914 10618 0,'-88'54'15,"35"34"-15,36-52 16,-19 33-16,18 2 0,-34 70 16,34-53-16,0-17 0,1-18 15,17 71-15,0-55 16,35 38-16,1-54 0,-2-18 16,2 18-16,16-18 0,19 1 15,-18-19-15,123 18 16,-34-35-16,-54-17 15,89-18-15</inkml:trace>
  <inkml:trace contextRef="#ctx0" brushRef="#br0" timeOffset="117632.15">8766 10618 0,'54'18'16,"-37"-18"-16,18 18 0,-17 0 16,34 35-16,-16-18 0,-18 1 15,18 33-15,-19-16 16,-17-17-16,0 35 16,-17 17-16,-2-53 15,2 1-15,17-2 0,-18-16 0,-18 35 16,19-18-16,0 1 15,-1-36-15</inkml:trace>
  <inkml:trace contextRef="#ctx0" brushRef="#br0" timeOffset="118106.71">9260 10425 0,'70'17'16,"-51"-17"-16,-2 35 0,-17-16 16,0-2-16,0 18 15,-17-17-15,-2 34 0,-15-16 16,16-1-16,0-18 15,0 2-15,18-2 16,-17 1-16,34-1 16,1 2-1,0-19 1,0 0-16,-1 0 0,36 0 16,-35 0-16,35-19 15,18 19-15,-37 0 0,-16 19 16,35-19-16</inkml:trace>
  <inkml:trace contextRef="#ctx0" brushRef="#br0" timeOffset="118464">10160 10884 0,'-18'34'0,"18"-16"16,0 18-16,-17-19 0,17 19 16,0-19-16,-19 18 0,19-18 15,0 2-15,-17 33 0,17-16 0,0-19 16,0 1-16,0-1 0,0 2 16,0-2-16,17 18 15,-17-17-15,0 0 16</inkml:trace>
  <inkml:trace contextRef="#ctx0" brushRef="#br0" timeOffset="118695.64">9808 11165 0,'52'0'0,"-35"0"16,2 0-16,15 0 0,-16 0 0,18 0 16,-2 0-16,2 0 0,-1 19 0,1-19 15,35 0-15,-54 0 16,36 0-16,-1 17 0,19-17 16,-35 0-16,-1 0 15</inkml:trace>
  <inkml:trace contextRef="#ctx0" brushRef="#br0" timeOffset="119783.78">11306 10954 0,'36'-18'47,"-1"18"-32,-18 0-15,1 0 0,0 0 16,0 0-16,-1 0 16,0 0-16,2 0 15,-2 18-15,-17 0 16,0-1-16,0 0 16,0 2-16,-17 33 0,17-16 15,0-1-15,-19-18 16,19 19-16,0-19 0,-17 18 0,17-16 15,0 15-15,0-16 16,0 0-16,0 0 0,-17 16 0,17-15 16,17-2-1</inkml:trace>
  <inkml:trace contextRef="#ctx0" brushRef="#br0" timeOffset="120015.14">11253 11272 0,'36'-19'0,"-19"19"16,19-17-16,-18 17 15,-1 0-15,18 0 0,35 0 16,1 0-1,-35 0-15,16-18 16,-16 18-16,-19 0 0,19 0 16</inkml:trace>
  <inkml:trace contextRef="#ctx0" brushRef="#br0" timeOffset="120332.62">12100 11060 0,'0'0'0,"-35"17"16,18 0 0,-2-17-16,19 19 0,-17-2 15,-1 18-15,1 1 16,17-19-16,0 1 0,0-1 16,0 2-16,0-2 0,0 0 0,17 1 15,1 0-15,-1 0 16,2-18-16,-2 0 15,0 0 1,1-18-16,-18 0 16,0 0-1,-35 1-15,18 0 16,-2-2-16,2 2 16,-1 17-16,-16-18 0,15 18 15,2 0-15,-18-17 0</inkml:trace>
  <inkml:trace contextRef="#ctx0" brushRef="#br0" timeOffset="120672.1">10936 10672 0,'-52'53'0,"16"-18"16,1 35-16,-36 125 31,54-90-31,17 1 16,0 18-16,17-90 0,1 20 15,16 34-15,37-18 16,17-16-16,-35-37 16,-17 18-16,16-35 0,2 0 15,70 18-15,-54-36 0,0 18 16,-17-18-16</inkml:trace>
  <inkml:trace contextRef="#ctx0" brushRef="#br0" timeOffset="121106.37">12241 10742 0,'36'18'0,"-19"-18"0,18 36 15,-16-19-15,-2 18 16,0-18-16,1 54 0,0-35 16,-18-2-16,18 2 0,-18 35 15,0-36-15,0 1 16,-18 33-16,0-16 0,18-17 16,0-18-16,-18-1 0,18 0 15,-17 2-15,0-2 0,-2-17 16,19 18-16</inkml:trace>
  <inkml:trace contextRef="#ctx0" brushRef="#br0" timeOffset="121517.05">12594 10566 0,'35'0'0,"1"35"31,-19-35-31,-17 17 0,0 1 15,0 0-15,0 34 0,0-33 16,-17-2-16,-2 18 0,19-16 16,-17 15-16,17-16 0,-17-1 15,17 19-15,-18-19 0,18 1 16,18 0 0,16-18-1,2 0-15,-18 0 16,-1-18-16,19 18 0,17 0 15,-35-18-15,16 18 0,-16 0 16,18 0-16,-19 0 0,0-17 0,37 17 16</inkml:trace>
  <inkml:trace contextRef="#ctx0" brushRef="#br0" timeOffset="121928.32">13317 11042 0,'17'0'15,"-17"52"1,-17-16-16,17-18 15,0 18-15,0 16 16,-17 1-16,17-18 0,0-17 16,0 0-16,-18 35 0,18-36 15,0 1-15,0-1 0,0 0 16,0 2-16</inkml:trace>
  <inkml:trace contextRef="#ctx0" brushRef="#br0" timeOffset="122779.69">13158 11218 0,'18'0'15,"52"18"1,-52-18-16,18 0 0,-2 0 15,2 0-15,-1-18 0,18 18 16,-18 0-16,72 0 0,-73 0 16,20 0-16,-20 0 0,2 0 0,-1 0 15</inkml:trace>
  <inkml:trace contextRef="#ctx0" brushRef="#br0" timeOffset="123198.61">13988 10830 0,'0'-17'16,"-18"52"-1,0-35-15,18 17 0,-18 19 0,18-19 16,-34 54-16,34-54 15,-18 37-15,18-1 0,-18 18 16,36-2-16,-18-33 0,18-1 16,-18 1-16,34-19 0,-16 19 15,0-19-15,70 35 16,-53-33-16,-16-19 0,15 17 0,-16-17 16,-1 0-16</inkml:trace>
  <inkml:trace contextRef="#ctx0" brushRef="#br0" timeOffset="123563.05">14322 11165 0,'0'0'15,"36"0"1,-18 0 0,35 0-1,-36 0-15,18 0 16,-16 0-16,-2 0 16,0 0-16</inkml:trace>
  <inkml:trace contextRef="#ctx0" brushRef="#br0" timeOffset="124002.19">14746 11025 0,'71'35'16,"-54"-18"-16,-34 54 31,-2-54-31,2 19 15,0-36-15,17 17 0,-18 18 16,1-35-16,-2 19 16,19-2-16,-17 0 15,34 1 1,2-18 0,-2 0-16,1 0 15,16 0-15,-15-18 16,33 18-16,-16 0 15,-19-17-15,1 17 16,-1 0-16</inkml:trace>
  <inkml:trace contextRef="#ctx0" brushRef="#br0" timeOffset="124369.02">15117 11060 0,'17'0'15,"1"0"-15,-53 0 0,87 0 16,-35 17 0,-34 19-1,0-36-15,17 17 0,-18 1 16,-18 18-16,19-19 15,0 0-15,-19 1 16,36-1-16,-18-17 0,18 19 16,0-2-16,18 0 31,0-17-31,-18 18 16,18-18-16,-1 0 0,19 0 15,16 0 1,-16 0-16,-19 0 15,18-18-15,-16 18 16</inkml:trace>
  <inkml:trace contextRef="#ctx0" brushRef="#br0" timeOffset="124682.75">15645 11130 0,'-17'0'15,"-18"18"1,-1-1-16,19-17 16,-1 19-16,1-2 15,-19 0-15,19 1 0,-1-1 16,18 2-16,-18-2 16,18 0-16,0 1 15,0 0-15,18 0 16,0-18-16,16 17 15,-15-17-15,16 0 0,-18 0 16,2 17-16,15-17 16,1 0-16,18-17 15,-35 0 1</inkml:trace>
  <inkml:trace contextRef="#ctx0" brushRef="#br0" timeOffset="124887.84">15716 11148 0,'-35'36'16,"18"-2"-16,-2-16 0,19 18 16,-17-19-16,17 18 0,-18 18 15,1-36-15,17 19 16,-17-1-16,17 18 0,-19-35 15,19-1-15,0 2 16,0-2-16</inkml:trace>
  <inkml:trace contextRef="#ctx0" brushRef="#br0" timeOffset="125220.71">15822 10848 0,'52'0'16,"-33"36"-16,-2-36 15,1 17-15,-1 18 16,-17-17-16,36 53 16,-19-36-16,-17 35 0,0-16 15,0-20-15,-17 37 16,17-54-16,-17 19 0,17-18 0,-19-1 16,2 19-16,17-1 15</inkml:trace>
  <inkml:trace contextRef="#ctx0" brushRef="#br0" timeOffset="125575.32">16422 10725 0,'35'0'0,"-70"0"16,87 17-16,-34-17 0,-18 18 15,18-1-15,-36 19 16,18-19-16,0 1 0,-18-1 16,1 2-16,-18 15 15,35-16-15,-18 0 0,0 0 16,1-1-16,17 0 15,0 2-15,17-19 16,1 17 0,0-17-16,0 0 0,-1 0 15,18 0-15,-17-17 0,34 17 0,-33 0 16,33 0-16,-16 0 16,35 0-16,-37-19 15</inkml:trace>
  <inkml:trace contextRef="#ctx0" brushRef="#br0" timeOffset="125966.87">17533 11006 0,'-17'36'16,"17"-18"-1,0-1-15,0 0 0,0 19 0,0-18 16,0 35-16,0-1 16,0-33-16,0 33 15,0-34-15,0 0 0,0-1 16</inkml:trace>
  <inkml:trace contextRef="#ctx0" brushRef="#br0" timeOffset="126171.84">17269 11272 0,'17'0'16,"1"-19"-16,16 19 15,2 0-15,-1 0 16,-16-17-16,15 17 0,2 0 0,-1 0 0,36 0 16,17-18-16,-54 18 15,2 0-15,-1 0 16,18 0-16</inkml:trace>
  <inkml:trace contextRef="#ctx0" brushRef="#br0" timeOffset="126716.07">18662 11006 0,'35'0'0,"-18"0"16,19 0-16,-124 0 0,194 0 15,-89 19 1,-34 16 0,-1-35-1,18 17-15,-17 0 0,-2-17 16,19 19-16,-17-2 16,34 1-1,2-1 1,-19 2-16,17-19 0,-17 17 15,0 0-15,0 1 16,0-1-16,-17 2 16,-19-2-16,1 0 15,-1 1-15,19-18 16,0 0-16,17 18 0,-19-18 16,19-18-1,19-17-15</inkml:trace>
  <inkml:trace contextRef="#ctx0" brushRef="#br0" timeOffset="126983.03">19032 11006 0,'0'-17'16,"-18"53"-16,18-19 15,0 1-15,0-1 0,0 0 0,-17 2 16,34-2-16,-17 1 0,0 18 15,18-19-15,-18 0 0,18-17 16,0 18-16,-1-1 16,0-17-16,2 0 15,-2 0-15,1-17 16,-18-1 0,-18 1-16,18 0 15,-17 17-15,-2 0 16,19-19-16,-17 19 0,-18-17 15</inkml:trace>
  <inkml:trace contextRef="#ctx0" brushRef="#br0" timeOffset="127222.91">18504 10813 0,'-54'35'0,"108"-70"0,-125 87 0,35 1 16,1 18-16,-18 17 16,36-35-16,-1 1 15,0-2-15,18 1 0,0-18 0,0 35 16,18 1-16,34 0 16,-16-54-16,-18-17 15,16 19-15,2-2 0,-1-17 16,1 0-16,16 0 0,-16 0 0</inkml:trace>
  <inkml:trace contextRef="#ctx0" brushRef="#br0" timeOffset="127516.17">19402 10742 0,'36'35'15,"-18"1"-15,-1-19 16,-17 1-16,17 18 0,-17-19 16,19 124-1,-38-106-15,19-18 0,-17 90 16,17-72-1,0-18-15,0 19 16</inkml:trace>
  <inkml:trace contextRef="#ctx0" brushRef="#br0" timeOffset="127816.72">19878 10618 0,'54'0'15,"-54"18"-15,17-18 0,-17 18 16,19 0-16,-19 16 0,0-15 16,-19-2-16,19 1 0,-17-1 15,17 2-15,-18-2 0,18 0 0,-17 1 16,17-1-16,0 2 0,-19-2 15,38 0 1,-2-17-16,1 18 16,-1-18-16,2 0 0,-2-18 15,18 18-15,-18 0 0,19 0 16,-19 0-16,19 0 0,-18 0 0,16 0 16,-15 0-16,-2-17 0</inkml:trace>
  <inkml:trace contextRef="#ctx0" brushRef="#br0" timeOffset="128136.33">21166 11025 0,'-17'17'16,"0"18"0,17-18-16,0 2 0,0-2 15,0 1-15,0-1 0,0 36 0,0-18 16,0-16-16,17 69 15,-17-71-15,0 0 16,0 2-16,0-2 0,0 1 16</inkml:trace>
  <inkml:trace contextRef="#ctx0" brushRef="#br0" timeOffset="128332.8">20885 11324 0,'35'-18'16,"18"18"-1,-36 0-15,18 0 0,1 0 0,-1 0 16,1-17-16,16 17 0,-16 0 16,-2 0-16,2 0 0,-1 0 0,36 0 15,-35 0-15</inkml:trace>
  <inkml:trace contextRef="#ctx0" brushRef="#br0" timeOffset="128770.7">22418 10954 0,'-17'35'31,"0"-18"-31,17 19 0,-18-18 0,18 16 16,-17 2-16,17-1 0,-19 1 16,19 16-16,0-16 0,0-1 0,0 1 15,19 34-15,-2-18 16,1-16-16,16-1 15,-15-16-15,-2-2 0,18 0 0,-16 1 16,15-18-16,-16 0 0,18 0 16,-19 0-16,0 0 0,19 0 0</inkml:trace>
  <inkml:trace contextRef="#ctx0" brushRef="#br0" timeOffset="128970.36">22754 11218 0,'35'-17'16,"-18"17"-16,54 0 15,-52 0 1,15 0-16,-16 0 0</inkml:trace>
  <inkml:trace contextRef="#ctx0" brushRef="#br0" timeOffset="129302.13">23406 10972 0,'-34'0'0,"68"0"0,-86 0 0,16 0 15,19 0-15,0 0 16,-19 0-16,1 17 0,18-17 0,-2 0 15,2 17-15,-1 2 0,1-2 16,-2 1-16,38-1 16,-2 0-1,1-17-15,-1 0 0,2 0 0,-2 0 16,0 0-16,18 0 0,-16 0 0,-2 0 16,0 0-16,1 0 15,0 0-15,0 19 16,-1-2-16,-17 1 15,0-1 1,0 2-16,-17-2 0,17 0 16,0 1-16,0-1 0,-18 2 0,18-2 15,0 0-15,0 1 16</inkml:trace>
  <inkml:trace contextRef="#ctx0" brushRef="#br0" timeOffset="129610.88">23972 11113 0,'-36'0'32,"18"0"-32,1 0 15,-2 17-15,2-17 0,0 18 0,-18-1 16,16 2-16,2-19 15,0 34-15,-1-34 0,18 18 16,-18-1-16,18 2 0,0-2 16,0 0-1,18-17-15,-18 18 0,18-18 16,-1 18-16,0-18 0,19 0 0,-18 18 0,-1-18 16,0 0-16,19 0 0,-18 0 15,-1 0-15,2 0 0,33 0 16,-34-18-16,0 0 15,-1 18-15</inkml:trace>
  <inkml:trace contextRef="#ctx0" brushRef="#br0" timeOffset="129828.14">24130 11025 0,'-53'35'0,"36"-35"0,-1 53 15,18-36-15,-18 18 0,0-16 0,18 15 16,-17 1-16,17 1 0,0-1 16,-17-17-16,17 17 0,0-18 15,-19 19-15,19-18 0,0-1 0,0 0 16,0 2-16,19 16 16,-19-18-16,17-17 0,-17 19 0,17-19 15</inkml:trace>
  <inkml:trace contextRef="#ctx0" brushRef="#br0" timeOffset="130151.13">24448 10725 0,'52'17'0,"-34"1"15,0-1-15,-1 19 0,19-1 16,-19 35-16,1-52 0,-18 18 16,0-2-16,-18 2 0,1 70 15,-2-70-15,2-2 0,-18 1 16,17 18-16,-17-35 0,18 18 15,-1-19-15,-18 0 0,19 2 0,0-2 16,-2 1-16,2-18 16</inkml:trace>
  <inkml:trace contextRef="#ctx0" brushRef="#br0" timeOffset="130741.04">24782 10548 0,'54'0'16,"-37"0"-16,0 36 31,-17-19-31,-17 0 0,17 1 0,0 0 16,-17 0-16,-19 35 0,18-36 15,1 1-15,17-1 0,-17-17 16,17 19-16,-19-2 0,19 0 16,19 1-16,-2-18 0,0 0 15,1 17-15,18-17 0,-19 0 16,36 0-16,-18 0 0,1 0 16,16 0-16,36 0 0,-35 0 15,-17 0-15,-1 0 0,1-17 0,-1 17 0,-1 0 16,-15 0-16,-2 0 15,1 0-15</inkml:trace>
  <inkml:trace contextRef="#ctx0" brushRef="#br0" timeOffset="132442.15">6332 12470 0,'18'19'31,"0"-2"-31,-1-17 15,0 0-15,19 0 0,35 18 16,-19-18 0,-16 0-16,-1 0 0,18 0 0,0 0 15,18 0-15,0 17 0,-19-17 0,18 0 16,18 0-16,-17 0 16,106 0-16,-71 0 0,16 0 0,-15 0 15,16 0-15,-17 0 0,17 0 16,1 0-16,-19 0 0,37 0 0,123 17 15,-142-17-15,18 0 16,0 0-16,1 0 0,34 19 0,0-19 16,141 17-16,-176-17 15,37 0-15,15 0 0,-17 18 0,-35-18 16,37 0-16,-2 0 0,0 0 16,0 17-16,1-17 0,-1 0 0,0 0 15,1 19-15,-1-19 0,0 0 0,-34 0 16,34 17-16,1-17 0,-1 0 15,-35 17-15,35-17 0,0 0 0,2 0 16,-2 18-16,-35-18 0,35 0 16,0 18-16,-17-18 0,18 0 0,-1 18 15,-35-18-15,1 0 0,34 17 16,-18-17-16,-16 17 0,34-17 0,-52 18 16,17-18-16,18 0 0,-19 18 15,1-18-15,0 18 0,1-18 0,16 17 16,-16-17-16,34 17 0,-35-17 0,0 0 15,18 19-15,-18-19 0,35 17 16,-34-17-16,122 18 0,-123-18 16,0 0-16,35 17 0,-34-17 0,34 0 15,89 17-15,-124-17 16,-1 0-16,143 19 0,-142-19 16,1 0-16,-20 0 0,20 0 0,-1 17 15,123-17-15,-140 0 16,17 0-16,-17 0 0,123 0 15,-124 18-15,-17-18 0,17 0 16,-16 0-16,15 0 0,-15 0 0,-2 0 16,1 0-16,0 0 0,0 0 15,106 0-15,-124 0 0,106 0 16,-88 0-16,-36 0 16,36 0-16,-18 0 0,-18 0 0,89 0 15,-88 0-15,-1 0 16,18 0-16,-17 0 0,0 0 0,-18 0 15,0 0-15,-1 0 0,2 0 16,-20 0-16,20 0 0,-18 0 0,-2 0 16,20 0-16,-20 0 0,-16 0 0,18 0 15,-19 0-15,19 0 0,-19 0 16,18 0-16,-18-18 16,2 18-16,-2 0 0,1 0 15,-1 0 1,2 0-16,-2 0 15,0 0-15,-70 0 63,36 0-63,-1 0 16,1 0-16</inkml:trace>
  <inkml:trace contextRef="#ctx0" brushRef="#br0" timeOffset="148670.75">14888 13317 0,'17'19'16,"0"-19"0,1 0-1,-1 0 1,2 0-16,15 0 0,-16 0 16,0 0-1,0 0-15,-54 0 47,1 17-31,18-17-16,-2 0 0,2 17 15,-1-17-15,1 18 0,0-18 16,-2 0-16,2 17 0,-1-17 0,1 19 16,-2-19-16,2 0 0,17 17 15,-17-17-15,17 17 16,-18-17-1,36 18-15,16 0 16,-15-18 0,-2 0-16,37 35 15,-37-35-15,0 17 16,1 1-16,-18 0 16,17-18-16,-17 18 0,0-1 0,-17 19 15,17-19-15,-18 1 16,1-1-16,-36 19 15,35-19-15,-18 1 0,2-1 16,16-17-16,-18 19 0,-69 15 16,69-34-16,1 18 15,1-18-15,-2 0 0,1 0 0,-1 18 16,1-36-16</inkml:trace>
  <inkml:trace contextRef="#ctx0" brushRef="#br0" timeOffset="149369.98">4816 12506 0,'17'-17'16,"0"17"-16,1 0 0,18-19 15,-19 19-15,19 0 0,-19-17 0,18 17 16,1-17-16,-19 17 0,1 0 0,-1 0 15,2-18-15,-2 18 0</inkml:trace>
  <inkml:trace contextRef="#ctx0" brushRef="#br0" timeOffset="149538.78">4657 12753 0,'17'0'0,"37"-17"15,-37 17-15,0 0 16,18 0-16,1-18 0,-19 18 16,19 0-16,-1-18 0,1 18 0,-19-18 15,18 18-15,-18 0 0,2 0 0</inkml:trace>
  <inkml:trace contextRef="#ctx0" brushRef="#br0" timeOffset="150556.01">6473 15522 0,'53'0'16,"-35"0"-16,18 0 0,-2 0 15,-16 0-15,0 0 0,52 0 16,-52 18-16</inkml:trace>
  <inkml:trace contextRef="#ctx0" brushRef="#br0" timeOffset="150745.78">6561 15876 0,'19'0'16,"15"-19"-1,-16 19-15,0 0 0,0 0 0,16 0 16,-16-17-16,0 17 0,0 0 15,16-18-15,-15 18 16,-2 0-16</inkml:trace>
</inkml:ink>
</file>

<file path=ppt/ink/ink12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38:56.904"/>
    </inkml:context>
    <inkml:brush xml:id="br0">
      <inkml:brushProperty name="width" value="0.05292" units="cm"/>
      <inkml:brushProperty name="height" value="0.05292" units="cm"/>
      <inkml:brushProperty name="color" value="#0070C0"/>
    </inkml:brush>
  </inkml:definitions>
  <inkml:trace contextRef="#ctx0" brushRef="#br0">8828 9877 0,'-35'0'79,"-35"54"-64,-18-1-15,-19 70 16,2-17-16,17 0 15,0 35-15,17-36 16,-17 19 0,0-1-16,-1-16 0,18-19 15,36-35 1,35-18-16,-53 1 0,53-19 47</inkml:trace>
  <inkml:trace contextRef="#ctx0" brushRef="#br0" timeOffset="639.9">9323 10036 0,'-19'19'47,"-33"15"-32,-19 72-15,-17 18 0,-18 0 16,-34-19-16,16 0 15,-142 90 1,73-54 0,105-70-1,52-54 1</inkml:trace>
  <inkml:trace contextRef="#ctx0" brushRef="#br0" timeOffset="5417">7664 12735 0,'0'18'15,"0"17"-15,-35 1 16,-35 16-16,-1-16 16,18-1-16,-1-18 15,-34 19-15,36-19 16,-36 18 0,35 1-16,36-36 0,-2 0 15</inkml:trace>
  <inkml:trace contextRef="#ctx0" brushRef="#br0" timeOffset="6360.22">7947 12912 0,'0'35'78,"-18"-18"-63,-35 36 1,17-53-16,-33 35 16,-73 18-16,36-17 15,-17 16-15,16-33 16,37-2-16,18 1 15,-2-1-15,1-17 16,53 17-16</inkml:trace>
  <inkml:trace contextRef="#ctx0" brushRef="#br0" timeOffset="15776.01">13627 12259 0,'0'-35'47,"34"35"-31,-34-17-16,18 17 0,0 0 0,34 17 15,-34-17 1,0 0-16,0 17 0,-1 1 0,0-1 15,-34 36 1,17-35-16,-53 35 0,35-18 16,-16 1-16,16-19 15,-52 36-15,51-35 16,2-1-16,-1-17 0,1 19 16,-2-2-16,2-17 15,17 17 1,17-17-16,2 0 15,-2 0-15,1 0 0,35-17 16,-36 17 0,19 0-16,-18 0 0,-1 0 0,18-17 15,-17 17 1,34-19-16</inkml:trace>
  <inkml:trace contextRef="#ctx0" brushRef="#br0" timeOffset="15980.74">14067 12276 0,'0'36'47,"0"-19"-47,0 1 0,0 0 16,-18 34-1,18-34-15,0 0 0,0 0 0,0-1 16,0 0-16,0 2 0,0-2 16</inkml:trace>
  <inkml:trace contextRef="#ctx0" brushRef="#br0" timeOffset="16208.77">14279 12576 0,'17'19'15,"-17"-2"1,0 35 0,0-33-16,0-2 0,-17 36 15,17-18 1,0-18-16,0 2 15</inkml:trace>
  <inkml:trace contextRef="#ctx0" brushRef="#br0" timeOffset="16761.02">14755 12241 0,'0'0'15,"18"-17"16,-18 0-31,18 17 16,-1 0 0,0 0-16,1 17 15,-18 0-15,18 18 16,-18-16 0,0 15-16,0-16 0,0 18 0,0-19 15,0 18-15,0-17 0,0 0 16,0 16-16,0-15 0,0-2 15,18 37-15,-18-37 0,0 0 16,0 1-16,17-1 0,-17 2 16,17-19-16,-17 17 0,19-17 15,-2 17-15</inkml:trace>
  <inkml:trace contextRef="#ctx0" brushRef="#br0" timeOffset="17250.79">14684 12524 0,'19'-19'32,"-2"19"-32,0 0 15,1 0-15,0-17 0,0 17 16,16 0-16,54-17 15,-52 17-15,-1-18 0,1 18 16,-1-18-16,1 18 0,-19-18 0,18 1 16,-17 17-16,0 0 0,-1-17 0,0 17 15,-17-18-15,-34 36 63,34-1-63,0 0 0,0 1 0,0 0 15,17 0-15,-17-1 0,17-17 16,-17 17-16,18-17 16,0 19-16,0-19 0,-1 0 0,0 0 15,2 0-15,-2 0 0,1 0 16,-18-19-16,17 19 0,-17-17 16,0 0-16,-17-1 15,17 0-15,-18 18 0,1-18 16,-2 1-16,2 0 15,0-1-15,-1 18 0,0 0 16</inkml:trace>
  <inkml:trace contextRef="#ctx0" brushRef="#br0" timeOffset="17553.41">15708 12207 0,'17'0'0,"-34"17"31,-2 0-31,19 1 0,-17-18 16,17 17-16,-17 2 0,-1-2 16,1 18-1,-2-17-15,19 0 0,-17-1 0,17 0 16,0 1-16,0 0 15,17 0-15,2-1 16,-2-17-16,1 17 16,-1-17-16,0 0 15,2 0-15,-2 0 0,1 0 16,18-17-16,-19 17 0,-17-17 16,17 17-16,1 0 0,-18-18 15,17 0-15</inkml:trace>
  <inkml:trace contextRef="#ctx0" brushRef="#br0" timeOffset="17737.12">15760 12153 0,'-17'0'0,"34"0"15,-52 18 1,18-18-16,17 17 0,0 2 0,-19-2 16,19 35-16,0-16 15,0-1-15,0 1 0,0-2 16,0 2-16,19-1 0,-19 1 0,17-1 15,1 18-15,-1-18 0,-17-18 16,19 2-16,-19-2 16,0 0-16</inkml:trace>
  <inkml:trace contextRef="#ctx0" brushRef="#br0" timeOffset="18326.88">13537 13141 0,'0'0'15,"36"18"-15,-18-18 0,88 17 0,-36-17 16,19 17-16,34-17 0,123 0 15,-104 0-15,-1 0 0,35 0 16,-17 0-16,-18-17 0,0 17 16,18-17-16,177-19 0,-177 18 0,-37 1 15,2 0-15,35-2 16,-36 2-16,-17-18 0,106-18 0,-18-18 16,-106 36-16,53-35 15,-88 16-15,-1 20 16,38-54-16,-20-54 15,-52 54-15,-1 35 16,-17-71-16,-53-17 16,18 71-16,-18 0 0,-1-1 15,-15 18-15,-20-35 0,-122-36 16,-72 1-16,142 87 16,-194-52-16,-18 53 15,160 17-15,-2 18 0,2 0 16,-2 18-16,2 17 0,-214 53 15,214-35-15,-195 106 16,193-71-16,19 17 0,17 2 0,-141 122 16,195-106-16,-2-16 0,37 15 15,18-15-15,16-19 0,36 0 16,36 71-16,16-71 16,18-18-16,37 18 0,-2-17 0,178 36 15,-124-55-15,17-16 0,194 16 16,-18-16-16,-210-19 15</inkml:trace>
  <inkml:trace contextRef="#ctx0" brushRef="#br0" timeOffset="34033.15">11616 12753 0,'35'18'16,"-18"52"-1,0-52-15,-17-1 16,19 0-16,16 37 16,-35-37-16,17 2 0,2-2 15,-2 0-15,0-17 16,18 0-1,-35-17-15,19 0 0,-2-2 0,0-16 16,19-106-16,-18 70 16,-1 1-16,0-177 15,-17 159-15,0 0 16,0 0-16,-17-1 0,17 19 0,-35-142 16,17 159-1,-17-88-15,35 106 16,-17-1-16,17 19 0,0-18 0,0 16 15,17-33-15,-17 34 16,53-34 0,-18 34-16,18 18 0,-1-18 0,2 0 15,34 1-15,124-19 16,-107 36-16,19-17 0,176-18 16,-124 35-16,-17-17 0,18-2 0,-1 2 15,0-1-15,353-18 16,-370 36-16,265-17 15,-301 0-15,1 17 16,-2 0-16,-15 0 0,-2 0 0,125 0 16,-194 0-1,52 0 1,-71 17-16,0-17 0</inkml:trace>
  <inkml:trace contextRef="#ctx0" brushRef="#br0" timeOffset="34793.8">18548 12188 0,'264'-71'15,"-211"71"-15,-18-17 0,1 17 16,-1 0-16,35 0 16,-52 0-16,-1 17 0</inkml:trace>
  <inkml:trace contextRef="#ctx0" brushRef="#br0" timeOffset="34974.98">18688 12488 0,'19'0'0,"-2"0"16,18 0-16,1 0 15,-2 0-15,2 0 0,-1-17 16,72 17-1,-55-18-15,-16 18 0,-19 0 16,0 0-16,1 0 0</inkml:trace>
  <inkml:trace contextRef="#ctx0" brushRef="#br0" timeOffset="46812.96">20171 11977 0,'0'35'16,"0"-18"-1,-19 1-15,19 18 16,0-19-16,0 19 0,-17 16 16,17-33-16,-18 15 0,1 20 15,0-2 1,17-34-16,0 0 0,-19-1 0,19 36 16,-17-53-16,17 18 15</inkml:trace>
  <inkml:trace contextRef="#ctx0" brushRef="#br0" timeOffset="47205.61">20805 12065 0,'-36'18'31,"19"-18"-31,0 17 0,-1 0 16,1-17-16,-54 54 16,53-37-16,-34 19 15,33-36-15,-16 35 16,18-18-16,17 2 15,0-2 1,35-17 0,-18 0-16,36 17 15,-17-17-15,-18 0 16,-1 0-16,19-17 0,16 17 16,-35 0-16,2 0 15,16-17-15,-18 17 16,2 0-16,-19-19 15</inkml:trace>
  <inkml:trace contextRef="#ctx0" brushRef="#br0" timeOffset="47448.29">20823 12065 0,'-18'0'0,"1"18"15,17-1-15,0 0 16,-19 2-16,19-2 0,0 1 0,-17 18 16,17-2-16,0-16 0,-17 18 0,17 16 15,0-34-15,0 34 16,0-34-16,0 0 0,0 0 16,0-1-16,17 0 15,-17 2-15,17-19 16,2-19-1</inkml:trace>
  <inkml:trace contextRef="#ctx0" brushRef="#br0" timeOffset="47921.76">21035 12047 0,'17'-18'16,"0"18"-16,2-17 15,-2 17-15,1 0 0,-1 0 0,0 0 16,2 0 0,16 0-1,-18 17-15,2 1 16,-19 18-16,17-19 15,-17 54 1,0-54-16,0 2 0,0-2 0,0 0 16,0 1-16,0 18 15,0-19-15,0 0 16,0 1-16,17 0 16</inkml:trace>
  <inkml:trace contextRef="#ctx0" brushRef="#br0" timeOffset="48124.84">21088 12312 0,'35'-17'47,"18"-2"-32,-18 19-15,-18 0 0,36-17 16,-17 17-16,-1 0 16,-18-18-16,19 18 0,-1 0 0</inkml:trace>
  <inkml:trace contextRef="#ctx0" brushRef="#br0" timeOffset="50609.04">21864 12188 0,'0'-17'0,"-19"34"110,19 19-95,-17-19 1,17 1-16,0-1 16,0 2-1,-17-2 17,51-34 30,-34-2-31,19 19-31,-2-17 16,1 17 15,-1-18 0,2 18-15,-2 18 0,-17-1-1,17 2 17,-17-2-1,18-17 0,-1-17-15,2 17-1,-2-19-15,0 19 16,1 0 0,0 0-1,0 0-15,-1 0 16,0 19-1,2-2 1,-2-17 0</inkml:trace>
  <inkml:trace contextRef="#ctx0" brushRef="#br0" timeOffset="51222.09">22340 12224 0,'0'35'16,"0"-18"15,-17-17-31,17 19 0,0-2 16,34-34 46,-16-2-46,0 19-1,0 0 1,-18 19 0,17-19-16,-17 17 0,17-17 15,-17 17-15,0 1 16,18-18 15,0-18-15,0 18-1,-1 0 1,0-17 0,2 17-16,-2 0 15,1 0 1,-1 0-16,0 0 15,2 17 1</inkml:trace>
  <inkml:trace contextRef="#ctx0" brushRef="#br0" timeOffset="51783.27">20329 12735 0,'264'0'16,"-193"-18"-16,88 18 0,-54 0 15,-34 0-15,35-17 0,-35 17 16,0 0-16,158 0 16,-158-17-16,-2 17 0,2 0 0,-18 0 15,0-19-15,-18 19 0,1 0 16,-19 0-16,1 0 0,-1-17 0,2 17 16,-2 0-16</inkml:trace>
  <inkml:trace contextRef="#ctx0" brushRef="#br0" timeOffset="52080.75">20205 12912 0,'106'0'0,"-53"0"0,0 0 0,18 0 15,0 0-15,34-19 0,-17 19 16,229-17-16,-210 17 16,-19 0-16,17-17 0,-34 17 15,17-18-15,0 18 0,-17 0 0,-18-17 16,71 17-16,-72 0 16,-16 0-16,-1 0 0,-18-19 0,19 19 0,-19 0 15,1 19-15,0-19 16,0 0-16,-1 0 0,19 0 15</inkml:trace>
  <inkml:trace contextRef="#ctx0" brushRef="#br0" timeOffset="62603">21493 10707 0,'-36'17'15,"19"-17"-15,0 17 0,-1-17 0,0 0 16,18 19-16,-18-19 0,1 0 0,17 17 16,-17-17-16,17 18 15,0-1 1,34-17 0,-16 19-16,0-19 15,0 0-15,35 17 16,-36-17-16,1 0 0,-1 17 0,36 1 15,-35-18 1,-1 18-16,2 0 16,-19-1-16,-19 18 15,19-17-15,-17-18 0,-1 18 16,1-1-16,0-17 0,-2 17 16,-69 19-16,71-36 15,-1 18-15,0-18 0,-17 0 16,18 0-16,-1 17 0,0-17 15,0 0-15,1 0 16</inkml:trace>
  <inkml:trace contextRef="#ctx0" brushRef="#br0" timeOffset="62909.9">21776 10777 0,'17'-17'15,"-34"69"17,-2-52-17,19 19-15,0-2 0,-17 0 0,17 37 31,-17-20-31,17-16 0,0 0 0,-18 0 16,18-1-16,0 0 0,-18 2 16,18-2-1,0 1 1</inkml:trace>
  <inkml:trace contextRef="#ctx0" brushRef="#br0" timeOffset="63285.43">21757 10724 0,'142'-35'0,"-125"35"0,36 35 31,1-18-31,-54 2 0,34 52 16,-34-37-1,0 2 1,-17-18-16,-19 34 16,19-34-16,-1 0 0,1-1 0,0 0 0,-2 2 15,19-2 1,-17 1-16,-18-1 0,16 2 0,2-2 0,0-17 16,-1 17-16</inkml:trace>
  <inkml:trace contextRef="#ctx0" brushRef="#br0" timeOffset="63548.72">21299 11359 0,'18'-18'0,"17"1"15,-18 17 1,19 0-16,52-17 16,-53 17-16,1-18 0,87 18 15,-70 0-15,-17 0 16,-1 0-16,-1 0 0,20 0 16,-37 0-16,19 0 15</inkml:trace>
  <inkml:trace contextRef="#ctx0" brushRef="#br0" timeOffset="63805.39">21335 11483 0,'34'0'31,"54"-18"-16,-52 18-15,-1 0 0,1 0 0,16 0 16,1-17-16,18 17 16,-35 0-16,16-19 0,-16 19 0,-1 0 15,70-17-15,-69 17 16,35-17-16,-54 17 16,0-18-16,2 18 0,-2-18 15,1 18-15,-1-18 0</inkml:trace>
  <inkml:trace contextRef="#ctx0" brushRef="#br0" timeOffset="65509.66">23609 5751 0,'-17'17'63,"0"-17"-48,-1 17 1,0-17-16,18 18 15,-18-18-15,1 18 16,0-18-16,-37 35 16,1-18-1,-18-17 1,54 0 0,0 0-16,-1 0 0,1-17 0,-2 17 15,19-17-15,-17-19 16,34 1-1,-17 18-15,19 17 0,-2-19 16,1 2-16,-1-1 0,0 18 16,54-36-1,-18 19-15,-35 17 0,18-17 0,-2 17 16,2 0-16,70-18 16,-72 18-16,2 0 0,-1 0 15,18 0-15,-17 0 16,-18 0-16,-1 0 0,36 0 15,-35 0-15,-1 0 16,0 0 0,2-17-16,-2 17 15,1 0-15</inkml:trace>
  <inkml:trace contextRef="#ctx0" brushRef="#br0" timeOffset="65952.69">24209 5292 0,'36'0'16,"-72"0"-16,107 0 0,-54 0 16,1 17-1,-18 18 1,-18 1-16,1-36 16,17 17-16,-17 1 0,-1 0 15,0 0 1,18-1-16,-18-17 15,18 17-15,18 1 32,18-18-17,-19 0-15,0 0 0,19-18 16,-18 18 0,-1 0-16,36 18 15,-35-18-15,-1 0 0,2 0 16,-19 18-1</inkml:trace>
  <inkml:trace contextRef="#ctx0" brushRef="#br0" timeOffset="66253.75">24404 5856 0,'52'0'16,"1"0"-16,-18 0 15,-16 0-15,51 0 16,-52 0-16,-1 0 0,19 17 16,-19-17-1</inkml:trace>
  <inkml:trace contextRef="#ctx0" brushRef="#br0" timeOffset="66409.74">24492 6032 0,'17'19'32,"1"-19"-32,-1 0 0,2 0 0,-2 0 15,71-19-15,-52 19 16,52 0 0,-36 0-16,-16-17 0</inkml:trace>
  <inkml:trace contextRef="#ctx0" brushRef="#br0" timeOffset="67104.34">25797 5609 0,'71'-17'16,"-54"17"-16,1 0 0,-1 0 16,2 17-1,-2-17-15,-17 18 16,0-1-16,0 0 0,-36 37 15,36-37-15,-17 2 0,-18 15 16,16-16-16,2 0 16,0 0-16,-1-1 15,1-17-15,17 17 16,17 1 0,18-18-1,1 0 1,-19 0-16,1 0 0,-1-18 0,19 18 15,-19 0-15,71-17 16,-70 17-16,0-17 16</inkml:trace>
  <inkml:trace contextRef="#ctx0" brushRef="#br0" timeOffset="67320.88">26361 5592 0,'0'-19'0,"0"55"47,0-18-47,0 16 15,0 2-15,0-18 16,0-1-16,0 19 0,0-19 16,0 1-16,0 0 15,0 0-15,0-1 0,18 0 16,-18 1-16</inkml:trace>
  <inkml:trace contextRef="#ctx0" brushRef="#br0" timeOffset="67793.64">26749 5573 0,'-17'0'15,"34"-17"1,19 17 0,-18 0-16,-1 0 0,19-17 15,-19 17-15,18 0 16,-18 0-16,-17 17 16,19-17-16,-2 0 0,1 17 15,-18 2-15,17-2 16,-17 1-16,0 16 15,19 2 1,-19-18-16,0-1 16,0 2-16,0-2 15,0 0-15,0 1 0,0 0 16,0 0 0,17-1-16</inkml:trace>
  <inkml:trace contextRef="#ctx0" brushRef="#br0" timeOffset="68005.7">26749 5803 0,'0'0'0,"18"-18"0,0 18 16,17-17-1,-18 17-15,19-17 0,-18 17 16,52 0 0,-52-19-16,18 19 0,-19 0 0,18 0 15,1 0-15</inkml:trace>
  <inkml:trace contextRef="#ctx0" brushRef="#br0" timeOffset="68341.64">27455 5556 0,'-71'0'15,"71"17"-15,-35 2 16,18-2-16,-2 18 16,19-18-16,0 19 15,0-18-15,36 18 16,-18-36-16,-1 17 0,2-17 15,-2 0-15,18 17 0,18-34 16,-36 17-16,19 0 16,-18-17-16,-18-2 15,17 2-15,-17-1 0,-17-18 16,-1 19 0,0 0-16,18-1 15,-18 18-15,18-17 0,-17 17 0,0 0 16,-1 0-16,0 0 15</inkml:trace>
  <inkml:trace contextRef="#ctx0" brushRef="#br0" timeOffset="68680.75">27984 5485 0,'17'0'16,"-34"0"-16,17 18 16,-35 18-1,35-19-15,-36 0 16,36 2-16,-17-19 16,-18 35-1,35-18-15,-18-17 0,18 17 0,-18 2 16,18-2-1,0 1 1,18-18-16,0 17 0,0-17 16,-1 0-16,18 0 15,1 0 1,-2 0-16,-15 0 16,-2-17-16,1 17 15,-1 0-15</inkml:trace>
  <inkml:trace contextRef="#ctx0" brushRef="#br0" timeOffset="68897.72">28055 5433 0,'-18'0'15,"1"18"-15,-2 16 16,19-16-16,-17 52 15,17-51-15,0 16 0,0-18 16,0 0-16,0 54 16,0-52-16,0 15 0,0-16 15,0 0-15,0 0 0,0 16 16</inkml:trace>
  <inkml:trace contextRef="#ctx0" brushRef="#br0" timeOffset="69742.13">23751 7779 0,'-54'34'15,"20"-34"-15,16 19 16,1-19-16,-2 0 16,2 0-16,0 0 0,-1 0 15,-18 0-15,19 0 0,-18-19 16,35 2 0,-18 0-1,36-18-15,-18 16 16,35-15-16,-18 16 15,1 0-15,0 18 0,0-18 0,16 18 16,-15-17-16,-2 17 0,18 0 0,1 0 16,-1-17-16,35 17 15,-34 0-15,87-19 16,-87 19-16,-1 0 0,70 0 16,-86 0-16,15 0 15,-16 0-15,0 0 0,34 0 16,-16 0-1,-18 0 1,-1 0-16,0 0 16</inkml:trace>
  <inkml:trace contextRef="#ctx0" brushRef="#br0" timeOffset="70011.64">24492 7725 0,'-17'0'0,"51"0"31,20 0-16,-37 0-15,0 0 16,37 0-16,-37 0 16,36 0-16,-35 0 15</inkml:trace>
  <inkml:trace contextRef="#ctx0" brushRef="#br0" timeOffset="70209.35">24563 7920 0,'17'0'16,"0"0"-16,37-17 16,-20 17-16,-15 0 0,16 0 0,-18 0 15,19 0-15,35-19 16,-54 19-16,0 0 0,37 0 15</inkml:trace>
  <inkml:trace contextRef="#ctx0" brushRef="#br0" timeOffset="70925.85">25849 7884 0,'19'0'16,"-19"19"-16,17-19 15,1 0-15,-1 0 16,2 0-1,-2 0-15,0 0 0,-17-19 16,35-16 0,-35-1-16,19 19 0,-2-88 15,-17 69-15,0-16 0,-17-126 16,17 126 0,0-18-16,-19 16 0,2-51 15,17 69-15,-18-35 16,18 54-16,0 0 15,18-1-15,-1 0 0,19-17 16,-19 35 0,19-17-16,-1 17 0,18-18 0,159 18 15,-106 0-15,-1 0 0,-17 0 16,141 0 0,-122-18-16,-2 18 0,2 0 0,-2 0 15,1 0-15,-18 0 0,-18-18 0,1 18 16,0 0-16,35 0 15,-71 0-15,0-17 0,-17 17 0,0 0 16,-1 0-16,36 0 16,-18 0-1</inkml:trace>
  <inkml:trace contextRef="#ctx0" brushRef="#br0" timeOffset="72854.21">26344 7444 0,'35'0'0,"1"0"16,-36 17-16,17-17 0,0 0 16,-17 18-1,18-1-15,-18 2 0,-18-2 16,-16 0-1,34 1-15,-36-1 16,36 2-16,-18-19 0,1 17 16,0 0-1,34 1 17,0-18-17,1 0-15,0 0 0,0 0 16,-1 0-16,18 0 0,18 0 15,-36-18-15,2 18 16,-2 0-16,1-17 16</inkml:trace>
  <inkml:trace contextRef="#ctx0" brushRef="#br0" timeOffset="73081">26749 7425 0,'0'36'32,"0"-1"-17,0-16-15,0-2 0,0 0 16,-17-17-16,17 18 0,0-1 0,0 2 16,0-2-16,0 0 15,0 19-15,17-18 16</inkml:trace>
  <inkml:trace contextRef="#ctx0" brushRef="#br0" timeOffset="73565.63">27191 7337 0,'-18'0'0,"53"0"31,1 0-15,-19 0-16,1 18 15,-1-18-15,-17 18 16,17 0-16,-17-1 15,0 0-15,0 2 16,-17 33-16,17-33 16,0-2-16,0 0 0,-17 1 15,17-1-15,0 2 16,-18-2-16,18 0 16,0 1-1,0 0 1</inkml:trace>
  <inkml:trace contextRef="#ctx0" brushRef="#br0" timeOffset="74074.44">27155 7549 0,'-18'0'16,"36"-17"-1,0 17-15,0 0 16,35-17 0,-36 17-16,1 0 0,-1 0 0,71 0 15,-69 0 1,15 0-16,2-19 0,-18 19 0,16 0 0,20-17 16,-37 17-1,0-18-15,2 18 0,-2 0 16,-17-17-16,18 17 0,-18-19 15,-18 38 17,1-2-17,17 1-15,0-1 16,0 2-16,17 15 16,1-16-1,35-1 1,-36-17-16,1 0 0,-1 0 15,2 0-15,-2-17 0,0-1 16,-17 1 0,0-36-1,-17 35-15,17 1 16,-17-2-16,-2 2 0,2 17 16,-1 0-16,1 0 15,-2 0 1</inkml:trace>
  <inkml:trace contextRef="#ctx0" brushRef="#br0" timeOffset="74392.91">28196 7355 0,'17'0'16,"-34"36"15,0-19-15,-2 0-1,2 2-15,-1-2 0,18 1 16,-17-1 0,0 2-16,17-2 15,17-17-15,-17 17 16,17-17-16,1 18 0,-1-18 15,2 0-15,33 0 16,-34 0 0,0 0-16,-1 0 0,0 0 0,2 0 15,-2-18 1,1 1-16</inkml:trace>
  <inkml:trace contextRef="#ctx0" brushRef="#br0" timeOffset="74578.5">28249 7337 0,'-18'71'15,"36"-142"-15,-36 159 0,0-17 16,18-52-16,-17-2 16,17 18-16,0-18 0,0 19 0,0-19 15,0 19-15,17 16 16,-17-33-16,0-2 15,-17 1-15</inkml:trace>
  <inkml:trace contextRef="#ctx0" brushRef="#br0" timeOffset="75362">24297 9172 0,'-17'71'0,"0"-71"0,-1 17 0,18 0 15,-18-17-15,0 36 0,-16-36 16,15 18 0,2-18-16,-1 0 0,-16-18 31,15 18-31,19-17 0,-17-2 16,17 2-16,0 0 0,17-37 15,2 54 1,-19-17-16,34 0 15,1-1-15,18 0 16,-35 18-16,18 0 0,-2-18 16,-16 18-16,18 0 15,-2 0-15,2 0 0,52 0 16,-53 0-16,1-17 0,-19 17 16,19 0-16,-18 0 15,-1 0-15,0 0 0,2 0 0,16 0 16,-18 0-1,0 0-15,2 0 16,-19 17-16,17-17 0</inkml:trace>
  <inkml:trace contextRef="#ctx0" brushRef="#br0" timeOffset="75906">25003 9296 0,'53'0'31,"-36"0"-31,2 0 16,16 0-16,-18 0 16,19 0-1,-19 0-15,1 0 0,-18 17 16</inkml:trace>
  <inkml:trace contextRef="#ctx0" brushRef="#br0" timeOffset="76084.64">25003 9437 0,'-18'0'0,"54"18"31,-18-18-15,16 0-1,-15 0-15,-2 0 0,1 0 0,-1 0 0,2 0 16,50 0-1,-50 0-15,15 0 0</inkml:trace>
  <inkml:trace contextRef="#ctx0" brushRef="#br0" timeOffset="76707.67">26415 8979 0,'0'-19'0,"-18"55"15,18 35 1,-18-54 0,18 18-16,0-17 0,0 0 15,-18 16-15,18 20 0,-17-37 16,17 0-16,0 19 16,-17-18-16,17 35 15,17-36-15,0-17 16,1 18-16</inkml:trace>
  <inkml:trace contextRef="#ctx0" brushRef="#br0" timeOffset="77011.97">26944 9208 0,'0'-19'16,"-53"38"-1,18-2 1,16-17-16,2 18 0,-54-1 16,54 0-16,0-17 15,-2 19-15,2-19 0,-1 17 16,1-17 0,17 18-16,17-1 15,1 2 1,-1-19-16,2 0 15,15 0-15,-16 0 0,0 0 0,53 17 16,-54-17-16,1 0 16,35-17-1,-36 17-15,-17-19 16</inkml:trace>
  <inkml:trace contextRef="#ctx0" brushRef="#br0" timeOffset="77237.8">26979 9172 0,'-35'36'0,"16"16"16,19-16 0,-17-19-16,17 1 0,0 18 15,0 16-15,0-34 16,0 17-16,0-18 15,17 1-15,-17 0 16,36 0 0,-18-36-16</inkml:trace>
  <inkml:trace contextRef="#ctx0" brushRef="#br0" timeOffset="77980.82">27191 9119 0,'34'0'31,"-15"0"-31,-2 0 0,1 0 16,-1 0-16,36 0 15,-35 0-15,18 0 16,-19 0-16,0 0 0,1 0 15,0 18 1,-18 0-16,18-18 0,-18 34 16,0-15-16,-18-19 15,18 17-15,0 35 16,-18-16-16,18-18 0,-18 18 16,18-19-16,0 0 15,0 1-15,0 0 16,0 0-16,18-1 15</inkml:trace>
  <inkml:trace contextRef="#ctx0" brushRef="#br0" timeOffset="78185.31">27296 9348 0,'-17'0'0,"34"-17"16,0 17-1,2 0-15,-2 0 0,1 0 0,52-18 16,-52 18 0,70 0-16,-52 0 15,-2 0-15,-15-17 0,16 17 0,-18 0 16</inkml:trace>
  <inkml:trace contextRef="#ctx0" brushRef="#br0" timeOffset="79593.28">21299 6385 0,'18'35'0,"-18"-16"0,18-19 0,-18 17 16,0 0-16,17 18 16,0-16-1,1-2-15,0 0 16,0-34 15,-1-19-31,0 19 16,-17-18-16,19-18 15,-19 35-15,0-18 0,0 19 16,17-18-16,-17 17 0,0 0 0,0 1 16,0-36-1,0 35-15,0 1 0,18 0 16,-18-2-1,17 19-15</inkml:trace>
  <inkml:trace contextRef="#ctx0" brushRef="#br0" timeOffset="80225.84">21669 6085 0,'-17'35'16,"0"-16"-16,17 15 16,0-16-1,0 0-15,0 0 16,0-1-16,0 0 16,17-17-1,0 0-15,1 0 16,-18-17-1,18 0-15,-18-1 16,18 18-16,-1-36 16,0 19-1,2 0 1,-2 34 0,1 0-1,-1-17-15,-17 18 0,17 0 16,-17 0-16,0-1 15,0 0-15,19 1 16,-19-53 31,17 0-31,-17 17-16,18-17 15,-1 18-15,-17-2 0,19 2 16,-2-1-1,-17 1-15,35 0 16,-18 17-16,2 0 16,-2 0-1,0 17 1,1 0-16,-18 1 16,18-1-16,-18 2 15,18-2 1,-18 0-16,0 1 15</inkml:trace>
  <inkml:trace contextRef="#ctx0" brushRef="#br0" timeOffset="80345.89">22145 5856 0</inkml:trace>
  <inkml:trace contextRef="#ctx0" brushRef="#br0" timeOffset="80994.37">22357 5873 0,'-34'18'15,"34"0"-15,-19 0 0,2-1 16,17 0-16,0 2 16,0-2-16,-18 1 15,18-1-15,18-17 0,-18 19 16,17-2-1,2-17-15,-2 0 16,0-17 0,-17-2-1,18 2 1,-18-1-16,18 1 16,0 17 30,-18 17-30,17 1 0,0-18 31,1-18-47,0 1 15,-18-2 1,18 19-1,-1 0 1,0-17 0,2 34 15,-2-34 16,1 17-32,-1-17 1,0-1-16,2 0 16</inkml:trace>
  <inkml:trace contextRef="#ctx0" brushRef="#br0" timeOffset="81244.94">22711 5785 0,'17'-17'0,"-17"0"0,17-2 16,-51 55 30,34-19-30,0 1-16,0 0 16,0 0-1,17-18 1,0 0 0,1-18-16,0 18 15,0 0 1,16 0-1,-16 18 1,0-1 0</inkml:trace>
  <inkml:trace contextRef="#ctx0" brushRef="#br0" timeOffset="81573.38">21811 6473 0,'34'-34'0,"-15"34"0,104-54 16,-17 18-1,-54 2-15,126-20 16,-20 2 0,1-1-1,-124 53-15,1-17 0,-19 17 0,36-19 16</inkml:trace>
  <inkml:trace contextRef="#ctx0" brushRef="#br0" timeOffset="81800.72">22023 6527 0,'34'-36'15,"54"18"1,-52 1-16,70-19 16,-70 19-16,16-1 0,1 1 15,88-54 1,-89 53-16,90-34 16,-106 52-16,-2-18 0,37-18 15</inkml:trace>
  <inkml:trace contextRef="#ctx0" brushRef="#br0" timeOffset="82611">22587 9225 0,'-35'-17'16,"16"34"-16,-15-17 0,16 0 0,0 0 15,-52 18-15,52-18 0,-34 17 16,33 0-16,2-17 16,17 19-16,-18-19 0,18 17 0,0 1 15,18 18 1,-1-19-16,36 18 15,1 1 1,-37-36-16,0 17 0,1 0 0,0-17 16,0 0-16,-1 18 0,0 0 15,-17 17 1,0-18-16,-17-17 16,0 19-16,-37-2 15,37 1-15,0-18 16,-19 17-16,18-17 0,1 0 0,0 0 15,-2 0-15,2 0 16</inkml:trace>
  <inkml:trace contextRef="#ctx0" brushRef="#br0" timeOffset="82832.98">22799 9331 0,'0'0'16,"17"17"0,-34 19-1,17-19-15,0 1 0,0 0 16,0 0-16,-18 34 16,18-34-16,0 0 15,-18-1-15,18 0 0,0 2 16,0-2-16,-18 1 15,18-1-15</inkml:trace>
  <inkml:trace contextRef="#ctx0" brushRef="#br0" timeOffset="83128.83">22851 9260 0,'53'-17'15,"-36"17"-15,2 0 16,-2 0-16,-17 17 0,18-17 16,-1 17-16,-17 2 0,19-19 0,-19 17 15,17 1-15,-17-1 0,0 19 16,-17-19-16,17 1 15,0 0-15,-19 0 0,-16 34 16,18-34-16,-2 0 0,2-1 16,0 19-16,-1-19 15,0 1-15,0-1 0</inkml:trace>
  <inkml:trace contextRef="#ctx0" brushRef="#br0" timeOffset="83347.81">22181 9860 0,'159'-35'0,"-124"17"16,1 18-16,16 0 0,-16 0 0,-2-18 15,20 18-15,-1 0 0,-1 0 0,-16 0 16,17 0-16,35 0 15,-53 0-15,-18 0 0,19 0 16</inkml:trace>
  <inkml:trace contextRef="#ctx0" brushRef="#br0" timeOffset="83574.72">22357 9948 0,'54'0'32,"-20"-17"-17,2 17-15,-1 0 0,1 0 16,-1 0-16,-1-18 0,20 18 16,34 0-16,-35 0 0,0 0 0,-1-18 15,2 18-15,-1 0 16,-1 0-16,108 0 15</inkml:trace>
  <inkml:trace contextRef="#ctx0" brushRef="#br0" timeOffset="84176.86">25727 9895 0,'53'0'15,"-36"0"-15,18 0 16,53 0-16,-52-18 0,35 18 15,-1 0-15,1 0 0,-2 0 16,2 0-16,0-17 0,-1 17 0,18 0 16,-17 0-16,-18 0 0,18 0 0,-18 0 15,-18-17-15,1 17 0,52 0 16,-53 0-16,-18 0 16,2 0-16</inkml:trace>
  <inkml:trace contextRef="#ctx0" brushRef="#br0" timeOffset="84422.66">26061 10055 0,'230'0'16,"-18"-19"-1,-124 19-15,-35 0 0,18-17 0,-1 17 0,-18 0 16,2 0-16,-1 0 0,-18-18 16,53 18-16,-71 0 15,19 0-15,-19 0 0,1-17 16,0 17-16</inkml:trace>
</inkml:ink>
</file>

<file path=ppt/ink/ink12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40:27.962"/>
    </inkml:context>
    <inkml:brush xml:id="br0">
      <inkml:brushProperty name="width" value="0.05292" units="cm"/>
      <inkml:brushProperty name="height" value="0.05292" units="cm"/>
      <inkml:brushProperty name="color" value="#0070C0"/>
    </inkml:brush>
  </inkml:definitions>
  <inkml:trace contextRef="#ctx0" brushRef="#br0">14036 2355 0,'35'0'47,"72"0"-31,69 0-16,70 0 15,1 0 1,72 0-16,15 0 0,160 0 15,-17 0-15,-1 0 16,-36 0-16,-104 0 16,-89 0-16,-71 0 15,-70 0 1,-18 0-16,-17 0 0,-36 0 16,-18 0-1</inkml:trace>
  <inkml:trace contextRef="#ctx0" brushRef="#br0" timeOffset="1534.27">10420 4700 0,'18'-17'125,"35"0"-109,0 17 0,17 0-16,-17-18 15,71-18 1,-19 36-16,90-17 16,-2 17-16,54-17 15,-35 17-15,0 0 0,-36 0 16,19 0-1,-37 0-15,-16 0 16,-54-19-16,-54 19 16,-34-17-16</inkml:trace>
  <inkml:trace contextRef="#ctx0" brushRef="#br0" timeOffset="2772.54">10156 5883 0,'52'0'109,"72"0"-93,35 35-16,34 1 0,37-19 16,35-17-1,-36 0-15,18 0 0,-52 0 16,-55 0-16,-16 0 15,-54 0 1,-52 0 0</inkml:trace>
  <inkml:trace contextRef="#ctx0" brushRef="#br0" timeOffset="17668.16">595 9799 0,'141'0'16,"-105"0"-16,16 0 0,90 0 15,-72 0-15,194 0 16,-174 0-16,15 0 0,-34 0 16,17 0-16,-18 0 0,142 0 15,-160 0-15,-16 0 16,-1 0-16,1 0 0,-1 0 0,1 0 16,-2 0-16,-16 17 15,0-17-15,0 0 0,-1 0 16,0 18-16,2-18 15,-2 0-15,35 0 16</inkml:trace>
  <inkml:trace contextRef="#ctx0" brushRef="#br0" timeOffset="18559.18">5799 9710 0,'35'-18'32,"35"18"-17,-34 0 1,-1 0-16,18 0 0,1 0 0,15 0 0,108 0 16,-54 18-16,-16-18 15,15 0-15,-15 0 0,16 0 16,1 0-16,0 18 0,16-18 0,1 0 15,0 0-15,142 0 0,-19 0 16,-140 0-16,-1 0 16,89 0-16,-106 0 0,-36 0 15,19 0-15,34 0 16,-87 0-16,-2 0 0,2 0 0,-18 0 16,16 0-16,-16 0 0,0 0 0,0 0 15,-1 0-15,0 0 16,2-18-16,-2 18 15,1 0 1</inkml:trace>
  <inkml:trace contextRef="#ctx0" brushRef="#br0" timeOffset="19384.3">10755 9622 0,'583'0'0,"-478"17"15,19-17-15,-1 0 0,1 0 0,-19 0 16,19 19-16,0-19 0,-19 0 15,19 0-15,-18 17 0,-1-17 0,107 0 16,-141 0-16,-1 0 16,1 0-16,-18 0 0,-18 0 0,0 0 15,1 0-15,-19 0 0,19 0 16,-19 17-16,1-17 0,-1 0 0,2 0 16,-2 0-16,0 0 0,1 0 15,-1 0-15,2 0 16</inkml:trace>
  <inkml:trace contextRef="#ctx0" brushRef="#br0" timeOffset="20359.27">15500 9675 0,'71'0'15,"-36"0"-15,1 17 0,16-17 0,18 0 16,72 0-16,-72 18 16,37-18-16,-2 18 0,1-18 0,0 18 15,0-18-15,-1 17 0,19-17 0,-36 17 16,124 2-16,-107-19 15,-17 0-15,19 17 0,-36-17 0,-1 0 16,1 0-16,-2 18 0,2-18 0,-18 0 16,1 0-16,34 0 0,-54 0 15,2 17-15,-1-17 0,1 0 16,-1 0-16,-18 0 0,2 0 16,-2 0-16,18 0 0,1 0 15,-19 0-15,0 0 0,1 0 16,0 0-16,0 0 15,-1 0 1,0 0 0,2 0 15</inkml:trace>
  <inkml:trace contextRef="#ctx0" brushRef="#br0" timeOffset="27188.31">10808 12674 0,'-17'0'16,"17"-18"31,35 18 0,18 18-32,-36-18-15,19 0 0,-18 0 16,16 0-16,2 0 0,-1 17 0,1-17 16,-1 0-16,1 0 0,-2 0 0,1 0 15,1 0-15,-19 0 0,1 17 16,18-17-16,-19 0 0,0 0 0,2 0 16,-2 0-16,1 0 15,-1 0-15,0 0 16,2 0-1,-2 0 1,1 0 0,-53 19 343,35-2-359,-19 35 16,19-33-1,0 33-15,-17-33 0,17 15 0,0 2 16,-17-1-16,17 0 0,0 1 0,0-2 16,-18 125-1,18-123-15,0-1 0,0 1 16,0 52-16,0-54 0,0 2 15,-17-1-15,17 1 0,0-1 16,0 1-16,0-2 0,0 2 0,0-18 16,0 16-16,0-15 0,0 16 0,0-18 15,0 19-15,0-19 0,0 1 16,0-1-16,0 19 0,-19-1 16,19-18-16,0 2 15,0-2-15,0 0 0,0 1 16,0 0-16,0 0 15,0-1-15,0 0 16,0 2 0,-17-2-1,17 18 1,0-18 0,-17 2-16,17-2 31,0 1-31,-18 18 15,18-19-15,-18-17 16,18 17-16,0 1 16,0 0-1,-18 0 32,1-18 16,-19 0-48,1 0 1,18 0-16,0 0 16,-19 0-16,-18 17 15,37-17-15,-18 0 0,-1 0 0,2 17 0,-2-17 16,-70 0-16,53 18 15,1-18-15,-1 18 0,-1-18 16,2 0-16,16 18 0,-17-18 0,18 0 16,1 0-16,-2 17 0,1-17 15,-1 0-15,19 0 0,-1 17 0,-18-17 16,19 0-16,0 0 0,-1 0 16,0 0-16,0 0 15,1 0-15,0 0 16,17-17 15,0-18-15,0 17-16</inkml:trace>
  <inkml:trace contextRef="#ctx0" brushRef="#br0" timeOffset="29108.55">7722 12762 0,'-18'-18'16,"0"1"-16,0 17 15,1 0-15,0 0 16,-1 0-16,0 0 0,-34 0 16,16 0-16,18 0 0,-87 0 31,69 0-31,19 0 0,-19 0 16,18 0-16,-16 0 0,15 0 0,2 0 15,-18 0-15,18 0 0,-2 0 16,2 0-16,-1 0 0,1 0 15,-2 0 1,19 17-16,-17-17 16,17 18-16,0-1 0,-17-17 0,17 17 15,0 2-15,0 16 0,0-18 16,-18 19-16,18-1 0,0 18 16,0 0-16,-17-1 0,17 19 0,0-18 0,0 18 15,-19-18-15,19 17 16,-17 54-16,17-71 0,0-1 0,-35 125 15,35-125 1,-18 2-16,0-18 0,18 16 16,0-35-16,-17 54 0,17-53 15,-17 17-15,17 1 0,0-1 16,-19-18-16,19 0 16,0 2-16,0-2 0,-17 1 15,17-1-15,-18 2 16,18-2-1,0 0-15,-17-17 16,17 18-16,0 0 31,-17 0-31,17-1 32,-19-17-32,19 17 15,-17 1 1,17 0 15,-18-18-15,36 18 15,-1-1-15,2-17-16,-2 0 15,18 17-15,71 19 16,-54-36-16,2 18 15,87-18 1,-18 17-16,-70-17 0,35 0 16,-35 0-16,53-17 15,-88 17-15,17 0 16,-18 0-16,1 17 16</inkml:trace>
  <inkml:trace contextRef="#ctx0" brushRef="#br0" timeOffset="31623.66">5728 12956 0,'-17'35'16,"0"0"0,17-17-16,0 0 0,0-1 15,-19 19-15,19-19 0</inkml:trace>
  <inkml:trace contextRef="#ctx0" brushRef="#br0" timeOffset="32060.65">5975 13026 0,'0'18'0,"-17"-18"0,17 18 15,0-1 1,-18 0 0,36 2-1,-1-19-15,0 0 16,2 0-16,-2 0 15,1 0-15,-1-19 16,2 19-16,-2 0 16,-17-17-16</inkml:trace>
  <inkml:trace contextRef="#ctx0" brushRef="#br0" timeOffset="32215.33">6134 13026 0,'-18'53'0,"1"-17"16,17 16 0,0-33-16,0 33 15,0-35-15,0 2 16,17-2-16</inkml:trace>
  <inkml:trace contextRef="#ctx0" brushRef="#br0" timeOffset="32576.68">6292 12956 0,'19'0'0,"-19"18"15,17-18-15,-17 17 16,18-17-16,-18 17 0,0 1 0,0 0 15,17 0-15,-17-1 0,0 0 0,0 2 16,0 16-16,0-18 0,0 19 16,0-19-16,0 1 15,0 18-15</inkml:trace>
  <inkml:trace contextRef="#ctx0" brushRef="#br0" timeOffset="32754.82">6363 13255 0,'53'-17'0,"1"-1"16,-161 53-16,266-87 0,-106 52 0,18-17 16,-18-2-16,18 2 15,17-1-15,-18 1 0,1-2 0,-2 19 16</inkml:trace>
  <inkml:trace contextRef="#ctx0" brushRef="#br0" timeOffset="36419.22">23808 4754 0,'35'17'0,"-16"0"0,-38 2 16,19-2 0,-17 1-16,-1-1 0,1 19 15,-2-19-15,2 1 0,0-1 0,-1 2 16,1-19-16,-2 17 0,19 0 0,-17-17 16,0 18-16,34-18 31,0 0-31,2 0 0,-2 0 0,18 0 15,-18 18-15,54-18 16,-52 18-16,-2-18 16,18 17-16,-17 0 0,0-17 15,-18 19-15,0-2 0,0 1 16,-18-1 0,0-17-16,0 17 0,1 2 0,0-2 15,-2-17-15,2 18 0,-1-18 0,1 17 16,-36-17-1,35 0-15,1 0 16</inkml:trace>
  <inkml:trace contextRef="#ctx0" brushRef="#br0" timeOffset="37055.62">24372 4754 0,'-17'-18'0,"0"18"16,-1 0 0,0 0-16,0 18 0,1-18 0,-36 17 15,35 0-15,1 2 16,-2 16-16,-33 18 16,35-53-16,17 17 0,0 1 15,-19-1-15,38 2 16,33-19-1,-35-19 1,2 19-16,16-17 0,-18-1 0,2 18 16,-2-17-16,18 17 0,1-36 15,-19 36-15,0 0 16,1 0-16,0 0 0,-18 19 16,18-19-16,-18 17 15,0 0-15,0 18 0,0-16 16,0-2-16,0 0 0,0 1 15,-18 0-15,18 0 0,0-1 16,0 0-16,0 2 0,0-2 16,0 1-16</inkml:trace>
  <inkml:trace contextRef="#ctx0" brushRef="#br0" timeOffset="37440.46">25202 4807 0,'-176'71'16,"157"-71"-16,-16 34 0,1-16 16,15-1-16,2 2 0,-1-2 15,18 0 1,0 1-16,18-18 0,-1 18 16,2-18-16,-2 18 15,18-18-15,-18 0 0,19 0 16,-1 0-16,-17 0 0,17 0 0,1 0 15,-19 0-15,18-18 0,-18 18 16,19 0-16,-1-18 0,-16 18 16,-2-18-16,0 18 0,1-17 0</inkml:trace>
  <inkml:trace contextRef="#ctx0" brushRef="#br0" timeOffset="37659.57">25378 4754 0,'0'0'0,"-18"17"16,1-17 0,17 17-16,0 2 0,0-2 0,-17 1 15,17-1-15,0 19 0,0-19 0,-19 18 16,19 1-16,0-1 0,0 18 16,0-36-16,0 19 0,0-18 15,0 16-15,0 2 16,0-18-16,0-1 0,19-17 15,-19 19-15,17-19 16</inkml:trace>
  <inkml:trace contextRef="#ctx0" brushRef="#br0" timeOffset="38330.47">26031 4683 0,'-17'-35'0,"-2"53"47,2 35-32,17-18-15,0-18 0,0 0 16,0 2-16,0 16 15,0-18-15,0 2 0,0 15 16,0-16-16,0-1 0,0 2 0,0-2 16,0 0-1,17 1-15</inkml:trace>
  <inkml:trace contextRef="#ctx0" brushRef="#br0" timeOffset="39174.71">25836 4859 0,'54'-17'16,"-37"17"-16,0 0 0,2 0 0,-2 0 15,18-18-15,1 18 16,-19 0-16,1 0 0,18 0 0,-19 0 15,0 0-15,19-17 0,-18 17 16,-1 0-16,0 0 0</inkml:trace>
  <inkml:trace contextRef="#ctx0" brushRef="#br0" timeOffset="39426.33">25854 5176 0,'18'0'15,"0"0"-15,-1 0 0,0 0 16,2 0-16,16 0 0,-18 0 0,2 0 15,15 0-15,-16 0 0,-1 0 16,19 0-16,-19 0 0,1 0 16,0-17-16</inkml:trace>
  <inkml:trace contextRef="#ctx0" brushRef="#br0" timeOffset="39920.89">26666 4683 0,'17'17'32,"-17"2"-32,0-2 15,0 1-15,0-1 0,0 0 0,0 2 16,0-2-16,-17 1 0,17-1 15,0 19-15,0-1 0,0-18 16,0 2-16,0-2 0</inkml:trace>
  <inkml:trace contextRef="#ctx0" brushRef="#br0" timeOffset="40250.12">27300 4807 0,'-88'35'16,"35"-18"0,36-17-16,-18 36 0,-1-19 15,19-17-15,-1 18 16,1-18-16,17 17 0,-19 2 15,19-2 1,36-17 0,-36 17-16,18-17 0,-1 0 15,2 0-15,15 0 0,-16 0 0,-1 0 16,2 0-16,-2 0 0,36 0 16,-35-17-16,-1 17 0,0 0 15,2 0-15,-2-17 0</inkml:trace>
  <inkml:trace contextRef="#ctx0" brushRef="#br0" timeOffset="40479.68">27354 4788 0,'-18'19'16,"1"-2"-16,17 1 0,0 18 15,0-19-15,0 0 16,0 1-16,0-1 0,0 2 0,0-2 16,0 0-16,0 1 0,17 0 0,-17 0 15,0-1-15,0 0 0,0 2 16,18-19-16,-18 17 0,17-17 16</inkml:trace>
  <inkml:trace contextRef="#ctx0" brushRef="#br0" timeOffset="40895.37">27671 4700 0,'17'-17'16,"-17"0"-16,19 17 16,16 0-1,-18 0-15,0 0 0,2 17 16,-2-17-16,-17 17 15,18 2-15,-18-2 16,0 18-16,0-18 0,0 2 16,0-2-16,0 1 0,0-1 15,0 2-15,0-2 0,0 0 16,-18 1-16,18-1 0,0 2 16,0-2-16,0 0 15,0 1-15,0 0 16,18-18-16</inkml:trace>
  <inkml:trace contextRef="#ctx0" brushRef="#br0" timeOffset="41094.69">27671 4947 0,'53'-17'16,"-35"-1"-16,16 18 15,2 0-15,-1 0 16,-16-17-16,-2 17 0,18 0 0,-17 0 0</inkml:trace>
  <inkml:trace contextRef="#ctx0" brushRef="#br0" timeOffset="41796.23">28183 4771 0,'-19'17'15,"2"37"16,17-37-31,0 2 16,0-2 0,17 0-16,-17 1 31,36-36 0,-36 1-15,18 17-16,-1 0 0,2-17 15,-2 17-15,0-19 16,1 19-16,0 0 16,0 19-16,-1-2 15,-17 0 1,0 1-16,0-1 31,0 2-15,35-38-1,1 2 17,-36-1-32,17 18 0,0 0 0,-17-17 15,19 17-15,-2 0 16,1 0-16,-1 0 16,2 0-16,-2 0 15,0 17 1,1-17-1,-18 18-15,17-18 16</inkml:trace>
  <inkml:trace contextRef="#ctx0" brushRef="#br0" timeOffset="42398.39">28747 4807 0,'0'52'31,"0"-33"0,0-2-31,0 0 32,17-17-1,2-17-16,-2 17-15,1 0 16,-1-17 0,19 34-1,-19-17-15,1 0 16,-18 17 15,17-17-31,2 18 31,-2-18-31,0-18 32,1 18-32,0 0 15,17 0 1,-18 0 0,1 0-16,18 0 31</inkml:trace>
  <inkml:trace contextRef="#ctx0" brushRef="#br0" timeOffset="64127.28">23120 4436 0,'0'88'94,"71"283"-63,-18-248-31,-35 18 0,-1-34 16,0 122-1,1-141-15,-18-17 31,0-37-31,0-16 16,0-53 93,-52-124-93,34 53 0,-18 0-16,19 18 15,-19-36-15,19-52 32,-18 88-32,35 18 0,-19-1 15,2-17-15,17 0 16,-17 52-1,17 19-15,-35-37 16,35 2-16,-19 34 16,19 0 93,36 18 0,194 0-93,-37 0 0,107-34-16,-17 34 15,105 0-15,-36-36 16,37 36-16,-1 0 16,88 0-1,-141 0-15,-1 0 0,-68 0 16,-20-18-1,54 18-15,194-53 16,-229 36-16,-36-18 16,-35-18-1,18 35-15,-18 1 16,-35-2-16,17-15 16,-71 16-16,54 0 15,-70 0-15,17 18 16,-36-34-16,1 34 15,17-19-15,-35 2 16,-35 17-16,16 0 16,37 0-1,-54 0-15,37 0 16,-18 0-16,-19 0 47,0 0 0,1 0-32,0 0 1,0 17-16,-18 2 16,52 51 15,-52-35-31,18 53 15,34 36-15,-33-1 16,33 1-16,1 52 16,18 106-1,-36-158-15,-35-1 16,36-16-16,-19-37 16,-17-18-16,0 2 15,0-37-15,-17 19 188,-71-36-188,-266 35 15,90 35-15,-389-52 32,248 18-32,-37-19 15,37 36-15,-90-1 16,90-34-16,17-18 15,53 0-15,-70 53 16,140-53-16,18 0 16,18 0-16,53 0 15,-2 0-15,37 0 16,36 0-16,17 0 16,-36 0-16,1 0 15,35 0-15,17 0 16,-70 0-16,34 0 15,2 0-15,-36 0 16,18 0-16,-18 0 16,53 0-16,-90 0 15,90 0 1,-53 0-16,18 0 0,-18 0 16,17 0-1,36 0-15,36 0 0,-19 0 16,1 0-16,34 0 15,1 0 1</inkml:trace>
  <inkml:trace contextRef="#ctx0" brushRef="#br0" timeOffset="65552.45">23332 5600 0,'-18'0'94,"18"35"-78,0-16-16,0-2 15,0 54 1,0-54-16,0 71 16,0-52-1,0 16-15,0 1 16,0 1 0,0-20-16,0 20 0,0-1 15,0 16-15,0-15 16,0-37-1,0 36-15,0-35 16,0-53 312,0-1-312,18-16-16,-18 33 15,0-33-15,0-18 32,0 16-32</inkml:trace>
  <inkml:trace contextRef="#ctx0" brushRef="#br0" timeOffset="67223.66">23155 4578 0,'0'-19'265,"-17"-33"-265,-37-55 32,37 73-32,0-2 0,-18-34 15,16 34 1,19 2-16,-17 15 15,17-16 1,-17 35 0,17-17-1,0-2 1,0 2 0,-18-18-1,-18-1-15,36 19 16,-17 0-1,17-37-15,-17 54 16,17-17-16,0 0 16,-18-2-16</inkml:trace>
  <inkml:trace contextRef="#ctx0" brushRef="#br0" timeOffset="68806.89">22750 4383 0,'53'0'93,"18"0"-77,17 0 0,-18 0-16,142-35 15,-142 35 1,0-18-16,-51 18 0,16 0 16</inkml:trace>
  <inkml:trace contextRef="#ctx0" brushRef="#br0" timeOffset="70286.31">30511 3854 0,'0'-35'141,"0"-1"-125,0-16-16,-35-19 15,35 1-15,-53-37 16,17 19-16,-16-17 16,33 51-1,2 2-15,17-1 0,0 0 16,-35 35-16,35 1 31</inkml:trace>
  <inkml:trace contextRef="#ctx0" brushRef="#br0" timeOffset="72494.39">30264 3131 0,'0'17'0,"18"-17"31,-18 18-15,17 0-1,0 0 17,-17-1-17,0 0-15,19 1 16,-19 0-16,17 0 15,-17-1-15,18 0 16,-18 2-16,17-2 16,-17 18-16,0 1 15,36-19 1,-19 18-16,-17 1 0,18-36 16,-18 17-16,18 19 15,0-1 1,-1-18-1,-17 37 1,0-37-16,35 0 16,-35 2-16,0-2 15,0 1-15,18 35 16,-18-36-16,18 1 16,-18 18-16,17 16 15,0-16 1,2-2-16,-19 2 15,0 16 1,0-16-16,0-1 16,0 1-16,35-1 15,-35 18-15,0-18 16,17 18-16,-17-36 16,0 19-16,0 18 15,0-20 1,0 1-1,19 1-15,-19 17 32,34-18-17,-34-18-15,0 37 16,0-37-16,0 36 16,0 1-1,18-37-15,-18 35 16,36 72-1,-19-88-15,-17-1 16,17-18 0,1 36-16,-18-18 15,18 1 1,-18-19 0,0 1-16,18 0 0,-18 34 31,0-34-16,17-18 1,-17 36-16,0-19 31,0 19-15,0-19 15,0 1-31,17-1 0,1 0 16,-18 19-1,0-18 32,0 18 297,0 16-313,0-34-31,18 17 16,0 0 0,-18 18-16,17-36 0,0 2 15,2 16 1,-19-18 93,17-17-62,-17 19 187,18-19-234,18 17 16,-19-17 15,-17 35-15,17-18 0,-34-17 124</inkml:trace>
  <inkml:trace contextRef="#ctx0" brushRef="#br0" timeOffset="74134.64">30299 3907 0,'17'0'171,"90"0"-155,-36 0 0,-37 0-1,20 0-15,-1 0 0,-1 0 16,-16 0-16,-19 0 16,71 0-1,-52 0 1,-18 0-1,16 0-15,-16 0 16,0 0 62,0-17-62,-1 17 124,19 0-108,-19 0-1,18-19 0</inkml:trace>
  <inkml:trace contextRef="#ctx0" brushRef="#br0" timeOffset="75624.22">30758 5547 0,'0'-17'94,"36"17"-79,34 0-15,-18 0 0,-16-35 16,35 35-16,-36 0 16,-18 0-16,2-19 15,15 19 1,-16 0-16,-1 0 16,2 0-1,-2-17 16,-17 0 63,-17 17-78</inkml:trace>
  <inkml:trace contextRef="#ctx0" brushRef="#br0" timeOffset="77756.39">26348 8352 0,'-17'18'16,"17"-1"0,-19 0-16,19 2 0,0-2 15,0 1-15,-17-18 0,17 17 0,0 2 16,0-2-1,0 0 1,-17-17-16,34-34 31,-17-37-15,0 35-16,17 19 16,-17-1-16,0-18 0,19 19 0,-19 0 15,0-1-15,17 0 0,-17 0 16,0 1-16,18 0 15,-1-2 1,2 38 0,-2-2-1,18-17 1,1 0 0,-19 0-16,54-36 15,-54 19-15,0-1 0,19 1 31,-18 0-31,16 34 16,-15-17-16,-19 17 16,0 1-16,17-1 15,-17 2-15,0-2 0,0 0 0,0 1 16,0 0-16,0 0 0,0-1 16,0 0-16,18 1 0,-18 18 15,0-19-15,0 0 0,0 2 16</inkml:trace>
  <inkml:trace contextRef="#ctx0" brushRef="#br0" timeOffset="78585.32">26383 9322 0,'-17'53'31,"17"-36"-31,0 19 16,0-18-16,0-1 0,0 0 0,0 2 15,0-2-15,0 1 16,0-1 0,17-52 15,-17 18-31,0-2 15,0-15-15,0-20 0,19 20 16,-19-2-16,0 18 16,17 1-16,-17 0 15,0-2-15,17 2 16,1 34 15,-18 2-31,17-2 16,2 0-16,-2-17 15,0 0 1,1-17-16,0 17 0,0-17 16,-1-2-1,19 2-15,-36-1 0,17 18 0,-17-17 16,18 17-16,-1 0 16,0 0-1,-17 17-15,19-17 0,-19 18 0,17-1 16,-17 2-16,18-2 0,-18 0 15,0 1-15,17-18 0,-17 36 16,19-19-16,-19 0 16,0 19-16,17-36 0,-17 18 15,0-1-15,0 0 16,17-17-16</inkml:trace>
  <inkml:trace contextRef="#ctx0" brushRef="#br0" timeOffset="79459.36">26507 10134 0,'0'34'31,"0"-15"-15,-17-2-16,17 1 0,0 16 31,0-15-31,0-2 16,17-53 31,-17 19-47,0 0 0,17-37 15,1 37-15,-18 0 16,0-1-16,18 0 0,-18 0 16,18 1-1,16 17 1,-15 35-1,-2-35 1,-17 18-16,18-18 16,16 0-1,-15-18-15,-2 18 0,1 0 0,-1-18 16,2 18-16,-2 0 16,0 0-1,1 18-15,-18 0 16,18 0-16,-18-1 15,0 0-15,18 19 16,-18-18-16,17-1 16,-17 0-16,17-17 0,-17 19 15,18-19 1</inkml:trace>
  <inkml:trace contextRef="#ctx0" brushRef="#br0" timeOffset="79834.5">27178 10151 0,'-19'-17'0,"2"34"16,-1-17-16,1 36 15,17-19-15,0 1 16,0-1-16,0 0 16,17-17-16,-17 19 0,18-19 15,-1 0-15,2 0 16,15 0-16,-34-19 0,18 19 16,0-17-16,0 17 0,-18-17 15,0-1-15,17 1 0,-17-2 16,-17 2-16,17 0 0,-18-1 15,0 0 1,0 18-16,1 0 16,0 0-16,-2 0 0,2 0 15</inkml:trace>
  <inkml:trace contextRef="#ctx0" brushRef="#br0" timeOffset="80341.24">27512 9922 0,'18'0'16,"-1"17"-1,-17 2 1,-17-2 0,17 0-16,0 18 0,0-16 0,-18 33 15,18-34-15,0 0 0,0 16 0,0-15 16,0-2-16,0 1 15,0-1-15,0 0 0,18-17 16,-18 19-16,0-2 0,17-17 16,2-17 15,-38-2-15,19 2-1,-35 17-15,1 17 16,34 2-1,-19-19-15,19 17 16,-17-17-16,17 18 16,0-1-16,17-17 15,2 19-15,-2-38 16,18 19-16,-18 0 16,2-17-16,-2 17 0,0 0 0,-17-18 15,18 18-15,0 0 0,-18-17 16,18 17-16,-1 0 0,0 0 15,-17 17 1,19-17 0,-19 18-16,17-18 15,-17 17-15,18-17 16</inkml:trace>
  <inkml:trace contextRef="#ctx0" brushRef="#br0" timeOffset="81116.21">27036 9446 0,'18'-18'62,"-1"0"-46,2 0-1,-19 1-15,0 0 0,0-1 16,0 0 0,-19 18-1,2 0 1,-1 18-1,18 0-15,-17-18 0,17 17 16,-19 0-16,19 1 16,36 0-1,-36 0-15,18-18 0,52 17 32,-16-17-32,-37 0 0,0 0 15</inkml:trace>
  <inkml:trace contextRef="#ctx0" brushRef="#br0" timeOffset="81608.47">27618 9058 0,'0'-18'0,"-35"36"15,35-1-15,-17 0 16,17 19-16,-19-18 15,19 16-15,-17-15 0,17 16 0,0-18 0,-18 19 16,18-19-16,0 19 0,0-18 16,18-1-16,-18 0 0,0 1 15,0 0-15,0 0 16,-18-18 0,1-18-1,-19 0 1,19 18-16,-18 0 15,-18 18 1,35-18-16,1 18 0,-2-18 16,19 17-16,-17-17 0,17 17 15,17 2 1,2-19-16,-2 0 16,1 0-16,16-19 0,-15 19 0,16 0 15,-18-17-15,2 17 0,15-17 16,-16 17-16,-1-18 0,2 18 0,15-18 15,-16 18 1,0 0-16,0 18 16,-18 0-1,17-1 1,-17 0-16,0 2 31</inkml:trace>
  <inkml:trace contextRef="#ctx0" brushRef="#br0" timeOffset="81751.44">27812 9270 0,'-17'-19'16,"-2"38"15</inkml:trace>
  <inkml:trace contextRef="#ctx0" brushRef="#br0" timeOffset="82208.36">27883 9322 0,'-17'0'0,"-37"18"15,37 0 1,17-1-16,-19 0 16,19 1-16,-17-18 15,17 18-15,17-18 16,2 18 0,-2-36-1,18 18 1,-16-18-16,-2 18 15,0-18-15,1 18 32,0 0-17,0 0 1,-1 18 0,0-18-16,19 18 15,-1-18 16,-18 0-31,37 0 16,-20 0 0,2 0-1,-36-18-15</inkml:trace>
  <inkml:trace contextRef="#ctx0" brushRef="#br0" timeOffset="83464.39">27107 8334 0,'17'-52'0,"-34"34"16,17 0-1,-36 36 1,19 0 0,-18-1-1,35 0-15,0 1 16,0 0-16,17 0 15,1-18-15,-1 0 0,2 17 16,15-17-16,-16-17 0,18 17 16,-19 0-16,18 0 0,-17-18 15,17 18-15,-18-18 0,19 0 16,-18 18-16,-1-17 0,0 0 16,2-1-16,-19 0 31,-36 18-16,19 36 1,-1-19 0,18 0-1,18 1 17,-1-18-17,19 0 1,-19 0-16,1 0 15,-1 0-15,2 0 16,-2 0 0,0 0-16,1 0 31,-18 18-15,17-18-1,2-18 1,-2 18-1,0 0-15,1 0 16,0-18-16,0 18 16,16 0-16,-15 0 15,-2 0-15,1 0 16</inkml:trace>
  <inkml:trace contextRef="#ctx0" brushRef="#br0" timeOffset="83820.57">27847 8211 0,'-17'17'15,"17"1"-15,-18 0 16,18 0 0,0-1-1,0 0-15,18-17 16,-1 0 0,2 0-1,-2 0 1,0 0-1,1 0-15,18 0 16,-2 0 0,2-17-1</inkml:trace>
  <inkml:trace contextRef="#ctx0" brushRef="#br0" timeOffset="84786.53">28235 7787 0,'36'-17'15,"-19"17"-15,1 0 0,0 17 16,0-17-16,-1 19 16,18 15-1,-35-16-15,0 18 0,18-19 16,-18 0-16,0 19 0,0-1 15,0-18-15,0 19 0,0-18 0,0 18 16,0-19-16,0 18 0,0-18 16,0 2-16,0-2 0,0 0 15,0 1-15,0 35 16,-18-36-16,18 1 16,-18 0-16,1-18 15,17 18-15,-17-18 0,-1 17 16,0-17-16,0 0 15,1 17-15,0-17 0</inkml:trace>
  <inkml:trace contextRef="#ctx0" brushRef="#br0" timeOffset="86174.76">28183 8863 0,'0'-35'15,"17"35"1,1-17-1,-1 17-15,2 0 16,-2-19-16,0 19 16,1 0-1,0 0 1,-18 19-16,18-2 16,-18 1-1,0-1-15,0 2 16,17-2-16,-17 0 0,0 1 0,0-1 15,0 19-15,0-19 0,17 1 16,-17 0-16,0 17 0,0-18 0,18 19 16,-18-18-16,0-1 0,18 0 15,-18 2-15,0 16 0,0-18 0,0 2 16,0-2-16,18 0 0,-18 1 16,0 0-16,0 0 0,-18-18 15,18 17-15,0 0 0,0 1 16,-18 0-16,0 0 15,1-1-15,0 0 16,-1-17-16,18 19 16</inkml:trace>
  <inkml:trace contextRef="#ctx0" brushRef="#br0" timeOffset="87684.61">28112 9816 0,'0'-17'0,"18"17"16,-1 0-1,0 0-15,2 0 0,-2-19 16,1 19-16,18 0 16,-19 0-16,18-17 15,1 17 1,-19 0 0,0 0-1,1 17 1,-18 2-1,0-2-15,18-17 0,-18 18 0,0-1 16,0 0-16,0 54 16,18-35-16,-18 35 15,0-37-15,0 2 0,0-18 16,0 16-16,17-15 0,-17 16 16,0-18-16,17 0 0,-17 19 0,0-18 15,19-1-15,-2 19 16,-17-19-16,0 1 0,18-18 15,-18 36-15,17-36 0,-17 17 16,19 0-16,-19 1 16,17-18-1,-17 18 1,-17-18 0,-37 18-1,37-18-15,-19 0 0,19 17 16,-1-17-16,0 0 0,0 0 15,1 17-15,-18-17 0,17 0 16,0 19-16,1-19 0,0 0 0,-2 17 16,2-17-16</inkml:trace>
  <inkml:trace contextRef="#ctx0" brushRef="#br0" timeOffset="88780.84">26542 9799 0,'-52'-19'0,"33"19"16,2 0-16,-1 0 16,1 0-16,0 0 0,-2 0 15,2 19-15,17-2 16,0 35-1,0-33 1,17-2-16,-17 18 0,0-16 16,0 15-16,0-16 0,0 18 15,0 16-15,0-16 0,-17-2 0,17 2 16,0-1-16,0 1 0,0-1 0,-18 1 16,18-2-16,0 2 0,0 16 15,0-34-15,0 0 0,18 0 16,-1-1-16,-17 0 0,19-17 15,-2 0-15</inkml:trace>
  <inkml:trace contextRef="#ctx0" brushRef="#br0" timeOffset="89421.17">26190 9004 0,'-71'-34'0,"54"15"0,-19 19 31,18 0-31,18 19 0,-17 15 16,17-16 0,0 0-16,0 0 0,0 16 0,17-15 15,-17 16-15,18 89 16,-18-72 0,0-34-16,17 17 0,-17-18 15,0 1-15,0 35 16,19-36-16,-19 2 15,0-2-15</inkml:trace>
  <inkml:trace contextRef="#ctx0" brushRef="#br0" timeOffset="90140.52">26119 7858 0,'-71'0'0,"54"0"0,105 0 0,-193 0 16,86-18-16,-16 36 15,18-18-15,-2 0 0,2 18 16,0 0-16,17-1 16,0 0-16,0 19 15,0 16-15,0-33 16,0 16-16,0 1 0,0 33 16,0-33-16,0-1 0,0 1 15,-18 16-15,18-16 0,0-19 16,0 19-16,0-19 0,0 1 15,0-1-15,0 2 0,0-2 16,0 0-16,0 1 16,0-1-16,0 2 15,18-19 1,16 17 0,-15-17-1,-2 0-15,1-17 31</inkml:trace>
  <inkml:trace contextRef="#ctx0" brushRef="#br0" timeOffset="93304.42">28906 7506 0,'88'-36'0,"-70"36"0,-124 36 0,230-90 15,-107 54-15,0 0 0,19 18 16,-18 35-1,-36-36-15,18 37 16,-36-1-16,19 16 0,-18 2 16,-1 18-16,-34 70 0,35-71 15,16-17-15,2-1 0,-18 0 0,35 0 16,-17-16-16,17-1 0,0 52 16,0-69-16,0-1 0,17 1 15,1-19-15,-1 18 0,0-18 16,2 2-16,16-19 0,-18 17 0,36-17 15,-17 0-15,-1-17 16,0-2-16,18 2 0,-17-18 0,-1-1 16,-1 19-16,2-18 0,-1 17 15,1-17-15,-19 18 0,1 17 0,-18-19 16,18 19-16,0 0 16,-18 19-16,0-2 0,17 18 15,-17 1-15,0 17 0,0 16 16,0-15-16,17 16 0,-17 18 0,0 0 0,0-34 15,0 34-15,18 0 0,-18-18 16,0-16-16,0 16 0,0 1 16,0-19-16,0 1 0,0 1 0,0-1 0,0-18 15,-18-1-15,18 2 16,-17-1-16,0 1 0,-1-19 0,-18 37 16,19-37-16,0-17 0,-2 17 15,2-17-15,-1 0 0,1 0 16,-19 18-16,19-18 0,-1 0 0,1-18 15,-19 18-15,19 0 0,-1 0 16,0 0-16,-17-17 0,18 17 16,-1 0-16</inkml:trace>
  <inkml:trace contextRef="#ctx0" brushRef="#br0" timeOffset="93994.12">29982 8670 0,'-18'0'0,"72"0"32,-37 0-17,0 0-15,1 0 0,-1 0 16,2 0-16,33 0 16,-34 17-1</inkml:trace>
  <inkml:trace contextRef="#ctx0" brushRef="#br0" timeOffset="94183.81">30018 8899 0,'17'17'15,"0"-17"-15,1 0 16,-1 0-1,19 0 1,-19 0 0</inkml:trace>
  <inkml:trace contextRef="#ctx0" brushRef="#br0" timeOffset="104342.11">18992 3272 0,'0'106'32,"0"-70"-32,0 33 15,0-50-15,0-2 0,0 54 16,0-54-16,0 0 16,-17 2-16,17-2 0,0 1 15,0-1 1,-17-17-1,17-17 1,-18-18 0,18 16-16,0 2 0,0-18 0,0-1 15,0-34-15,0 35 0,0 18 16,18-19-16,-18 1 0,0-1 0,17 19 16,0-1-16,-17 0 0,19 0 15,-2 1-15,-17 0 0,18 17 0,-1-18 16,0 18-16,2 18 15,-2-18-15,-17 17 0,0 0 16,-17 1-16,-2 35 16,2-36-16,17 2 0,-17 16 15,-1-18-15,1 2 0,-2-2 0,2 0 16,17 1-16,-17-1 16,-1 2-16,18-2 0,-18-17 15,18 17 1,18 1-1,0-18-15,-1 0 0,0 0 0,2 0 16,-2 0-16,1 0 0,-1 0 16,0 0-16,2 0 0,16 0 0,1 0 15,-19 0-15,0 0 0,1 0 16,0 0-16</inkml:trace>
  <inkml:trace contextRef="#ctx0" brushRef="#br0" timeOffset="104876.17">19558 3307 0,'-54'36'15,"37"-36"-15,0 17 0,17 1 16,0-1-16,-19-17 0,19 36 16,0-19-1,0 1-15,0-1 0,0 2 16,19-19-16,-2 0 15,0 0 1,18-19 0,-35 2-16,19 17 0,-19-18 15,17 1-15,-17 0 16,17-2-16,-17 2 16,0-1-16,18 36 46,0-1-46,-18 19 32,0-19-17,18 1 1,-18-1 0,17-17-16,0 0 15</inkml:trace>
  <inkml:trace contextRef="#ctx0" brushRef="#br0" timeOffset="105230.85">19839 3307 0,'0'36'31,"0"-19"-31,0 1 16,0-1-16,19-17 15,-19 19 1,0-2-16,17-53 47,0 36-32,-17-17-15,35 17 32,-16 17-32,-2-17 0,0 0 15,-17 19-15,18-19 16,18 0-16,-19 17 0,0-17 16,2 0-16,-2 0 0</inkml:trace>
  <inkml:trace contextRef="#ctx0" brushRef="#br0" timeOffset="105703.48">20351 3254 0,'-17'-18'15,"17"36"32,0 0-31,0 0-16,0-1 0,17 0 15,-17 37 1,-17-18 0,-1-19-16,18 0 0,-18 18 31,54-52 0,-36-1-31,17 1 16,0 0-16,1-2 0,-18 2 15,53-37 1,-36 37 0,-17 0-1,19 51 16,-19-15-31,17-19 16,1 17 0,-1-17-16,2 18 15</inkml:trace>
  <inkml:trace contextRef="#ctx0" brushRef="#br0" timeOffset="107611.23">18975 4260 0,'0'-18'0,"0"54"31,0-19-31,0 0 16,17 1-16,-17 18 0,0-2 0,19 2 16,-19-18-16,17 18 0,1-2 15,-18-16-15,17-1 0,0 19 0,2-19 16,-2-17-16,1 18 0,-1-18 0,2 18 15,15-18-15,-16-18 16,18 0-16,-19 1 16,0 0-16,-17-2 0,18-16 0,-18 18 15,18-19-15,-18 1 0,0-18 0,-36-52 16,36 69 0,-17-16-16,0 33 0,-1 2 15,18-1-15,-18 1 0,18-2 0,-18 19 16,1-17-16,0 34 15,-2 2 1,19-2-16,0 1 0,0 18 16,0-19-16,19 18 0,-19-17 15,17 17-15,-17 0 0,17 1 0,1-2 16,0 2-16,-18-1 0,18-16 16,-1 15-16,0-16 0,1-1 15,0 2-15,-18-2 0,18 0 0,-1-17 16,0 18-16,2-18 0,-2 0 15,1 0-15,-1 0 0,2-18 16,-2 18-16,-17-17 0,17 0 0,1-2 16,-1 19-16,-17-17 0,19-1 0,-19 1 15,17 17-15,-17-17 0,17-2 16,-17 2 0,0 53 15,0-19-16,18 0 1,0 1 0,0-18-1,16 0 1,-16-18-16,0 18 16,17 0-1,-18-17 1,19 17-1,-18 0-15,18-17 16,-19 17 0,0-19-16,1 19 0,-1-17 15,19-1-15,-19 18 0,-17-17 16,18 17-16,-18-19 0,0 2 16,0 0-1,-18-1 1,1 36 31,34-1-32,-17 0-15,18-17 16,0 0-16,0 19 0,-1-19 16,19 17-16,-19 1 15,1-18-15,-1 0 16,0 17-1,-17-34 17,19-1-17,-19 1 1,0-2 0,17 19-16,-17-17 0,18 17 15,-18-17-15,17 17 0,2 0 16,-19-18-16,17 18 0,0 0 15,1-18-15,0 18 16,0 18 0,-1-18-1,0 18 1,1-1 0,0-34 30,0-19-30,-18 18-16,17 1 16,-17 0-16,0-1 0,0-18 15,0 19-15,17-19 0,-17 19 16,0-18-16,0 16 0,19 2 0,-19-18 16,0 18-16,0-2 0,0 2 15,0-18-15,0-1 16,0 19-16,0 0 15,17 51 17,-17-16-32,0 0 0,0 0 0,35 87 31,-35-69-31,19 16 0,-19-16 0,17 17 16,0-18-16,-17 0 0,0-17 0,0 17 15,18-18-15,-18 2 16,0-2-16,-18 1 0,18-1 15,-17 2-15,0-19 16,-2-19 0,19 2-1,0-1-15,0 1 16,19-2 0,-19 2-16,17 17 15,0-17-15,18-1 0,-16 0 16,-2 18-16,0 0 15,1 0-15,0 0 16,0 0-16,-18 18 0,17-18 16,-17 18-16,17-18 0,-17 17 15,0 0-15,0 2 16,0-2 0</inkml:trace>
  <inkml:trace contextRef="#ctx0" brushRef="#br0" timeOffset="108045.35">20915 3942 0,'19'70'0,"-19"-51"16,0-2-16,0 1 0,0-1 15,17 0-15,-17 2 0,0 16 16,17-18-16,-17 2 0,18-2 15,-18 0-15,17-17 0,2 0 16,-2 0 0,0-17-16,1 17 15,-18-17-15,18 17 0,0-19 16,-1 38 0,0-2-1,-17 0 1,19-17-1,-19 18-15,17-18 16</inkml:trace>
  <inkml:trace contextRef="#ctx0" brushRef="#br0" timeOffset="109021.19">19116 5442 0,'18'53'16,"-1"16"-1,2-50 1,-19-2-16,0 1 31,17-1-31,-17-34 31,0-1-15,0 1-16,0-19 16,0 19-16,0-1 15,0 1-15,0-2 0,0 2 16,0 0-16,17-1 15,1 36 17,0-18-32,-18 17 15,18-17-15,-1 17 16,0-17-16,1 19 16,18-38-1,-2 2 1,-15 0-16,-2-1 15,-17 0-15,18 18 16,-1 0 0,2 0-1,-19 18-15,17-18 0,-17 18 16,17 16 0,1-15-16,-18-2 0,17 1 15,-17-1-15,36 0 31</inkml:trace>
  <inkml:trace contextRef="#ctx0" brushRef="#br0" timeOffset="109840.15">19734 5530 0,'0'-35'16,"0"16"-16,0 2 16,0 0-1,0-1-15,-18 18 16,0 0-16,0 0 15,18 18 1,-17-1-16,0 0 16,17 2-16,17-2 15,-17 1-15,17-1 0,19 0 16,-18-17-16,-1 19 16,0-19-16,2 0 15,16 0-15,-18-19 0,2 19 0,15 0 16,1-17-16,-16 0 15,-2-1-15,0 1 16,-17-2-16,0 2 16,0 0-16,0-1 31,-17 18-31,-19 18 16,36-1 15,-17-17-31,17 17 0,0 2 15,0-2-15,17-17 16,-17 18-16,19-18 16,-2 0-1,0 0 1,1-18 0,0 18-1,0-17 1,-1 17-1,0 17 1,2-17 0,-2 18 15,1-18-15,-1 0-1,0-18 1,2 18-1,-2-17 1,1 17 15,-1 0-31,2 0 16</inkml:trace>
  <inkml:trace contextRef="#ctx0" brushRef="#br0" timeOffset="110407.14">20510 5176 0,'0'36'16,"0"-18"-16,17-1 0,-17 2 0,0-2 15,0 0-15,0 19 0,19-1 16,-19-18-16,0 1 15,0 0-15,0 0 16,-19-36 15,19 0-15,19-17-16,-19 0 16,34-18-16,1-18 15,-16 54-15,15-2 16,-16 2-16,0 17 0,0 0 15,-1 0-15,0 0 16,1 0-16,-18 17 16,18 2-16,-18-2 0,-18 1 15,18-1-15,-18 2 0,18-2 16,-17 0-16,0 1 0,-19 18 0,18-19 16,18 0-16,-17-17 0,0 18 15,-2 0-15,2-18 16,17 18-16,-18-18 15</inkml:trace>
  <inkml:trace contextRef="#ctx0" brushRef="#br0" timeOffset="110936.49">20934 5371 0,'17'-17'0,"0"17"16,-17-18-16,0-18 16,0 19 15,0 0-31,-17 34 31,17 18-15,0-17-1,17 0 1,1-18-16,-1 0 16,2 0-1,-2 0-15,0-18 16,1 18-16,0 0 16,0 0-1,-1 0 1,0 18-16,2-18 31,-2 17-15,1-34-1,-1 17-15,0-18 16,2 18-16,-2 0 16,-17-18-16,18 18 15,-1 0 1,2 0-1,-2 18 17</inkml:trace>
  <inkml:trace contextRef="#ctx0" brushRef="#br0" timeOffset="111070.17">21356 5176 0</inkml:trace>
  <inkml:trace contextRef="#ctx0" brushRef="#br0" timeOffset="111800.45">21462 5124 0,'0'35'31,"0"1"-15,0-19-16,0 1 15,0 18 1,0-19 0,18 0-16,0-17 15,-18 18 1,17-18-16,0-18 16,2 18-1,-2-17-15,1 0 0,-1-2 31,0 19-31,2 0 47,-19 19-31,0-2 0,17-17-1,18-17 1,-35-2-16,36 2 15,-36-1-15,17 1 0,1-2 16,-18-15-16,18 16 0,0-18 16,-1 2-16,0-2 15,-17 18-15,0 1 0,18 0 0,-18-2 16,-18 72 15,18-35-31,-34 35 16,34-36-1,-54 71 1,54-69-16,-17-2 0,17 1 16,-17-18-16,34-18 62,-17 1-62,17 17 16,1-19-16,-18 2 0,18 17 15,0-17-15,16-18 0,20 16 16,-37 2-16,0 0 16,2 17-16</inkml:trace>
  <inkml:trace contextRef="#ctx0" brushRef="#br0" timeOffset="112380.33">19858 6235 0,'17'53'16,"-17"-35"-16,0-1 16,17 2-16,-17-2 0,0 0 0,18 1 0,-1 18 15,2-19-15,-2 0 31,18-51-15,-17 34-16,-18-18 0,0 0 0,18 0 16,-18-16-16,0 15 0,17 2 15,-17-18-15,17 16 0,-17 2 0,19 0 16,-19-18-16,17 16 0,1 2 16,-1 17-1,0 0 1</inkml:trace>
  <inkml:trace contextRef="#ctx0" brushRef="#br0" timeOffset="112939.06">20351 6130 0,'-35'17'15,"35"0"1,-36 19-1,36-18-15,0-1 16,0 0-16,-17-17 16,17 19-1,35-38 17,-17 19-17,0 0-15,-1 0 16,0 0-1,1 19-15,0-2 16,-18 1 0,18-1-1,-1-34 17,19-18-1,-36 16-31,17 19 15,1-17-15,-1 0 0,2-1 16,-2 18-16,-17-17 0,35 17 16,-35-19-16,17 19 15,2-17-15,-2 17 16,0 0 15,-17 36-15,18-36-16,-18 17 15,0 1-15,0-1 16,-18-17-16,18 17 16</inkml:trace>
  <inkml:trace contextRef="#ctx0" brushRef="#br0" timeOffset="113616.53">20863 6042 0,'-36'52'16,"36"-34"0,-17-18-16,17 18 15,0-1-15,-18 0 0,18 2 16,-18-2-16,18 1 15,18-1-15,0-17 16,-1-17 0,0 17-1,2-18-15,-2 18 16,1-36 0,-1 36-16,2 0 31,-2 0-16,0 0-15,1 19 32,-1-19-17,2 0-15,-2 0 16,18 0 0,-17 0-16,0-19 15,-1 19 1,0-17-16,2 0 15,-2 17 1,1-18 0,-1 18 15,-17 18-15</inkml:trace>
  <inkml:trace contextRef="#ctx0" brushRef="#br0" timeOffset="114175.46">20404 6994 0,'0'-18'0,"-18"18"16,0 0-16,1 0 0,0 18 15,-1-18 1,18 17-16,0 2 15,18-2-15,-18 0 16,17-17-16,-17 18 16,17-1-16,1 2 0,0-2 15,-18 0-15,18-17 0,-18 18 0,17-18 16,-17 18-16,0 0 0,0-1 16,0 0-16,-17 1 15,-1 0-15,0-18 0,0 18 16,1-1-16,0-17 15,-1 0-15,18 17 0,-18-17 16,0 0-16</inkml:trace>
  <inkml:trace contextRef="#ctx0" brushRef="#br0" timeOffset="114365.32">20615 6976 0,'19'71'0,"-19"-54"0,0 37 16,0-37 0,-19 0-16,19 1 0,0 0 0,0 0 15,0-1-15</inkml:trace>
  <inkml:trace contextRef="#ctx0" brushRef="#br0" timeOffset="114617.43">20668 7170 0,'18'-71'15,"0"19"-15,-54 175 0,72-263 16,-36 121-16,18-16 0,-18 18 16,17-2-16,0 2 0,-17 0 15,18 17-15,0-18 0,0 18 16,-1 18-16,0-1 15,2 0 1,-19 2-16,0 16 16,0-18-16,0 2 0,-19-2 0,19 0 15,-17 1-15,0 18 16,17-19-16,-18 0 0,0 19 0,18-18 16,-35 16-16,35-16 0,-17 0 15</inkml:trace>
  <inkml:trace contextRef="#ctx0" brushRef="#br0" timeOffset="114863.1">20351 7576 0,'53'-53'16,"-18"53"-16,-18 0 15,19-17-15,-18 17 0,-1-19 0,19 19 16,-19-17-16,54 17 16,-36-18-16,-17 18 0,0 0 15</inkml:trace>
  <inkml:trace contextRef="#ctx0" brushRef="#br0" timeOffset="115039.67">20404 7664 0,'52'-17'31,"-33"-2"-31,16 2 15,-18 17-15,2-17 0,15-1 0,1 0 16,18 0-16</inkml:trace>
  <inkml:trace contextRef="#ctx0" brushRef="#br0" timeOffset="115379.12">20527 6640 0,'53'-34'16,"-18"16"-16,-16 18 16,-2-17-16,18 17 0,1 0 0,-19-19 0,18 19 15,1-17 1</inkml:trace>
  <inkml:trace contextRef="#ctx0" brushRef="#br0" timeOffset="116041.5">19646 5794 0,'88'-52'0,"-71"52"16,19-18-16,-1 0 0,1 0 15,16 1-15,-16 17 0,-2-17 0,2-2 16,-1 19-16,-18 0 0</inkml:trace>
  <inkml:trace contextRef="#ctx0" brushRef="#br0" timeOffset="116220.19">19875 5918 0,'52'-18'0</inkml:trace>
  <inkml:trace contextRef="#ctx0" brushRef="#br0" timeOffset="116723.52">19698 4895 0,'53'-17'0,"0"-2"16,1 2-16,-2-1 0,1 1 0,0-2 15,-1 19-15,-16-17 0,16 0 16,2 17-16,-18 0 0,-2-18 16,2 18-16</inkml:trace>
  <inkml:trace contextRef="#ctx0" brushRef="#br0" timeOffset="116911.16">19980 5018 0,'88'-52'16,"0"16"-1,-52 18-15,-1 1 0,1 0 0,-1-2 16</inkml:trace>
  <inkml:trace contextRef="#ctx0" brushRef="#br0" timeOffset="117334.86">20034 3854 0,'105'-35'0,"-69"35"0,16-17 0,1 17 15,1-19-15,16 19 0,-18-17 0,2 17 16</inkml:trace>
  <inkml:trace contextRef="#ctx0" brushRef="#br0" timeOffset="128543.31">26700 5300 0,'19'18'78,"-2"-18"-62,37 0-16,-2 0 16,18 0-1,1 0-15,17 0 0,19 0 16,-19 0-1,17 0-15,160-18 16,-142 1 0,18 17-16,-53 0 15,19 0-15,-19 0 16,123 0 0,-105 0-16,-52 0 15,15 0-15,-50 0 16,122 0-1,-18 0-15,-35 0 16,18-17-16,-35-19 16,176 18-1,-159 18-15,17 0 16,-34-17 0,-18-2-16,-18 2 0,1 17 15,-36-17 110,0-71-109,0 70-16,0-18 15,0-17-15,0 1 16,-18-36-16,0 17 16,18 18-16,0-18 15,-18 18-15,18 1 16,0 35 0,-17-19-16,17 18 15,-17 1 110,-19-2-109,1 19-1,-18-17-15,18 17 16,-54-17 15,-122 17-15,140 0-16,-175 0 16,122 0-1,53 0-15,0 0 16,-17 0-16,18 0 15,-54 0 1,72 0-16,-19 0 16,-17 0-16,17 0 15,-35 0-15,-141 0 16,124 0 0,17 0-16,-158 0 15,140 0 1,-106 0-1,125 0-15,34 0 16,-53 0-16,54 0 16,35 0-16,-18 0 15,18 0 1,18 0-16,-19 0 0,18 0 16,1 0-1,-2 0 1,19 53 124,36 123-124,-18-88-16,18 36 16,16 35-16,-35-71 15,36 70 1,-17-70-16,-18 0 0,-18 0 16,34-17-16,-34-35 15,19 52 1,-19-71-1</inkml:trace>
</inkml:ink>
</file>

<file path=ppt/ink/ink12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42:44.718"/>
    </inkml:context>
    <inkml:brush xml:id="br0">
      <inkml:brushProperty name="width" value="0.05292" units="cm"/>
      <inkml:brushProperty name="height" value="0.05292" units="cm"/>
      <inkml:brushProperty name="color" value="#0070C0"/>
    </inkml:brush>
  </inkml:definitions>
  <inkml:trace contextRef="#ctx0" brushRef="#br0">5724 2632 0,'18'18'31,"-18"0"-31,17 34 0,-17-16 16,0 35-16,0-36 0,0 1 16,0-2-16,0 2 0,-17 70 15,-1-72-15,18 2 16,0-1-16,-18-18 16,18 2-16,0-2 0,0 1 0,-18-1 0,18 2 15</inkml:trace>
  <inkml:trace contextRef="#ctx0" brushRef="#br0" timeOffset="246.01">6076 2650 0,'0'-18'0,"0"36"0,18 0 31,-18 17-15,0-18-16,0 19 0,0-18 0,0 16 16,-18 2-16,18-1 0,0 36 15,0-53-15,0 17 0,0-18 16,0 37-16,0-20 16,0 2-16,0-18 0,0-1 15,0 0-15</inkml:trace>
  <inkml:trace contextRef="#ctx0" brushRef="#br0" timeOffset="441.26">5635 3074 0,'-17'-18'0,"53"18"16,-2 0-16,2 0 0,16 0 16,-34 0-16,18 0 15,-2-18-15,2 18 0</inkml:trace>
  <inkml:trace contextRef="#ctx0" brushRef="#br0" timeOffset="748.15">6323 3038 0,'-17'18'0,"-1"0"0,53-54 15,-70 89-15,18-36 0,17 2 16,0-2-16,0 1 16,17-18-16,-17 17 0,18-17 0,-1 17 15,2-17-15,-2 19 0,0-19 16,1 0-16,-1 0 0,2-19 15,-2 19-15,0-17 16,-17 0-16,0-1 16,0 1-16,-17 17 0,17-19 15,-17 2-15,-2 0 0,2-1 16,-1 18-16,1-18 0,-19 18 16,19 0-16,-1 0 0,1 0 15,-2 0-15,2 0 16</inkml:trace>
  <inkml:trace contextRef="#ctx0" brushRef="#br0" timeOffset="1400.86">6552 3020 0,'19'0'0,"-2"18"16,1-18-1,-18 18-15,17 0 16,-17-1-16,17-17 0,-17 17 16,0 2-16,19-2 15,-19 1 1,17-1 15,1-34-15,-1 17-1,2 0-15,-2 0 16,0 0 0,1 0-1,0 0-15,-18 17 16,18-17 0,-1 17-1,0-17 16,1 0-15,0 0 0,0 0-1,-1 0 1,0 0-16,2 0 16,-2 0-16,18-17 15,-16 17-15,-2-17 16,0 17-16,1-18 15,-1 18 17,2 0-1,-19 18-31,17-18 16,0 0-1,1 0-15,0 0 16,17 0-1,-18 0-15</inkml:trace>
  <inkml:trace contextRef="#ctx0" brushRef="#br0" timeOffset="3635.87">16324 2756 0,'-17'-17'0,"0"34"31,-1 1-31,18-1 0,0 0 16,-18 37-16,18-37 16,0 2-16,0-2 0,18 36 15,-18-35-15,18-1 0,-18 0 0,17 1 16,0 0-16,2-18 15,-2 0-15,1 18 0,-1-18 16,0-18-16,2 18 0,-2-18 0,1 18 16,-1-18-16,2 1 0,-2 0 0,0-19 15,-17 18-15,18-16 0,-18-2 16,0 18-16,0-18 0,0 2 0,0 16 16,0 1-16,0-2 0,0 2 0,0 0 15,-18 17-15,18-18 0,-17 18 16,0 0-16,-2 0 0,2 0 15,-1 18-15,1-1 16,17 0 0,17 2-16,1-19 15,18 0 1,-2 0 0,-16-19-16,18 2 0,-19 17 15,0 0-15,1-17 0,0 17 16,17 17-16,-18 36 15,2-18 1,-19-18-16,-19 37 0,19-1 16,-17 0-16,17-1 0,-35 2 15,17-1-15,0 16 0,1-33 0,0 18 0,-2-2 16,-16-16-16,18-2 16,0 2-16,-2-18 0,2-1 0,-1 0 15,1 2-15,-2-19 0,19 17 16,-17-17-16,17-36 15,36-16 17,-19 16-32,1 19 0,-1 0 15,36-90 1,-35 72-16,18-53 0,-2 35 0,-16 18 16,18-35-16,-19 34 0,0-16 15,19-2-15,-1-51 0,1 69 16,-19 1-16,1-1 0,-1 19 15,-17 0-15,19-19 0,-2 18 16,0 1-16,1 34 16,0-17-1,-18 18-15,0-1 0,18 2 16,-18 15-16,0 2 0,0-1 16,0 36-16,0-37 0,0 2 15,-18-1-15,18 18 0,-18-17 16,18-1-16,-18 0 0,1 1 0,0-2 0,-2 2 15,2 16-15,-1-33 16,1-2-16,-2 1 0,2-18 16,17 17-16,-17 2 0,-1-19 0,1 17 15,-2-34 1,19-2 0,0-16-16,19 18 0,-2-2 15,1-15-15,16 16 0,-15-18 16,16 19-16,-18 0 0,19-1 0,-19 0 15,19 0-15,-18 1 0,-1 17 16,0 0-16,19 17 16,-18-17-16,-18 18 15,17 0-15,-17 0 16,0-1-16,0 0 16,17-17-16,-17 19 0,0-2 15,0 1-15,0-1 16</inkml:trace>
  <inkml:trace contextRef="#ctx0" brushRef="#br0" timeOffset="3764.9">17171 2862 0,'-17'-18'0</inkml:trace>
  <inkml:trace contextRef="#ctx0" brushRef="#br0" timeOffset="4442.05">17278 2879 0,'-19'36'16,"19"-19"-1,-17 1-15,17 0 16,-18 0-16,18-1 16,0 0-16,0 1 0,0 0 15,18 0-15,-1-18 16,-17 17-16,53-34 31,-17-1-31,-18 18 0,-18-18 16,17 18-16,0-18 0,2 1 15,-2 0 1,1 17-16,-18-18 0,0 53 47,0 0-31,0-17-1,0 0-15,17-1 16,-17 0-16,17-17 15,19 19 1,-1-19 0,-16 0-1,-2 0 1,0 0 0,1 0-1,-18-19 16,17 19-31,2-17 63,-55 34 46</inkml:trace>
  <inkml:trace contextRef="#ctx0" brushRef="#br0" timeOffset="5167.81">17559 2844 0,'-52'18'15,"52"-1"-15,-19-17 0,19 19 0,-17-2 16,0 0-16,17 1 0,0 18 16,0-19-16,0 0 15,0 1-15,0 0 16,17-18-16,-17 18 0,17-1 15,2-17-15,-2 17 16,1-17-16,-1 0 0,2 0 16,-2 0-16,0 0 0,1 0 15,-1 0-15,2-17 0,-2 17 0,0-17 16,1 17-16,0-18 0,0 0 16,-1 18-16,-17-18 0,36-16 15,-19 34-15,-17-18 16,18 18-16,-36 18 47,1 16-32,17-16-15,0 0 16,0 0-16,17-18 0,-17 17 16,18-17-16,-1 17 0,0-17 0,19 19 15,-18-19-15,-1 0 0,2 0 16,-2 0-16,18 0 15,-17 0-15,0 0 0,-1 0 16</inkml:trace>
  <inkml:trace contextRef="#ctx0" brushRef="#br0" timeOffset="6094.92">6288 3867 0,'-17'36'15,"17"-19"-15,0 1 0,0-1 16,-19 19-16,19-1 0,0-18 16,0 2-16,-17 15 0,17-16 15,0 0-15,0 0 0,0-1 0,-17 0 16,17 2-16,0-2 15,17-53 17,0 19-32,-17 0 15,19-19-15,-19 18 0,35-123 16,-18 106-16,2-1 16,-2 2-16,0-2 0,18 1 15,-16 18-15,-2 17 16,0 0-16,1 0 0,-18 17 15,18-17-15,17 35 0,-35 1 16,17-19-16,-17 0 0,19 2 16,-19 16-16,0-18 0,17 2 15,-17-2-15,0 0 0,18 1 0,-18-1 16,0 2-16,0-2 0,0 0 16</inkml:trace>
  <inkml:trace contextRef="#ctx0" brushRef="#br0" timeOffset="6308.74">6235 3938 0,'0'0'16,"53"17"-1,-35-17 1,18 0-16,-2 0 0,54 0 15,-52 0-15,16 0 0,2-17 16,16 17-16,-16 0 0,16 0 0,53-18 16,-70 18-16,18 0 0</inkml:trace>
  <inkml:trace contextRef="#ctx0" brushRef="#br0" timeOffset="9162.87">17436 3003 0,'18'35'31,"35"-35"-15,-36 0-1,1 0-15,18 0 0,-19-18 16,54 18-16,-37-17 0,2 0 0,-18 17 15,16-18-15,-15 0 0,16 0 16,-18 1-16,0 0 0,2-2 0,-2 2 16,-17-18-16,0 16 0,18 2 0,-18 0 15,-18-1-15,18 1 0,0-2 16,-17 19-16,-2-17 16,2 17-16,0 0 0,-1 0 15,-18 0-15,2 36 0,-2-19 16,18 1-16,1-1 0,0 19 15,-2-19-15,2 18 0,17-16 16,0-2-16,0 18 0,0-17 0,0 17 16,17-18-16,2 19 0,33 16 15,-16-16-15,-2-18 0,2 16 0,-1-15 16,1-19-16,-1 17 0,1-17 16,-2 18-16,2-18 0,-1 0 15,-18 0-15,19 0 0,-1 0 0,-18 0 0,19 0 16,-18 0-16,-1 0 15,19-18-15,-19 18 0,1 0 0,-1 0 16,2-17-16</inkml:trace>
  <inkml:trace contextRef="#ctx0" brushRef="#br0" timeOffset="9338.77">18635 3215 0,'-35'-19'31</inkml:trace>
  <inkml:trace contextRef="#ctx0" brushRef="#br0" timeOffset="11792.7">17030 3867 0,'0'-17'16,"18"51"-1,-18-15-15,0-2 0,-18 1 0,18-1 16,0 2-16,0 15 0,0-16 0,-18 18 16,18-2-16,0-16 0,-17 18 15,17-19-15,0 19 0,-17-19 16,17 1-16,0-1 0,0 0 0,-18 2 15,18-2 1,0 1 0</inkml:trace>
  <inkml:trace contextRef="#ctx0" brushRef="#br0" timeOffset="12303.72">17048 3938 0,'18'0'16,"-36"0"-16,53-18 15,-18 18-15,2 0 0,-2 0 0,1 18 16,-1-18-16,-17 17 15,0 2-15,0-2 16,-17 0-16,-1 1 16,18-1-16,0 2 15,0-2-15,18 0 16,18 19 0,-36-18-16,17-18 0,-17 17 15,0 0-15,0 2 16,-17-2-16,-2 1 0,2-18 15,-1 17-15,1 0 0,-36 2 16,17-19-16,1 0 0,18 17 0,-1-17 16,-18 0-16,19-17 0</inkml:trace>
  <inkml:trace contextRef="#ctx0" brushRef="#br0" timeOffset="14127.31">8087 3832 0,'-35'0'31,"18"18"-31,-2-18 0,-69 53 31,36-18-31,16-18 0,19 2 16,0-2-16,-2 0 0,2 1 15,-1 18 1,1-19-16,34 0 0,1 1 16,18-18-1,-19 18-15,0-18 0,19 0 0,-18 0 16,16 0-16,2 0 0,-1 0 0,1 0 16,-1 0-16,-18-18 15,36 18-15,-35 0 0,18 0 16</inkml:trace>
  <inkml:trace contextRef="#ctx0" brushRef="#br0" timeOffset="14661.15">7840 4043 0,'-17'-17'16,"34"34"-16,-51-34 0,86 17 46,-34 0-46,17 0 0,106 0 16,-70 0 0,0-18-16,-1 18 0,0 0 0,0 0 15,20 0-15,-2 0 0,17 0 16,0 0-16,2 0 0,105 0 16,-89 0-16,1 18 0,17-18 0,-18 0 15,18 17-15,0-17 0,35 0 16,0 19-16,2-19 0,156 17 15,-175 0-15,17-17 0,1 18 16,-54-18-16,18 18 0,1-18 0,34 18 16,-35-18-16,0 0 0,-17 17 15,140 0-15,-122-17 0,-20 19 16,2-19-16,-18 0 0,0 17 16,0-17-16,-36 0 0,18 18 0,-34-18 15,16 0-15,18 0 0,-70 0 16,18 0-16,-19 0 0,0 0 15,19 0-15,-18 0 16,-1 0-16,0 0 0,2 0 0,-2 0 0,1 0 16,-1 0-1,0 0-15,2 0 0,-2-18 0,1 18 16,-1 0-16,2 0 16,-2 0-16,0 0 0,1 0 15,0 0-15,0 0 0,-1-17 16,0 17-16,1 0 0,0 0 15,0 0-15,-1-19 16</inkml:trace>
  <inkml:trace contextRef="#ctx0" brushRef="#br0" timeOffset="15032.66">14067 3974 0,'53'17'15,"-18"0"-15,-18-17 0,2 18 16,-2-1-16,1 2 0,-1-19 16,19 17-16,-19 18 0,1-17 15,-18 0-15,17-1 0,2 0 0,-19 2 16,0 16-16,0-1 0,-19-15 16,2 16-16,-1 1 0,-52 16 15,16-16-15,2-19 0,-36 0 16,18 1-16,-20 18 0,2-36 15,-17 17-15,17-17 0,-19 17 0,2-17 16,0 0-16</inkml:trace>
  <inkml:trace contextRef="#ctx0" brushRef="#br0" timeOffset="15596.05">11156 3444 0,'0'18'46,"0"-1"-46,0 19 0,0-19 16,0 1-16,0 18 0,0-19 16,0 18-16,-17-18 0,17 2 15,0-2-15,0 0 0,0 1 16,0 0-16,0 0 16,17-18-16,-17 17 0</inkml:trace>
  <inkml:trace contextRef="#ctx0" brushRef="#br0" timeOffset="15911.77">11368 3550 0,'0'-18'15,"-17"53"17,34 18-17,-17-35 1,18-1-16,-1 2 0,2-2 15,-2-17-15,0 17 0,1-17 16,-1 0-16,2 0 0,-19 18 16,17-36-16,18 18 0,-17-17 15,-18 0 1,0-2-16,-18 19 16,18-17-16,-18-1 0,1 1 15,0 17-15,-2-17 0,2 17 0,-1-19 16,-16 19-1,15 0 1,2 0-16</inkml:trace>
  <inkml:trace contextRef="#ctx0" brushRef="#br0" timeOffset="16120.54">11739 3444 0,'0'0'0,"17"0"15,-17 18 1,18-1-16,-18 0 16,0 2-16,0 16 15,0 1-15,0-19 0,-18 0 16,18 1-16,0-1 0,0 2 0,-17-2 16,17 0-16,0 1 0,0 0 15,0 0 1</inkml:trace>
  <inkml:trace contextRef="#ctx0" brushRef="#br0" timeOffset="16399.84">11827 3620 0,'-107'54'0,"107"-20"15,0-16 1,19-18-16,-19 18 16,17-18-16,1 18 0,-1-18 0,2 0 15,-2 17-15,0-17 0,1 0 0,0 0 16,0 0-16,-1 0 0,18 0 15,-17 0-15,17-17 0,-18 17 0</inkml:trace>
  <inkml:trace contextRef="#ctx0" brushRef="#br0" timeOffset="17168.84">12339 3620 0,'-19'18'15,"19"-1"1,0 2 0,19-2-16,-19 0 15,0 1 1,0 0-1,35-18 17,-18-18-17,0 18 1,2 0-16,-19-18 0,17 18 0,1 0 16,-1 0-16,2 0 15,-2 0-15,0 0 16,1 18-16,-1 0 31,2-18-15,-19 18-1,17-36 1,0 18 0,1 0-16,0 0 15,-18-18-15,18 18 0,16 0 31,-15-18-31,-2 18 0,1 0 16,-1 0-16,0 0 0,2 0 16,-2 0-16,1-17 0,-1 17 15,2 0 1,-2 0-16,0 0 16,1 0-1,0 0 1</inkml:trace>
  <inkml:trace contextRef="#ctx0" brushRef="#br0" timeOffset="19159.59">5742 6760 0,'34'-36'15,"-51"36"-15,0-17 16,-1 17-16,0 0 0,0 0 15,1 0-15,0 0 0,-2 0 16,2 17-16,-1-17 16,1 19-16,17-2 15,0 1-15,17-1 16,1 0-16,-18 2 0,17-2 0,2 1 16,-2-1-16,0 19 0,1-19 0,0 1 15,-18 0-15,18 0 16,-1 16-16,0-34 0,-17 18 0,0 0 15,0 0-15,0-1 0,-17-17 16,0 17 0,-1 2-16,0-19 0,0 0 15,1 0-15,0 0 0,-2 0 16,2 0 0,17-19-16,0 2 15,0 0-15,17 17 16,19-54-1,-19 37-15,-17 0 0,18-1 0,0 0 16,0 0-16,-18-16 0,17 15 16,-17 2-16,0-1 0,17 1 0,-17-2 15,0 2-15,0-18 0,-17 35 16,17-36-16,-17 19 16,-1 17-16,18-17 0,-18 17 0,0-18 15,1 18-15,0 0 16,-2 18-1,2-1 1,17 0-16</inkml:trace>
  <inkml:trace contextRef="#ctx0" brushRef="#br0" timeOffset="19668.21">5971 6883 0,'-36'0'0,"1"19"16,18-2 0,17 0-16,-19 1 0,2 0 15,17 0-15,0-1 0,-17-17 0,17 17 16,0 37 0,0-37-16,17 0 15,0-17 1,2 0-16,-2-17 15,1 17-15,-1-17 16,-17-1-16,19 18 0,-19-18 16,17 0-16,-17 1 15,0 52 32,0 1-31,0-19-1,0 0-15,17 2 16,-17-2-16</inkml:trace>
  <inkml:trace contextRef="#ctx0" brushRef="#br0" timeOffset="20252.04">6252 6954 0,'0'36'31,"0"-19"-31,0 0 0,-17 1 16,17 0 0,0 0-1,17-18 1,2 0 15,-2-18-15,1 18-16,-1 0 0,2 0 15,-2 18 17,0-1-32,-17 0 15,18-17 17,18-17-17,-19 17 1,0-17-16,1 17 15,0 0 1,0 0-16,16 0 16,-15 17-16,-2-17 31,-17 17-31,35-17 16,-35 19-1,17-2 1</inkml:trace>
  <inkml:trace contextRef="#ctx0" brushRef="#br0" timeOffset="21296.16">7470 6848 0,'36'0'16,"-19"0"-16,0 0 0,1 0 0,0 0 15,0 0-15,-1 0 0,0 0 0,2 18 16,-2-18-16,1 0 16</inkml:trace>
  <inkml:trace contextRef="#ctx0" brushRef="#br0" timeOffset="21484.7">7487 7060 0,'-17'0'0,"53"18"31,-19-18-31,18 0 16,1 0-16,-19 0 0,0 0 16,2 0-16,-2 0 0,18 0 15</inkml:trace>
  <inkml:trace contextRef="#ctx0" brushRef="#br0" timeOffset="24395.57">9216 6778 0,'18'0'31,"-1"0"-31,19 0 15,-19 0 1,1 0 0,0 0-16,0 0 15,-54 17 17,1-17-17,18 0-15,-2 17 16,-16-17-16,18 0 0,-2 0 0,2 19 0,0-19 15,-1 0-15,1 0 0,-2 17 16,2 1 0,34-1-1,2-17-15,-2 19 16,1-2-16,35 0 16,-18 19-1,-18-18-15,2-18 16,-2 34-1,-17-16-15,-17 18 16,-2-19 0,-33 0-1,33-17-15,2 0 0,0 0 0,-1 0 16,1 19-16,-2-19 0,2 0 16,-18-19-1,-1 19 1</inkml:trace>
  <inkml:trace contextRef="#ctx0" brushRef="#br0" timeOffset="24811.87">9622 6848 0,'-18'0'0,"1"0"15,0 0 1,-2 18-16,2 18 16,-1-2-1,18-16-15,0 0 16,0 0-16,0-1 0,18-17 15,-18 17-15,36 1 16,-19 0-16,0-18 16,1 0-16,-1 0 0,19 0 15,-19-18 1,1 0 0,-36-16-1,1 34-15,0-36 16,-19 1-1,18 35-15,1 0 0,17-17 0,-17 17 16,-2 0 0,2 0-16</inkml:trace>
  <inkml:trace contextRef="#ctx0" brushRef="#br0" timeOffset="25333.08">9868 6902 0,'0'17'15,"19"0"1,-19 1 0,0 0-16,0 0 15,0-1 1,-19 0-1,38-17 1,-2 0 15,18-17-15,-16 17-16,-2 0 16,18 0-1,-18 0-15,2 0 16,-19 17-16,17-17 15,0 18-15,1-18 16,-18 18-16,18 0 16,0-18 15,-1-18-15,0 18-1,2 0-15,-19-18 16,17 18-16,1 0 15,-1 18 1,0-18 0,2 0 15</inkml:trace>
  <inkml:trace contextRef="#ctx0" brushRef="#br0" timeOffset="25488.82">10363 7024 0,'17'18'16,"-17"0"0,0 0-1,0-1-15,0 0 16,0 2 0,0-2-1</inkml:trace>
  <inkml:trace contextRef="#ctx0" brushRef="#br0" timeOffset="25632.78">10398 6919 0</inkml:trace>
  <inkml:trace contextRef="#ctx0" brushRef="#br0" timeOffset="25984.58">10539 7078 0,'0'17'16,"0"0"-16,0-51 0,0 87 15,17-36 17,2-17-17,-2-17-15,1 17 16,-1-19-16,2 19 15,-2 0-15,0 19 16,1-19 0,-1 17-1,-17 1 32</inkml:trace>
  <inkml:trace contextRef="#ctx0" brushRef="#br0" timeOffset="30123.68">9410 6460 0,'18'-17'62,"0"17"-46,-18-19-16,17 19 16,-17-17-16,17 0 0,-17-1 15,0 1-15,19-2 16,-19 2-16,17-18 15,-17 17-15,18 0 0,-18 1 16,0 0-16,17-2 16,-17 2-16,0-1 0,19 1 15,-19 0 1,0-2 0,0 2-1,0 53 32,0-19-47,0 18 16,0 18 15,0-18-15,0-17-16,0 0 15,17-1-15,0-17 16,1 17-1,18-34 1,-19 17-16,0-17 16,1-1-16,0 0 15,0 0-15,-1-35 16,0 36-16,-17-1 16,18 1-16,-18 0 0,0-2 0,18 2 15,-18-1 1,0 53 15,-18 18-15,18-18-16,0-16 0,0-2 0,-18 0 15,18 1-15,18 0 0,-18 0 16,0-1-16,0 0 0,0 2 0,0-2 16,18 1-16,-18-1 15,18-17 1</inkml:trace>
  <inkml:trace contextRef="#ctx0" brushRef="#br0" timeOffset="31902.72">11263 6866 0,'0'36'32,"-19"-2"-1,19-16-31,0 0 0,0 0 16,0 16-1,0-16-15,-17 0 16,17 0-16,0-1 15</inkml:trace>
  <inkml:trace contextRef="#ctx0" brushRef="#br0" timeOffset="32079.99">11156 7024 0,'54'-17'15,"-37"0"1,19 17 0,-19 0-16,1 0 0,-1 0 15,0 0-15,2 0 16</inkml:trace>
  <inkml:trace contextRef="#ctx0" brushRef="#br0" timeOffset="32324.86">11139 7254 0,'17'17'46,"1"-17"-30,0 0-16,0 0 31,-1 0-31</inkml:trace>
  <inkml:trace contextRef="#ctx0" brushRef="#br0" timeOffset="33018.55">11686 6990 0,'17'-18'16,"0"18"-16,2-18 0,16 18 16,-18 0-16,2 0 15,-2 0-15,-53 18 47,-16 0-31,33-18-1,2 0-15,0 17 0,-1-17 32,36 17-17,-1 1-15,19-18 16,-19 18-16,1 0 15,35-1 1,-36 0 0,-17 2-1,-34 16 1,-2-18 0,18 0-16,1-17 0,-2 0 15,-33 19 1</inkml:trace>
  <inkml:trace contextRef="#ctx0" brushRef="#br0" timeOffset="33567.85">12020 7042 0,'0'0'16,"19"18"-16,-19 0 15,0-1 1,0 0 0,0 2-1,0-2 1,35-34 31,1-2-16,-19 19-31,0 0 16,1 0-1,-1 19 1,-17-2-1,19 1 1,-19-1 0,17-17-1,0-17 1,1 17 0,0 0-1,0 0 1,-1 0-1,0 0 1,2 0-16,-2 0 16,1 0-1,-1 0-15</inkml:trace>
  <inkml:trace contextRef="#ctx0" brushRef="#br0" timeOffset="33718.67">12479 7112 0,'19'0'16,"-19"19"15,-19-2-15,19 1-1,0-1-15,-17 0 32</inkml:trace>
  <inkml:trace contextRef="#ctx0" brushRef="#br0" timeOffset="33868.01">12479 7007 0,'-17'-17'15</inkml:trace>
  <inkml:trace contextRef="#ctx0" brushRef="#br0" timeOffset="34211.62">12603 7095 0,'17'17'0,"-17"2"31,0-2-31,18 1 31,0-18-15,0-18 0,-1 18-1,0 0-15,-17 18 16,19-18-16,-2 0 31,1 17-31</inkml:trace>
  <inkml:trace contextRef="#ctx0" brushRef="#br0" timeOffset="34740.8">12020 6195 0,'-34'-17'15,"-20"34"1,37-17-16,0 0 16,-1 0-16,18 19 0,-18-19 15,18 17 1,18 18 0,0-35-16,-18 18 0,17 0 0,0-18 15,-17 17-15,18 0 16,0-17-16,-18 19 0,18-2 0,-1 1 15,-17-1-15,17-17 16,-17 17-16,-17 2 16,0 16-1,-1-18-15,-18-17 0,36 19 16,-52-2 0,34-17-16,0 0 0,1 0 15,0 0-15</inkml:trace>
  <inkml:trace contextRef="#ctx0" brushRef="#br0" timeOffset="35003.91">12215 6231 0,'0'17'16,"0"1"0,0 0-16,-17 0 15,17-1-15,0 0 16,0 19-16,-19-18 0,19-1 16,0 0-16,0 2 0,0-2 15,0 1 1</inkml:trace>
  <inkml:trace contextRef="#ctx0" brushRef="#br0" timeOffset="35328.65">12303 6143 0,'36'0'0,"-19"0"15,-70 0-15,124 0 0,-54 0 0,0 0 16,2 17-16,-2-17 0,1 18 0,-1-1 16,2 2-16,-19-2 15,17 0-15,-17 1 0,0 0 0,0 0 16,-17-1-16,17 0 0,-19 2 0,2-2 15,-1 1-15,-18-1 0,19 0 16,-18 2-16,18-19 0,-19 17 16,1 1-16,-35 18 15,51-36-15,2 17 0,-1-17 0,1 0 16</inkml:trace>
  <inkml:trace contextRef="#ctx0" brushRef="#br0" timeOffset="37582.93">6411 8859 0,'-123'-53'16,"106"53"0,-19 0-16,1 0 0,18 18 0,-19-18 0,1 18 15,-1-1-15,-52 36 16,71-18-16,0-18 0,-2 2 16,2-2-16,17 1 0,0-1 0,0 2 15,0-2-15,17-17 16,2 17-16,-2-17 0,0 0 15,18-17-15,1 17 0,-19-17 16,19-2-16,16 2 0,-16-1 0,-1 1 16,-18-2-16,2 2 0,16 0 15,-18-1-15,2 0 0,-2 0 16,0 18-16,1 0 16,-18 18-16,0 0 15,0 0-15,0 16 0,-18-15 16,18 16-16,-17 18 0,0-18 15,-2 1-15,2-2 0,-1 2 0,1-1 16,-2 1-16,19-19 0,-17 1 0,17-1 16,-17 0-16,17 2 0,0-2 15,0 1-15,0-1 16</inkml:trace>
  <inkml:trace contextRef="#ctx0" brushRef="#br0" timeOffset="38309.33">6800 9123 0,'-53'0'31,"36"0"-31,-2 0 0,2 0 16,-1 0-16,1 19 0,-19-19 0,19 17 15,-1 0-15,1-17 0,-2 18 0,2 0 16,17 0-16,-17-18 16,34 34-1,19-34 1,-19 0-16,1-17 16,-1 17-16,0-17 0,2-1 15,-2 18-15,1-18 0,-1 0 16,2 18-16,-19-17 15,17 17 1,-17 17 0,0 19-1,0-18 1,17-1 0,-17 0-1,36-17 1,-18 0-16,-1 0 15,18-17 1,-17 17-16,0 0 16,16 0-1,-15 0 1,-2 0 0,1 17 15,-1-34-16,2 17-15,-2 0 16,0 0 0,1 0-1,18 0 1,-19 0-16,0 0 16,1 17-1,0-17 1,0 0-1,-18 19 1,17-19-16,0 0 16</inkml:trace>
  <inkml:trace contextRef="#ctx0" brushRef="#br0" timeOffset="38503.66">7806 9176 0,'34'0'15,"-16"0"-15,0 0 0</inkml:trace>
  <inkml:trace contextRef="#ctx0" brushRef="#br0" timeOffset="38695.94">7682 9335 0,'34'0'31,"-15"-17"-15,-2 17-16,1 0 0,-1 0 16,36 0-1</inkml:trace>
  <inkml:trace contextRef="#ctx0" brushRef="#br0" timeOffset="39828.01">9675 9088 0,'0'-17'0,"17"17"16,1 0-16,-18-17 15,18 17-15,0 0 0,-1 0 0,0 0 16,37 17 15,-37 0-15,-17 1-16,0-1 0,0 2 16,0-2-16,0 0 0,0 1 0,-17 18 15,-1-2-15,18 2 16,0-18-16,-18-1 0,18 0 15,0 2-15,-18-2 0,18 18 16,-17-16-16,17-2 16,0 0-16,17 1 15</inkml:trace>
  <inkml:trace contextRef="#ctx0" brushRef="#br0" timeOffset="40052.6">9570 9335 0,'-19'0'0,"19"-17"16,36-1 0,-19 18-1,1 0-15,35 0 16,-36 0-16,1 0 0,18 0 15,-19 0-15,0 0 0,19 0 0,-18 0 16,-1 0-16,0 0 0,2 0 16,-2 0-16,1 0 0</inkml:trace>
  <inkml:trace contextRef="#ctx0" brushRef="#br0" timeOffset="40400.28">10310 9194 0,'-18'0'0,"-18"0"15,19 0 1,0 18 0,-1-18-16,18 18 15,-17-1-15,34 0 16,-17 2-1,0-2-15,18 18 16,-18-18 0,0 2-16,0-2 15,-18 1 1,1-1-16,-2-17 0,19 19 16,-17-19-16,0 0 0,-1 17 15,0-17-15,0 0 0,1 0 16,0 0-16,-2 0 0,2 0 15,17-17-15</inkml:trace>
  <inkml:trace contextRef="#ctx0" brushRef="#br0" timeOffset="41031.04">9868 8771 0,'19'17'15,"-2"-17"1,1-17-16,-1 17 0,-17-17 16,19 17-16,-2-19 0,0 19 0,-17-17 15,18-1-15,-1-16 16,2 15-16,-19 2 0,17-1 0,-17 1 15,17-2-15,-17 2 0,18 0 16,-18-19 0,18 72 15,-18-2-15,0-15-16,18 16 15,-1-18 1,-17 2-16,36-19 15,-19 0 1,18-19 0,-18 19-16,2-17 15,-2 34 1,1 2 0,-18 15-1,17-34-15,-17 18 0,0-1 16,0 2-16,19-2 0,-19 18 15,0-17-15,0 0 0,17 16 0,-17-16 16</inkml:trace>
  <inkml:trace contextRef="#ctx0" brushRef="#br0" timeOffset="41638.89">10592 9283 0,'-17'17'15,"-2"1"-15,19-1 16,0 0 0,-17-17-1,17 19-15,17-19 31,19-19-15,-18 19-16,-1 0 16,-17-17-16,19 17 0,-2 0 15,18 0 1,-18 0 0,2 17-1,-2-17 1,0 0-1,1 0-15,0 0 32,0 0-32,-1 0 15,0 19 1,1-19 0,-18 17-1,36-34 1</inkml:trace>
  <inkml:trace contextRef="#ctx0" brushRef="#br0" timeOffset="41763.12">10963 9230 0,'0'-18'16,"-19"18"-1</inkml:trace>
  <inkml:trace contextRef="#ctx0" brushRef="#br0" timeOffset="42061.46">10998 9264 0,'0'0'0,"-18"36"16,18-18-1,0-1 1,0 0 0,0 2-1,18-19 1,-1 0 15,2 0-15,-2 0-16,0 17 15,1-17 1,-1 0-16,2 0 16,-2 0-16,0 0 15</inkml:trace>
  <inkml:trace contextRef="#ctx0" brushRef="#br0" timeOffset="42762.63">11774 9000 0,'0'54'16,"-18"-20"0,18-16-16,0-1 0,-17 2 0,17-2 15,0 0-15,0 1 0,0 0 16,0 0-16</inkml:trace>
  <inkml:trace contextRef="#ctx0" brushRef="#br0" timeOffset="42952.61">11651 9071 0,'17'-17'0,"18"-2"15,-18 19 1,2 0-16,69 19 16,-71-19-16,37 17 15,-37-17 1</inkml:trace>
  <inkml:trace contextRef="#ctx0" brushRef="#br0" timeOffset="43148.75">11580 9335 0,'35'0'32,"-18"0"-32,19 0 0,-18-17 15,52 17 1,-35 0-16,36 0 15,-53 0-15</inkml:trace>
  <inkml:trace contextRef="#ctx0" brushRef="#br0" timeOffset="43669.77">12444 9035 0,'-17'53'32,"17"-35"-32,-19 18 0,19-2 0,0-16 0,-17 18 15,17-19-15,0 0 0,-17 19 16,17-18-16,0-1 0,-18 0 15,18 2-15,0-2 0,0 1 16,0-1-16</inkml:trace>
  <inkml:trace contextRef="#ctx0" brushRef="#br0" timeOffset="44120.11">12867 9212 0,'0'-18'0,"19"18"15,-38 18-15,-16-36 31,18 36-15,-2-18 0,2 0-16,0 18 0,-1-18 15,36 17 17,-18 0-32,34 2 15,-15-2-15,-2 1 16,-17-1-16,18-17 0,-18 17 15,0 19 1,-18-18-16,-18-1 16,19 2-16,0-19 0,-1 17 15,-18-17-15,19 17 0,0-17 16,-1 0-16,0 18 0,0-18 0,1 0 16,0 0-1</inkml:trace>
  <inkml:trace contextRef="#ctx0" brushRef="#br0" timeOffset="44655.54">13115 9283 0,'17'35'16,"-17"-1"15,-17-15-31,17-2 16,0 1-1,0-1-15,17-17 63,1 0-63,-1-17 15,0 17-15,2 0 16,-2 17 0,1-17-16,-1 19 31,2-19-16,-2 0 1,0 0 0,1 0-1,0 0 1,0 0 0,-1 0-16,0 0 15,1 17 1,0-17-1,0 0 1</inkml:trace>
  <inkml:trace contextRef="#ctx0" brushRef="#br0" timeOffset="44812.69">13538 9423 0,'17'0'0,"-34"0"16,53-17-16,-36 34 31,0 2-15,0-2-1,0 18 1,0-17 0</inkml:trace>
  <inkml:trace contextRef="#ctx0" brushRef="#br0" timeOffset="44936.82">13574 9300 0,'-19'-17'0</inkml:trace>
  <inkml:trace contextRef="#ctx0" brushRef="#br0" timeOffset="45271.83">13714 9406 0,'0'17'0,"0"-34"0,0 53 16,0-19-1,0 0 1,18 1-1,0-18 1,-1-18 0,0 18-1,2 0 1,-2 0-16,1 0 31,-1 0-31,-34-17 31</inkml:trace>
  <inkml:trace contextRef="#ctx0" brushRef="#br0" timeOffset="45924.62">13026 8576 0,'-88'19'16,"70"-19"-16,18 17 0,-17-17 0,17 18 15,0-1 1,0 2 0,17-2-16,-17 0 0,18-17 15,-18 18-15,18-1 0,-18 2 16,18-19-16,-18 17 0,0 0 16,0 1-1,-18-18-15,18 18 0,-18-18 16,0 0-16,18 18 15,-17-18-15,0 0 16,-2 0-16</inkml:trace>
  <inkml:trace contextRef="#ctx0" brushRef="#br0" timeOffset="46092.03">13203 8576 0,'17'19'16,"-34"-38"-16,34 55 0,-17-18 16,0-1-16,0 2 0,-17-2 15,17 0-15,0 1 16,0-1-16,-19 2 0,19-2 0,0 0 0</inkml:trace>
  <inkml:trace contextRef="#ctx0" brushRef="#br0" timeOffset="46373.35">13344 8400 0,'70'0'16,"-70"18"-16,-70-36 0,158 36 0,-70 0 15,-1 0-15,-17-1 16,17 0-16,-17 1 0,0 0 0,0 0 16,0-1-16,-17 0 0,17 19 15,-17-18-15,17-1 0,-18 2 0,0-2 16,0 0-16,1 1 0,0-1 0,-19-17 16,1 36-16,18-36 15,-2 17-15,2-17 0,-1 18 16,1-18-16</inkml:trace>
  <inkml:trace contextRef="#ctx0" brushRef="#br0" timeOffset="47918.81">14702 6919 0,'36'-17'0,"-2"17"15,-16 0-15,18 0 0,52 0 16,-18 0-16,1 0 0,-19 0 16,19 0-16,-1 0 0,1 0 0,53 0 15,-71 0-15,-1 0 16,-16 0-16,-1 0 0,18-19 15,-35 19-15,18 0 0,-19 0 0,18 0 16,-18-17-16,2 17 0</inkml:trace>
  <inkml:trace contextRef="#ctx0" brushRef="#br0" timeOffset="48191.27">15566 6672 0,'70'18'15,"-51"-18"-15,33 17 0,-33-17 16,15 17-16,1 2 0,-16-2 16,33 1-16,1 16 15,-18 2-15,-17-1 16,-18-16-16,0-2 0,0 0 15,-18 19-15,0-1 0,-16 0 0,-37 35 16,35-34-16,-16-1 0,-36 18 16,35-18-16,17-16 15,-16-2-15</inkml:trace>
  <inkml:trace contextRef="#ctx0" brushRef="#br0" timeOffset="49593.66">18530 6583 0,'53'0'15,"-36"0"-15,1 0 16,-1 0-16,2 0 16,-2 0-1,0 0-15,1 0 32,-1 0-17,-69 0 48,-19 19-32,54-19-31,-2 0 0,2 0 0,0 17 16,-1-17-16,0 17 15,0-17-15,1 0 0,0 18 16,-1-18-16,18 18 0,-18-18 15,18 18 1,18-1-16,0-17 16,-1 17-16,0 2 15,1-19-15,-18 17 0,18-17 16,17 18-16,-18 16 16,2-34-16,-19 19 0,0-2 15,0 1 1,-19-18-16,19 17 0,-17-17 15,-18 19-15,17-19 16,-17 17-16,18-17 0,-1 0 16,0 0-16,0 0 15,18-17-15,18-2 32</inkml:trace>
  <inkml:trace contextRef="#ctx0" brushRef="#br0" timeOffset="49991.49">19076 6602 0,'0'-19'15,"-17"19"1,0 0-16,-2 0 16,-16 19-16,18-19 15,-2 17-15,2 0 16,17 1 0,0 0-16,17 0 15,-17-1 1,19 0-16,-19 2 15,0-2 1,0 1-16,-19-18 16,19 17-16,-34 0 0,16-17 15,1 0-15,17 19 0,-19-19 0,-15 0 16,16 17-16,0-17 16,0 0-16</inkml:trace>
  <inkml:trace contextRef="#ctx0" brushRef="#br0" timeOffset="50478.71">19182 6619 0,'18'17'16,"0"1"-16,-18 0 15,0 0 1,0-1-16,0 0 16,0 2-1,17-19 17,0 0-17,2 0 1,-2 0-16,1 0 15,-1 0 1,0 17 0,2-17-16,-2 18 15,1-18 1,-1 0 15,2 0-15,-2 0-16,0 0 15,1 0 1,0 0-16,0 0 16,-1-18-1,0 18-15,1 0 0,0 0 16,17 0-16,-18 0 16,19 0-16</inkml:trace>
  <inkml:trace contextRef="#ctx0" brushRef="#br0" timeOffset="51095.53">20170 6583 0,'-18'-17'16,"1"34"-16,17 2 15,-17-2-15,17 18 16,-19-17-16,19 34 16,0-33-1,0-2-15,0 1 0,19-1 16,-2 0-16,0-17 31,1-17-31,-1 17 16,-17-17-16,19-1 15,-19 1-15,0-2 16,0 2-16,17 0 0,-17-1 16,17 18-16,-17-18 15,18 18-15,0 0 16,0 0-16,-1 0 15,0 18-15,2-18 0,-2 35 16,1-18 0,-1 19-16,-17-18 15,17-1-15,-17 0 0,19 2 16,-2-19 15,1-19-15,-1 2-16,2 17 15,-19-17-15,17-1 0,0 1 16,19-2-16,-18 2 0,-1 0 16,18 17-1,-17-18-15,0 18 16,-1-18-16,0 18 16</inkml:trace>
  <inkml:trace contextRef="#ctx0" brushRef="#br0" timeOffset="51368.54">20840 6583 0,'0'0'0,"-17"0"16,0 19 15,-2-2 16,2-34 31</inkml:trace>
  <inkml:trace contextRef="#ctx0" brushRef="#br0" timeOffset="53215.87">21970 6460 0,'52'-17'0,"1"-2"31,-36 19-15,1 0-1,-53 0 1,18 0-1,-1 19-15,0-19 0,0 0 0,1 17 16,0-17-16,-2 18 0,2-18 16,-1 17-16,1-17 15,-2 19-15,2-2 16,34 0 31,-17 1 0,0-1 406,-34 2-438,16-19-15,18 17 16,-17-17-16,-2 17 16,2 1-1,0 0 1,34 0 0,36-18-1,-35 0-15,-1 0 0,19 0 0,16 0 16,89 0-1,-70 0 1,-35 0-16,-1 0 0,18-18 16,-36 18-16,1 0 0,-1 0 15,2-18-15,-2 0 16</inkml:trace>
  <inkml:trace contextRef="#ctx0" brushRef="#br0" timeOffset="53444.94">22199 6424 0,'-19'0'0,"2"36"16,0-18 0,17-1-16,-18 19 0,18-1 0,-18-18 15,18 19-15,-18-1 0,18 1 16,-17-2-16,17-15 0,-17 16 15,-1-1-15,18-15 0,0-2 0,-18 1 16,18-1-16,0 2 0,0-2 0,-18 0 16,36 1-16</inkml:trace>
  <inkml:trace contextRef="#ctx0" brushRef="#br0" timeOffset="53833.04">22780 6514 0,'-17'-19'0,"0"19"0,-2 0 16,-16 0-16,18 19 0,0-19 15,-2 17-15,2-17 16,-1 0-16,18 17 0,-17-17 16,-2 18-16,19-1 15,0 2-15,0-2 16,19 0-16,-19 1 16,0 0-16,17 0 0,-17-1 15,0 0-15,0 2 16,0-2-16,-17 1 15,17-1-15,-19-17 16,2 0-16,0 17 0,-1 2 31,1-19-15</inkml:trace>
  <inkml:trace contextRef="#ctx0" brushRef="#br0" timeOffset="54282.64">22798 6566 0,'18'-18'15,"0"36"1,-18-1 0,0 19-1,-18-19 1,18 1-16,0 0 0,0 0 31,0-1-15,18-17-16,16 0 15,-15-17 1,-2 17-16,1 0 16,-1 17-16,0-17 15,2 0-15,-19 17 16,17-17-16,1 19 0,-1-19 15,-17 17-15,19-17 16,-2 0-16,0 0 16,19-17-1,-18 17-15,-1 0 16,0 0-16,1 0 16,0 0-16,0-19 15,-1 19 1,0 0-1</inkml:trace>
  <inkml:trace contextRef="#ctx0" brushRef="#br0" timeOffset="54454.82">23398 6636 0,'0'18'31,"0"18"1,-18-19-32,18 0 15</inkml:trace>
  <inkml:trace contextRef="#ctx0" brushRef="#br0" timeOffset="54631.67">23451 6478 0,'-17'-18'0,"-2"18"32,2 0-32,-1 0 15,18 18 1,-17-18-16</inkml:trace>
  <inkml:trace contextRef="#ctx0" brushRef="#br0" timeOffset="54883.87">23504 6636 0,'0'18'16,"18"0"-1,-18 0-15,17-1 32,0-17-17,19 0 1,-1-17-16,-18 17 0,2 0 16,-2 0-16,1 0 0,-1-18 15,2 18-15,-2 0 0</inkml:trace>
  <inkml:trace contextRef="#ctx0" brushRef="#br0" timeOffset="55796.95">15619 9018 0,'36'0'16,"-19"0"-16,1 0 0,18 0 0,-19 0 15,18 0-15,1 0 0,-2 0 0,2 0 0,-1 0 16,0 0-16,1 0 15,-2 0-15,2 0 0,-1 0 0,1-18 16,-19 18-16,18 0 0,-16 0 0,-2-17 16</inkml:trace>
  <inkml:trace contextRef="#ctx0" brushRef="#br0" timeOffset="56067.58">16183 8683 0,'53'17'0,"-17"1"16,-125-53-16,196 87 0,-90-52 0,19 19 16,-19-2-16,18 0 0,-18 1 15,2 0-15,16 17 0,-18-18 0,2 19 0,-2-18 16,0-1-16,-17 19 0,0-19 15,0 18-15,-17 18 16,0-18-16,-19 1 0,18-1 0,-18 1 0,19-2 16,-18 2-16,18-18 15,-19-1-15,19 0 0,-19 2 0</inkml:trace>
  <inkml:trace contextRef="#ctx0" brushRef="#br0" timeOffset="58325.2">22834 8983 0,'0'-36'16,"17"19"-16,-34-1 0,-1 0 15,0 0 1,0 1-16,-16 17 16,15 0-16,2-17 0,-18 17 0,18 0 15,-19 17-15,18-17 0,-18 0 16,2 17-16,-1 1 16,-1 0-16,36 0 0,-35 16 15,53-15 1,-1-19-1,-17 17-15,17-17 0,2 0 0,-2 0 16,18 0-16,-18-17 0,37 17 16,-37-19-16,19 19 15,-1-17-15,-18 17 0,19 17 16,-19-17 0,-17 19-16,18 16 15,-18-18-15,0 2 16,-18-2-16,18 18 0,0-18 15,-17 36-15,17-35 0,-17 0 16,17 0-16,-19 16 0,2-15 16,17-2-16,0 1 0,0-1 15,17-17 1</inkml:trace>
  <inkml:trace contextRef="#ctx0" brushRef="#br0" timeOffset="58642.85">23134 9054 0,'-54'34'16,"20"-16"-16,34-1 0,-19 2 16,2 15-1,34 2 1,19-36-1,-1 0 1,1-36 0,-36 2-1,0-2 17,0 18-32,-18 1 0,0 17 31,0 0-16</inkml:trace>
  <inkml:trace contextRef="#ctx0" brushRef="#br0" timeOffset="59079.75">23310 9035 0,'17'36'15,"-17"-19"1,0 1 0,-17-1-1,17 2-15,0-2 16,17-17 31,0 0-32,2 0 1,-2 17-16,1-17 31,18 0-15,-19 0 0,0 0-1,1 0 1,0 0-1,0 0-15,-1 18 16,0-36 0,1 18 15,0-17-31</inkml:trace>
  <inkml:trace contextRef="#ctx0" brushRef="#br0" timeOffset="59227.85">23768 9106 0,'0'17'16,"-17"2"0,17-2-1,-17 0 1,-2 1-16</inkml:trace>
  <inkml:trace contextRef="#ctx0" brushRef="#br0" timeOffset="59369.49">23786 9018 0,'-18'-18'0,"18"1"16,-17 17-1</inkml:trace>
  <inkml:trace contextRef="#ctx0" brushRef="#br0" timeOffset="59564.49">23874 9071 0,'0'0'16,"0"17"-16,18 1 31,0-36-16,-18 1 17,-18 0-17,0 17-15</inkml:trace>
  <inkml:trace contextRef="#ctx0" brushRef="#br0" timeOffset="60372.5">21175 9035 0,'-17'0'16,"-1"0"-16,18 19 0,-17-19 16,17 17-16,-19 0 15,19 18-15,-17-16 0,17-2 16,0 0-16,0 1 0,0 0 0,17 0 15,-17-1-15,0 0 16,19-17-16,-19 19 0,17-19 16,1 0-16,-18 17 0,17-17 0,2 0 0,-2-17 15,0 17-15,1-19 16,-18 2 0,17 0-16,-17-1 0,0 0 0,0 0 15,-17 1-15,17 0 16,0-2-16,0-33 15,0 35-15,0-2 16,17 19 0,19 0-1,-19 19-15,1-19 0,0 17 0,34 35 16,-33-33 0,-2-19-16,1 17 0,-18 0 15,17 1-15,-17 0 0,17-18 0,-17 18 16,19-18-16,-19 17 0,17-17 15,1 0 1,-18-17 0,17-1-16,2 0 0,-2 0 15,0 1-15,1 0 0,-18-19 0,17 18 16,2 1-16,-2 0 0,0-2 16,1 2-16,0-1 15</inkml:trace>
  <inkml:trace contextRef="#ctx0" brushRef="#br0" timeOffset="62188.1">18600 9071 0,'-17'17'0,"-2"1"0,19-1 16,-17-17-16,17 19 0,-17 15 0,17-16 16,-18 0-16,0 17 0,18-18 15,-18 19-15,18-1 0,0-18 0,-17 2 16,17 16-16,0-18 0,0 2 0,0-2 15,17 0-15,-17 1 0,18 0 16,-18 0-16,18-18 0,0 17 16,-1-17-16,0 0 0,2 0 15,-2 0 1,1-17 0,-18-1-16,0 0 15,-18-17 1,18 18-16,-17-2 0,-2 2 15,19-1-15,-17 18 16,0-17 15</inkml:trace>
  <inkml:trace contextRef="#ctx0" brushRef="#br0" timeOffset="62502.62">18812 9300 0,'0'71'16,"0"-54"-16,18 1 16,-1-1-16,19 2 15,-19-19-15,1 0 16,-1 0-16,0 0 15,19-19 1,-36 2-16,0-1 0,0 1 31,0-2-31,-17 2 0,17 0 16,-19-1-16,2 1 0,0 17 16,17-19-1,-18 19-15</inkml:trace>
  <inkml:trace contextRef="#ctx0" brushRef="#br0" timeOffset="62963.71">19288 9300 0,'0'18'0,"0"-36"0,0 53 15,0-18 1,0 2-16,0-2 16,0 1-1,0-1 1,18-17 0,-1-17-1,0 17 16,2 0-31,-2 0 16,1 0-16,-1 17 16,2-17-1,-2 19 1,0-19-16,1 0 31,0 0-31,0-19 16,-1 38-16,0-19 15,1 0 1,0 0 0,0 0-16,-1 0 15,0 0 1,2 0 0</inkml:trace>
  <inkml:trace contextRef="#ctx0" brushRef="#br0" timeOffset="63117.49">19782 9423 0,'17'0'0,"-34"0"15,53 0 1,-36 19 0,0-2-1,0 0 17,0 1-17</inkml:trace>
  <inkml:trace contextRef="#ctx0" brushRef="#br0" timeOffset="63244.51">19799 9283 0,'0'-19'0,"-17"19"16</inkml:trace>
  <inkml:trace contextRef="#ctx0" brushRef="#br0" timeOffset="63539.83">19852 9335 0,'0'36'0,"0"-19"0,0 18 31,36-35 16,-18 0-31,-1-17-16,18 17 31,-17 0-16,0 17 1,-1-17-16</inkml:trace>
  <inkml:trace contextRef="#ctx0" brushRef="#br0" timeOffset="63662.77">20118 9459 0,'-19'0'16,"38"0"-16,-2 0 31</inkml:trace>
  <inkml:trace contextRef="#ctx0" brushRef="#br0" timeOffset="67685.72">10063 10040 0,'1059'0'16,"-883"0"-16,0 0 0,1 0 15,-1 0-15,0 0 0,-17 0 0,-18 0 16,0 0-16,1 0 0,-20 19 16,2-19-16,-18 0 0,-18 17 0,-18-17 15</inkml:trace>
  <inkml:trace contextRef="#ctx0" brushRef="#br0" timeOffset="67895.73">10786 10447 0,'282'-36'16,"-564"72"-16,688-89 0,-300 53 0,35 0 15,-18-18-15,1 18 0,17 0 16,-18-17-16,18 17 0,-17 0 0,-19 0 15,2-19-15,-2 19 0</inkml:trace>
  <inkml:trace contextRef="#ctx0" brushRef="#br0" timeOffset="68411.78">9710 7536 0,'565'0'16,"-424"0"-16,-1 0 0,2 0 0,404 18 15,-368-18-15,-38 0 16,18 17-16,-16-17 0,-1 0 0,-17 19 15,228-2 1,-281-17-16,-1 0 0</inkml:trace>
  <inkml:trace contextRef="#ctx0" brushRef="#br0" timeOffset="68635.6">10168 7907 0,'36'17'0,"176"-17"15,299 0 1,-352 0-16,-18 18 16,18-18-16,-1 0 0,125 0 15,-142 0-15,1 0 0,104 0 16,-140-18-16,-18 18 0</inkml:trace>
  <inkml:trace contextRef="#ctx0" brushRef="#br0" timeOffset="69224.88">8792 5543 0,'107'0'0,"-214"0"0,267 0 0,-90-17 16,19 17-16,34 0 0,1 0 0,-2-19 15,20 19-15,-1 0 0,35 0 16,1 0-16,17-17 0,-18 17 0,-35 0 16,54 0-16,-19 0 0,-35 0 0,0 0 15,-18 0-15,1 0 0,-19 17 16,2-17-16,-36 0 0,-1 0 0,-18 0 16,-16 0-16,-18 0 0</inkml:trace>
  <inkml:trace contextRef="#ctx0" brushRef="#br0" timeOffset="69426.88">9251 5807 0,'477'0'16,"-954"0"-16,1130 0 0,-459 0 15,0 0-15,0 0 0,0 0 16,0 0-16,0 0 0,1 0 0,-19 19 16,0-19-16</inkml:trace>
  <inkml:trace contextRef="#ctx0" brushRef="#br0" timeOffset="70057.06">4895 7307 0,'300'-36'0,"-212"36"0,0-17 16,17 17-16,-15 0 0,15-18 0,-17 18 15,107-17-15,-107 17 0,-18 0 16,1 0-16,-2 0 0,-15 17 16,-18-17-16,-2 0 0</inkml:trace>
  <inkml:trace contextRef="#ctx0" brushRef="#br0" timeOffset="70248.75">5124 7642 0,'88'-18'16,"266"-16"-1,-232 15-15,2 2 16,35-1-16,-18 18 0,-1-17 0,2 17 0,-18 0 16,17 0-16,-18 0 0,-17 0 15,0 17-15,88 1 0,-123 18 16</inkml:trace>
  <inkml:trace contextRef="#ctx0" brushRef="#br0" timeOffset="70671.87">5530 10164 0,'300'-17'16,"-195"17"-16,124-36 0,-122 36 15,16-17-15,-17 17 0,212-35 16,-248 35-16,1 0 16,-19-19-16</inkml:trace>
  <inkml:trace contextRef="#ctx0" brushRef="#br0" timeOffset="70832.14">5600 10570 0,'54'0'16,"-2"-18"-16,1 18 0,52-17 0,2 0 15,16-2-15,35 2 0,1-1 16,-18 1-16,-17 17 0</inkml:trace>
</inkml:ink>
</file>

<file path=ppt/ink/ink12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44:15.250"/>
    </inkml:context>
    <inkml:brush xml:id="br0">
      <inkml:brushProperty name="width" value="0.05292" units="cm"/>
      <inkml:brushProperty name="height" value="0.05292" units="cm"/>
      <inkml:brushProperty name="color" value="#0070C0"/>
    </inkml:brush>
  </inkml:definitions>
  <inkml:trace contextRef="#ctx0" brushRef="#br0">13715 1760 0,'34'0'78,"301"0"-62,-52 0 0,51 0-16,302 0 15,-406 0-15,-37 0 16,-86 0-16,-73 0 15</inkml:trace>
  <inkml:trace contextRef="#ctx0" brushRef="#br0" timeOffset="1192.43">20857 1565 0,'54'0'16,"122"0"15,1-34-31,16 15 15,19-33-15,18 16 16,-18 1-16,34 17 16,-70-17-1,0 18-15,19-1 0,-90 18 16,19 0-16,-53 0 16,0 0-1</inkml:trace>
  <inkml:trace contextRef="#ctx0" brushRef="#br0" timeOffset="17255.53">25761 965 0,'18'18'16,"-18"0"0,0 0-16,0 16 0,0-15 0,0 16 0,0 35 15,-18-52-15,18 35 16,0-36-1,0 19-15,0-18 0,0-1 0,0 0 16,0 1 0,18 0-16,-18 0 15,-18-72 1,-16 20 0,15 16-1,2 0-15,-1 18 0,1-18 0,0 18 16,-2 0-16,-69-17 15,71 34-15,-71 1 16,52 0-16,18 0 16,1-18-16,0 17 0,-2 0 0,19 1 15,-17 0-15,17 0 0,-18-1 16,36 19 0,-1-19-16,19 1 15,-19-18 1,1 0-16,0 0 15,0 0-15,87-18 16,-52 1-16</inkml:trace>
  <inkml:trace contextRef="#ctx0" brushRef="#br0" timeOffset="17608.73">26027 1265 0,'-19'-34'15,"2"15"1,-1 19 0,1 0-16,-2 19 15,-15 15 1,16-16-16,18 0 16,0 0-1,18-1 1,-1-17-16,-17 17 0,17-17 0,19-17 15,18 0 1,-37 17 0,-17-18-16,0 0 0,17 0 15,-17 1 1,0 0-16,-17-2 31</inkml:trace>
  <inkml:trace contextRef="#ctx0" brushRef="#br0" timeOffset="18157.46">26256 1195 0,'-19'0'16,"2"17"0,17 2-16,17-2 0,-17 0 15,0 19 1,0-18-16,0-1 0,0 0 15,0 1-15,-17 0 0,17 0 16,-17-1-16,17 0 0,-36 37 16,18-54-16,18 17 15,-17-17 1,52-17 0,-35-1-1,18 1-15,0-2 0,-1 2 16,19 0-16,-19-1 0,1 0 0,-1-17 15,19 18-15,-19-1 0,1 0 16,-1 0-16,2 18 0,-19-17 0,34 0 16,-16-2-16,0 19 15,0 0 1,-18 19 0,0 15-1,0 2 1,0-18-16,0-1 0,-18 18 31,18-17-31,0 0 16,-18-18-16</inkml:trace>
  <inkml:trace contextRef="#ctx0" brushRef="#br0" timeOffset="19160.96">27579 384 0,'-19'17'15,"19"18"1,-17-16-16,17-2 15,-18 0-15,18 1 0,-17-1 16,0 2-16,17-2 0,-19 18 0,19-17 16,-17 0-16,-1-1 0,18 0 0,-17 2 15,-2-19-15</inkml:trace>
  <inkml:trace contextRef="#ctx0" brushRef="#br0" timeOffset="19360.68">27349 489 0,'18'0'31,"-1"0"-31,0 18 0,2-18 16,-2 17-16,18 2 16,-16-2-16,-2-17 0,0 17 15,1 1-15,35 0 0,-36-18 16,1 18-16,0-18 0,0 0 0,-1 17 15</inkml:trace>
  <inkml:trace contextRef="#ctx0" brushRef="#br0" timeOffset="19728.5">27808 455 0,'0'-19'0,"17"38"47,1-19-31,35 17-1,-36-17-15,1 0 16,0 0-16,0 0 0,16 0 0,-16-17 16,0 17-16,0 0 15,16-19-15,-34 2 0,19 17 16,-2-18-16,1 1 15,-36 52 17,-18 1-17,19-19 1,17 0-16,-17 1 0,-1-1 16,0 19-16,0-19 0,1 1 15,0 18-15,17-19 16,-18 0-16</inkml:trace>
  <inkml:trace contextRef="#ctx0" brushRef="#br0" timeOffset="20154.52">28231 472 0,'0'-17'0,"36"17"15,-19-19-15,0 38 16,1-19 0,-18 17-16,18 0 15,-18 1-15,0-1 0,18 2 16,-18-2-16,0 0 0,0 1 16,0 0-16,17 0 15,0 16-15,-17-15 16,19-2-16,-2 1 15,1-18-15,-1 0 0,19 0 16,-19 0-16,1 0 0,18 0 16,-36-18-16</inkml:trace>
  <inkml:trace contextRef="#ctx0" brushRef="#br0" timeOffset="20330.64">28267 595 0,'-19'0'0,"55"-18"32,-19 18-32,1 0 0,18 0 15,-19 0-15,19-17 0,16 17 16,1-17-16,-18 17 16,-16 0-16,-319 52 15,634-104-15</inkml:trace>
  <inkml:trace contextRef="#ctx0" brushRef="#br0" timeOffset="21301.65">28001 1141 0,'-17'36'16,"17"-18"-16,0-1 15,0 19-15,-17 17 16,17-35-16,0-1 16,0 0-16,0 19 15,0-18-15,0-1 0,17 0 16,-17 2-16</inkml:trace>
  <inkml:trace contextRef="#ctx0" brushRef="#br0" timeOffset="21657.53">28248 1248 0,'0'-17'0,"0"34"0,-17-34 16,-1 17-16,1 0 16,0 34-1,17-16-15,0 0 16,0 0-16,17-1 15,0-17-15,-17 17 16,35-17-16,-16 18 16,15-18-16,-16 0 0,0 0 15,0-18-15,-1 18 0,0-17 16,19 0-16,-36-1 16,18 0-16,-18-17 15,0 18 1,-18-19-16,18 18 15,-17 1 1</inkml:trace>
  <inkml:trace contextRef="#ctx0" brushRef="#br0" timeOffset="21939.75">28584 1124 0,'17'36'16,"1"-19"-16,-18 1 0,0-1 15,17 2-15,19-2 32,-19-17-32,1 17 0,0-17 15,0-17-15,-1 17 16,0-17-1,-17-2-15,-17 2 32,17-1-32,-17 1 15,-19 17 1,18 0 0</inkml:trace>
  <inkml:trace contextRef="#ctx0" brushRef="#br0" timeOffset="22419.9">28989 1107 0,'0'0'16,"-34"0"-1,34 34 1,-19-15-1,19-2-15,19 1 16,-19-1-16,17 2 0,0-2 16,1-17-16,0 17 15,34-17 1,-16 0-16,-18-17 16,-18 0-1,0-2-15,0-16 16,0 18-1,-18-2-15,0 19 16,18-17-16,-18 17 0,1 0 16,17-17-16,-17 17 15</inkml:trace>
  <inkml:trace contextRef="#ctx0" brushRef="#br0" timeOffset="23739.68">29643 983 0,'0'-18'16,"0"36"-16,-19 0 31,38 0-31,-19-1 16,0 0-16,0 2 15,0-2-15,0 1 0,17-1 0,-17 0 16,17 2-16,-17-2 16,18 1-16,-18-1 15,0 2-15,-18-38 47,1 2-47,0 17 0,-19-18 16,18 18-1,1 0-15,-2 0 0,2 0 16,-18 0-16,35 18 0,-18-18 16,0 17-16,1-17 0,17 19 15,0-2 1,0 0-16,17 1 15,1-18-15,35 0 0,-36 0 16,19 0-16,-1 0 16,36-18-16,-18 18 0,-18-17 15,1 0-15,17-2 0,-36 2 16,18-18 0,-18 16-16,2 19 0,-19-17 15,0 0 1,-36 34 15,19 0-31,-1-17 31,36 19-31,-18-2 16,34 1-16,-15-18 16,16 0-1,18 0-15,-36 0 16,19 0-16,-1-18 15,-18 1-15,1-2 16,-18 2 0,-18 17-1,18-17-15,-17 17 16,0 0 0,-1 0-16,36 17 62,-1-17-46,18 17-1,-17-17 1,0 0-16,-1 0 16,0 19-16,2 16 15,16 18 1,-35-36-16,17 1 15,-17 18-15,0-19 16,-17-17-16,17 17 0,0 1 16,-18 0-16,18 0 0,0-1 15,35-34 17,-35-1-17,36-18-15,-19 19 16,18 0-16,-16-1 0,-2 0 0,18-17 15,1 18-15,-19-2 16,0 19-16,1-17 16,0 17-16,0 0 31,-18 17-31,0 2 16,0-2-16,-18 0 15,0 19 1,0-18-16,18-1 15</inkml:trace>
  <inkml:trace contextRef="#ctx0" brushRef="#br0" timeOffset="23852.04">30719 1319 0,'0'-18'15,"-19"0"1</inkml:trace>
  <inkml:trace contextRef="#ctx0" brushRef="#br0" timeOffset="31112.48">28443 2412 0,'34'0'0,"-15"-17"31,-2 17-16,-70 0 17,36 0-32,-18 17 0,16-17 0,2 0 15,0 0-15,-1 17 0,0-17 0,0 0 16,1 18-16,0-18 16,17 18-16,0 0 15,52-1 1,-34-17-16,0 17 15,-1-17-15,0 19 0,2-19 16,-2 0-16,1 17 0,-1-17 16,0 18-16,2-1 0,-38 2 31,19-2-31,-17-17 0,0 17 16,-1-17-16,1 0 0,-2 18 0,2-18 15,0 0-15,-1 0 0,0 17 16,0-17-16</inkml:trace>
  <inkml:trace contextRef="#ctx0" brushRef="#br0" timeOffset="32312.67">29165 2217 0,'0'36'16,"0"-18"-1,-17-1-15,17 54 16,-17-35-16,17-19 0,0 0 16,0 19-16,0-1 0,0-18 15,0 2-15,0-2 16,0 1-16,0-1 0,-18 2 15,0-19 17,-34 0-17,34 0-15,0 0 0,0 0 16,-16 0-16,15 0 0,2 0 0,-1 0 16,1 0-16,-2 17 0,2-17 15,0 17-15,-1-17 0,1 18 16,34-1-1,1-17 1,-1 19-16,19-19 0,-1 0 16,1 0-16,-2 0 0,2 0 15,70-19-15,-72 19 16,2-17-16,-1 17 0,1-18 16,-1 18-16,-18-17 0,19 17 0,-19-17 15,1-2-15,0 2 16,0 17-16,-18-18 0,0 1 15,0-2-15,-18 2 16,0 17 0,0 0-16,1 0 15,0 0-15,-2 0 0,2 17 0,-37 2 32,37-2-32,17 1 0,0-1 15,17 2 1,2-2-16,-2-17 15,1 0-15,18 17 16,-19-17-16,0 0 0,1-17 16,0 17-1,-18-17-15,18 17 0,-1-19 16,-17 2-16,0-1 16,17 18-1,-17-17 1,18 34 15,0 1-15,-18-1-16,18-17 15,-18 19-15,17-2 0,0 0 16,-17 1-16,19-1 0,-19 2 16,0-2-16,0 0 15,0 1 1,0 0-16,-19-18 0,19 18 15,-17-1 1,34-34 31,2 17-47,-19-18 0,17 18 0,1-18 16,-1 0-16,2 18 15,-19-17-15,17 0 0,0 17 0,1-19 16,-18 2-16,17-1 0,2 1 0,-19 0 15,17 17-15,0-19 0,-17 2 16,18-1-16,-18 1 16,18 17-16,17 0 31,-18 17-31,2 1 16,-19-1-1,0 2 1,0-2-16,0 0 15,-19 1 1,2-1-16,0-17 0,-19 19 16,18-2-16,1-17 15,-19 17 1,19-17-16,-1 0 16</inkml:trace>
  <inkml:trace contextRef="#ctx0" brushRef="#br0" timeOffset="32487.48">30065 2607 0,'18'0'0,"0"-19"16</inkml:trace>
  <inkml:trace contextRef="#ctx0" brushRef="#br0" timeOffset="33137.24">28831 2905 0,'105'0'16,"-69"0"-16,17 0 0,17 0 16,-17 0-16,18 0 0,-1 0 15,1 0-15,0 0 0,-1-17 0,1 17 16,-19 0-16,19 0 0,-18 0 15,-18 0-15,18 0 0,-36 0 16,19 0-16,-18 0 0,-1 0 0</inkml:trace>
  <inkml:trace contextRef="#ctx0" brushRef="#br0" timeOffset="33342.82">29095 3047 0,'36'0'0,"-2"0"16,2 0-16,-18-18 0,16 18 15,2 0-15,18 0 0,68 0 16,-86 0-16,-1 0 16,1-17-16,16 17 0,-16 0 15,-19 0-15,1 0 0,18 0 16</inkml:trace>
  <inkml:trace contextRef="#ctx0" brushRef="#br0" timeOffset="36444.53">18000 4564 0,'36'0'15,"-1"0"1,-18 0-16,19 0 0,17 0 16,-18 0-16,36 0 0,17 0 0,158 0 15,-139 0-15,-2 0 16,1 17-16,0-17 0,0 0 16,-18 0-16,18 0 0,-18 18 0,0-18 15,71 0-15,-88 0 16,-1 0-16,1 0 0,-18 0 0,-18 0 15,0 0-15,1 0 0,-2 0 16,-15 0-16,-2 0 0,1 0 0,-1 0 16,0 0-16,2 0 15,-2 18-15</inkml:trace>
  <inkml:trace contextRef="#ctx0" brushRef="#br0" timeOffset="37243.65">24173 4547 0,'212'0'15,"-141"0"-15,0 0 0,17 0 16,-18 0-16,37 0 0,-19 0 0,17 17 16,-17-17-16,19 0 0,-19 17 15,-17-17-15,-1 0 0,0 18 0,0-18 16,54 18-16,-70-18 0,-20 0 16,2 18-16,-1-18 0,-18 0 15,1 0-15,0 17 0,0-17 16,-54 0-1,1 0-15</inkml:trace>
  <inkml:trace contextRef="#ctx0" brushRef="#br0" timeOffset="38301.12">2408 6028 0,'352'0'16,"-245"0"-16,-2 0 0,0-17 16,19 17-16,0 0 0,16-18 0,38 0 15,-20 0-15,18 1 0,0 17 0,2-17 16,-2-2-16,0 2 0,1-1 16,-54 1-16,1-2 0,-2 19 0,2-17 15,70 0-15,0-1 16,-123 18-16,-18 0 0,-1 0 15,2-17-15,-20 17 0,-15 0 16,16 0-16,-18 0 0,2 0 0,-2 0 16,0 0-16,1 0 31</inkml:trace>
  <inkml:trace contextRef="#ctx0" brushRef="#br0" timeOffset="40316.57">17365 5604 0,'71'36'0,"-54"-36"15,19 0-15,-18 17 0,-1-17 16,19 0-16,-19 0 0,18 0 0,-18 0 16,19 0-16,-18 0 15,18-17-15,-19 17 0,36 0 0,-35-17 16,16 17-16,-16 0 0,0-19 0,0 19 16,-1 0-16,0-17 15,2 17-15,-2-18 0,1 18 0,-1-17 16,2 0-16,-2-2 15,-17 2-15,17 17 16,-17-18-16,18 1 0,-1-2 16,-17 2-16,19 17 0,-19-17 0,17-1 15,-17 1-15,17-2 16,-17 2-16,0 0 0,0-1 0,18 0 16,-18 0-16,0 1 0,0 0 15,18-2-15,-18 2 0,0-1 16,0 1-16,0 0 0,0-19 15,18 18-15,-18 1 0,0-2 0,0-15 16,0 16-16,0 0 0,0 0 16,0 1-16,0 0 0,-18-1 15,18 0-15,0 0 0,0 1 0,-18 0 16,18-2-16,-18 2 16,18-1-16,-17 1 0,17-2 0,-17 19 15,17-17-15,-19 0 0,19-1 16,-17 1-16,-1-2 15,1 2-15,0 0 16,-2 17-16,19-18 0,-17 0 16,-1 18-16,1-18 15,-2 18-15,19-17 16,-17 17-16,0 0 0,-1-17 0,0 17 16,0-19-16,1 19 15,0 0-15,17-17 0,-18 17 16,0 0-16,0 0 0,1 0 15,0-18-15,-2 18 0,2 0 16,-1 0-16,1 0 16,-2 0-16,2 18 0,0-18 15,-1 0-15,1 0 16,-2 17-16,2-17 0,0 19 16,-1-19-16,-18 17 0,36 0 15,-17-17-15,0 18 0,-2-18 16,2 18-16,-1 0 0,1-18 0,-19 34 15,19-15-15,-18-2 0,16 1 16,2 16-16,0-15 16,-1 16-16,-18-18 0,19 19 0,0-1 0,-1 1 15,0-2-15,-17 2 0,35-1 16,-17 18-16,-19 18 16,18 0-16,18-37 0,0 2 0,0 35 15,0-54-15,0 18 16,18 1-16,-18-1 0,36 18 15,-19-36-15,-17 18 0,35-16 16,1 33-16,-2-34 0,-15 0 16,-2-1-16,1 0 0,-1 2 15,0-2-15,2-17 0,16 35 16,-18-35-16,36 17 0,-35 2 16,-1-19-16</inkml:trace>
  <inkml:trace contextRef="#ctx0" brushRef="#br0" timeOffset="42238.55">23645 5640 0,'0'17'32,"18"1"-17,-18 0-15,17 0 16,19-1 0,-19 0-16,18 2 0,-18-19 0,2 17 15,16-17-15,1 0 0,-19 0 0,54 18 16,-37-18-16,2 0 15,-1 0-15,1 0 0,-1 0 0,18-18 16,-36 18-16,18 0 0,1 0 0,-19-17 16,19 17-16,-18-19 0,16 19 15,-16-17-15,35 0 0,-36 17 16,2-18-16,-2 0 0,54-17 16,-54 18-16,1-2 15,-18 2-15,17-1 0,2 1 16,-2 0-16,-17-2 0,17 2 0,1-18 15,-18 16 1,0 2-16,0 0 0,0-18 0,18 16 16,-18 2-16,0 0 0,0-1 0,0 0 15,18-17-15,-18 18 16,0-2-16,0 2 0,0-1 0,0 1 16,0 0-16,0-2 0,0 2 15,17-18-15,-17 16 0,0 2 16,0 0-16,0-37 0,0 37 15,0 0-15,0-1 0,0 0 0,0 0 16,0 1-16,0 0 0,-17-2 16,17 2-16,0-1 0,0-18 15,0 19-15,-18 0 0,18-1 16,0 1-16,-18 17 0,18-19 0,0 2 16,-18 0-16,18-1 0,-34 0 15,34 0-15,-19 18 0,2-17 16,17 0-16,-18 17 0,1-19 15,0 19-15,-2-17 0,2 17 16,-1-18-16,1 18 0,-2-17 0,2 17 16,0 0-16,-1-17 0,0 17 0,-17 0 0,18 0 15,-1-19-15,0 19 16,0 0-16,-16 0 0,15 0 16,2-17-16,-1 17 0,1 0 0,-2 0 15,2 0-15,0 0 0,-1 17 16,1-17-16,-2 0 0,2 0 15,0 19-15,-1-19 0,0 17 0,-17-17 16,18 17-16,-1-17 16,0 18-16,-17-1 0,18 2 0,-2-2 0,2 0 15,-18 1-15,16 0 0,2 0 0,0 16 16,-18 2-16,16-18 16,2 16-16,0-15 0,17-2 15,-18 18-15,0-16 0,18 15 0,-18 2 16,18-18-16,-17 16 0,17 2 15,0-1-15,0 1 0,0-1 0,0 1 16,0-2-16,0 1 0,0-16 0,17 51 16,1-35-16,-18-18 15,18 19-15,0-18 0,-1 16 0,0-15 16,2-2-16,-2 1 0,18 18 16,-18-2-16,2-34 15,-2 18-15,1-1 0,-1-17 16,2 19-16,-2-2 0,0-17 0,1 0 0,0 17 15</inkml:trace>
  <inkml:trace contextRef="#ctx0" brushRef="#br0" timeOffset="45855.6">24068 5852 0,'17'35'0,"2"-18"16,-2-17-16,-17 19 0</inkml:trace>
  <inkml:trace contextRef="#ctx0" brushRef="#br0" timeOffset="48743.48">11351 8056 0,'88'0'0,"-52"0"0,33 0 15,2 0-15,-1 0 0,1 0 16,36 0-16,-2 0 0,0 0 0,19 0 16,106 0-16,-125 0 15,2 0-15,-2 0 0,0 0 16,2 0-16,-36 0 0,17 0 0,-18 0 15,1 0-15,0 19 0,-19-19 0,-16 0 16,16 0-16,-34 0 0,17 0 16,1 0-16,-19 0 0,18 17 0,-18-17 15,2 0-15,-2 0 0,1 0 16,-1 0-16,2 0 16,-2 0-16,0 0 15</inkml:trace>
  <inkml:trace contextRef="#ctx0" brushRef="#br0" timeOffset="51290.45">15743 7933 0,'53'18'0,"-36"-1"16,1-17-16,18 17 0,-19-17 15,18 0-15,-18 19 0,19-19 0,-19 0 16,19 17-16,-1-17 0,1 0 15,-1 0-15,-18 0 0,19 0 0,-1 0 16,1 0-16,-2 0 0,2 0 16,-1-17-16,-18 17 0,19-19 0,-1 19 15,1-17-15,-19 17 0,18-17 0,-16-1 16,-2 18-16,18-18 0,-18 0 0,2 18 16,-2-17-16,0 0 0,1-1 15,0 18-15,0-18 0,-18 0 0,17 1 16,0 0-16,1-2 0,-18 2 15,18-1-15,-18 1 0,0 0 16,18-19-16,-18 18 0,17 1 0,-17-2 0,0 2 16,17-18-16,-17 17 15,0 0-15,0 1 0,19 0 16,-19-1-16,0 0 0,0 0 0,0 1 16,0 0-16,0-2 0,-19-16 15,19-1-15,-17 19 0,17 0 16,0-18-16,-17 16 0,17 2 0,-18 0 15,18-1-15,0 0 0,-18 0 16,0-34-16,1 34 16,0 0-16,17 1 0,-18 0 15,18-2-15,-18 19 0,0-17 0,18-1 16,-17 1-16,0-2 16,-2 19-16,19-17 0,-17 17 0,-1-17 15,1-1-15,0 1 16,-2 17-16,2-19 15,-1 19-15,18-17 0,-17 17 16,-2 0-16,2 0 0,0 0 16,-1-17-16,-18 17 15,19 0-15,0 0 16,-19 0-16,18 0 16,1 0-16,-19 0 15,19 0-15,-1 0 0,1 17 16,-2-17-16,2 0 0,0 0 15,-1 17-15,1-17 0,-19 19 16,19-19-16,-1 17 16,0-17-16,0 18 0,1-18 0,17 17 15,-17-17-15,-2 17 0,-16 2 16,35-2-16,-17 1 16,0-18-16,-2 17 0,19 2 0,-17-2 0,-1 0 15,18 1-15,-17 0 16,-2 0-16,19-1 0,-34 18 15,34 1-15,-18-19 0,18 0 0,-18 19 0,18-1 16,-18-18-16,18 19 16,-17-1-16,17 1 0,-17-1 0,17-17 15,0 17-15,-18 0 0,18 1 0,0-2 16,0 2-16,18-1 0,-18 1 16,0-1-16,17-18 0,0 36 0,19 18 15,-18-36-15,-1-17 0,19 17 16,-1-18-16,-18 2 0,2-2 15,15 1-15,1-1 0,18 19 16,-35-36-16,35 17 16,-17-17-16,-19 18 0,1-18 15,16 0-15,-15 0 0,-2 0 0</inkml:trace>
  <inkml:trace contextRef="#ctx0" brushRef="#br0" timeOffset="54805.56">18336 8004 0,'17'0'47,"1"0"-32,-1 0-15,36 0 31,-35 0-31,18 0 0,-19 17 0,18-17 16,-17 0-16,17 0 0,1 0 16,-19 0-16,18 0 0,1 18 0,-1-18 15,53 0-15,-52 0 0,-2 17 16,2-17-16,-1 0 0,1 0 16,-1 19-16,18-19 0,-18 0 0,1 17 15,-2-17-15,20 0 0,-20 0 0,2 17 16,-1-17-16,18 0 0,-18 18 15,1-18-15,-1 0 0,18 17 16,-18-17-16,1 19 0,34-19 0,-18 0 16,-16 17-16,-1-17 0,1 0 15,17 17-15,-18-17 0,0 0 16,1 0-16,17 18 0,-18-18 0,-1 0 0,2 0 16,-1 0-16,18 18 15,-35-18-15,18 0 0,-2 0 0,2 0 16,-1 0-16,-18 18 0,19-18 0,-1 0 15,1 0-15,-19 0 0,18 0 16,1 0-16,-19 0 0,19 17 0,-1-17 16,-18 0-16,19 0 0,-18 0 0,16 0 15,2 0-15,-18 0 0,52 0 16,-52 0-16,18 0 16,-2 0-16,-16 0 0,18 0 0,-2 0 0,2 0 15,-1 0-15,-18 0 0,19 0 16,18 0-16,-20 0 15,2 0-15,-1-17 0,-18 17 0,19 0 0,-18 0 16,16 0-16,-15-18 0,16 18 16,1 0-16,-19-18 0,18 18 15,-18-18-15,19 18 0,-19 0 0,1-17 16,18 17-16,-19-17 0,0 17 0,1-19 16,18 2-16,-19 17 0,0-18 15,2 1-15,16 0 0,-18-2 16,19 2-16,-1-1 0,-18 1 15,2-2-15,-2 2 0,18-18 16,-17 17-16,0 0 16,-18 1-16,17 0 0,0-19 0,2 18 15,-2 1-15,1 0 0,-18-2 16,17-16-16,0 18 0,2 0 16,-19-2-16,17-16 0,-17 18 0,18-2 0,-18 2 15,17-18-15,-17 17 0,19 0 16,-19 1-16,0-36 0,0 35 15,0 1-15,0 0 0,0-19 0,-19 18 16,19 1-16,-17-19 0,-1 1 16,18-1-16,-17 19 15,-2-18-15,2 17 0,0-17 0,-1 18 16,1-1-16,-19-18 0,19 2 0,-1 15 16,0 2-16,0-18 0,-16 16 15,15-15-15,-16 16 0,1-18 0,-37 2 16,35-2-16,19 18 15,-19 1-15,1 0 0,18-2 0,-19 2 16,-16-1-16,16 1 0,1 0 16,-18-2-16,-1 2 0,20-1 15,-20 1-15,2-2 0,-1 2 0,0 0 16,-106-37-16,35 20 16,72 16-16,-1 0 15,-1 18-15,2-18 0,-1 1 0,0 17 16,-53-36-16,53 36 0,1-17 15,-1 17-15,17-18 0,-16 18 16,-19 0-16,18-17 0,18 17 16,-18 0-16,18 0 0,-1 0 0,-17 0 15,18 0-15,0 0 0,-1 0 16,-17 17-16,18-17 0,-1 0 0,2 0 16,-20 0-16,20 18 0,-73-18 15,72 17-15,1-17 16,-2 19-16,18-19 0,-18 0 15,2 17-15,-2-17 0,1 0 0,-36 17 16,37-17-16,15 18 16,-16-18-16,-1 0 0,2 18 0,16-18 15,-18 18-15,2-18 0,16 0 0,-52 17 16,34 0-16,18-17 16,-16 18-16,-2-18 0,18 18 0,-18-18 15,-16 18-15,35-1 0,-2-17 16,-15 17-16,16-17 0,0 19 15,-17-19-15,18 17 0,-2-17 16,2 18-16,-18-1 0,-1 2 0,19-19 16,-1 17-16,1-17 15,-2 17-15,2-17 0,0 18 0,-1-1 16,1-17-16,-2 19 0,2-2 16,0-17-16,-1 17 0,18 1 15,-18-18-15,0 18 0,1 0 0,0-1 16,-2 0-16,19 2 0,-17-19 0,-1 17 15,18 1-15,-17-1 0,0 0 16,17 2-16,-19-2 0,19 1 16,-17-18-16,17 17 0,-18 2 0,18-2 0,0 0 15,-17 1-15,17 0 0,0 0 16,0-1-16,-19 0 0,19 1 0,0 0 16,0 0-16,0-1 0,-17 0 15,17 2-15,0-2 0,0 1 0,-17-1 16,17 0-16,0 19 0,-18-18 15,18 18-15,0-2 0,-18 2 16,18-18-16,0 16 0,0-16 16,0 0-16,-18 17 15,18-18-15,0 37 0,0-18 0,-17-2 16,17 1-16,0-16 0,0 51 16,0-52-16,0 16 0,17-16 15,-17 35-15,0-36 16,0 19-16,18-18 0,-18-1 0,18 2 15,0 33-15,-1-52 16,0 17-16,2 2 0,-2-2 0,18 0 16,1 1-16,-1-18 0,1 18 15,-2-18-15,2 0 0,-1 18 16,36-18-16,-18 0 0,-18 0 0</inkml:trace>
  <inkml:trace contextRef="#ctx0" brushRef="#br0" timeOffset="56525.59">23151 7739 0,'88'0'0,"-70"17"0,0-17 16,16 0-16,-15 0 0,16 0 0,-1 0 16,-15 19-16,69-19 15,-53 17-15,1-17 0,-19 0 16,18 0-16,-17 0 0,0 0 15,16 0-15,-15 0 0,-2 0 0,1 0 16,-1 0-16,0 0 0,2 0 0,-2 0 16</inkml:trace>
  <inkml:trace contextRef="#ctx0" brushRef="#br0" timeOffset="56840.55">23697 7527 0,'19'0'0,"-2"0"0,54 18 16,-54-18-1,18 18-15,18 16 16,-35-15-16,0-19 0,0 17 0,-1 1 15,0-1-15,1 2 16,0-2-16,0-17 0,-18 17 0,17 1 0,-17-1 16,0 2-16,0-2 15,-17 0-15,17 1 16,-18 0-16,0 0 0,-17 16 16,18-34-16,-1 18 0,0 0 15,0-18-15</inkml:trace>
  <inkml:trace contextRef="#ctx0" brushRef="#br0" timeOffset="66141.67">25956 7209 0,'159'-52'15,"-142"52"-15,0 0 16,1 0-16,0 0 0,0 0 0,-1 18 16,0-18-16,2 17 15,-19 0-15,-19 2 0,2-2 16,0 18-16,-19 1 0,18-19 15,-35 18-15,36-16 0,-18-2 16,18 0 0,-2 1-16,2 0 0,17 0 15,17-18 1,2 0 0,-2 0-16,35 0 15,1 0-15,-17 0 16,-18-18-16,16 18 0,2 0 15,35-18-15,-54 18 0,18 0 16,-16-18-16,-2 18 0,36-17 16</inkml:trace>
  <inkml:trace contextRef="#ctx0" brushRef="#br0" timeOffset="66407.62">26803 7087 0,'0'-18'0,"0"36"16,-19-1 15,19 0-31,-17 37 16,-1-1-16,-16 16 31,34-50-31,0-2 0,-19 37 15,2-37-15,17 0 0,0 1 0,0 0 16,0 0-16,0-1 16,17-17-1</inkml:trace>
  <inkml:trace contextRef="#ctx0" brushRef="#br0" timeOffset="66896.87">27155 7139 0,'0'-18'16,"17"18"-1,2-17-15,-2 17 0,0 0 16,19 0-16,-18 0 15,16 0-15,-15 0 16,-2 17 0,1 1-16,-18 0 15,0 0-15,0-1 0,0 0 16,0 2-16,0-2 0,0 1 0,0-1 16,0 0-16,0 19 0,0-18 15,0-1-15,0 2 16,0-2-16,0 0 0,17 1 15,-17 0-15,17-18 16,-17 18 0</inkml:trace>
  <inkml:trace contextRef="#ctx0" brushRef="#br0" timeOffset="67108.62">27120 7387 0,'17'-36'0,"1"36"16,-1 0-16,2 0 0,-2-18 16,0 18-16,37 0 0,-37 0 15,36-17-15,-35 17 16,16 0-16,2 0 0,18-19 15</inkml:trace>
  <inkml:trace contextRef="#ctx0" brushRef="#br0" timeOffset="67423.78">27789 7175 0,'-17'0'15,"0"0"1,-1 17-16,18 0 0,-17-17 15,17 19-15,0-2 0,0 1 16,0-1-16,17 0 16,1-17-16,-1 19 0,0-19 15,2 0-15,-2 0 16,1 0-16,-1 0 0,2 0 0,-2-19 16,0 19-16,-17-17 15,0-18 1,0 18-16,-17-2 0,0 2 15,-2 0 1,2 17-16,17-18 0,-18 18 16,1 0-16,-2 0 15,2 0 1</inkml:trace>
  <inkml:trace contextRef="#ctx0" brushRef="#br0" timeOffset="67761.38">28337 7051 0,'0'0'16,"18"18"0,-36 0-1,0-18-15,18 17 16,-18 0-16,1 1 0,0 0 15,-2-18-15,2 35 16,-1-18-16,18 2 16,0-2-16,0 1 15,18-18-15,-18 17 16,17-17-16,2 0 0,-2 0 0,18 17 16,-17-17-16,0 0 15,-1 0-15,0 0 0,2 0 16,-2 0-16,18 0 0,-18-17 15,2 17-15,-2 0 16,1-17-16</inkml:trace>
  <inkml:trace contextRef="#ctx0" brushRef="#br0" timeOffset="67956.39">28531 7033 0,'0'0'0,"-54"36"15,37-1-15,0-18 0,-1 1 16,18 18-16,0-19 16,-17 36-16,17-18 0,0-18 15,-19 19-15,19-1 0,0 18 16,0-35-16,-17 35 0,0-18 16,-1-17-1,0 0-15,18-1 0</inkml:trace>
  <inkml:trace contextRef="#ctx0" brushRef="#br0" timeOffset="68377.67">26979 7404 0,'0'0'16,"17"17"-16,-17 19 0,-17-1 16,17 0-16,-71 89 15,54-88 1,-1-2-16,0 1 0,0-16 15,1-2-15,0 0 0,-2 1 0,2 0 16</inkml:trace>
  <inkml:trace contextRef="#ctx0" brushRef="#br0" timeOffset="68755.25">25779 6540 0,'-35'17'0,"-1"18"16,107-87-16,-177 157 0,36 1 0,35-36 0,-1 1 16,1 0-16,-18 87 15,18 1-15,35 18 16,0-107-16,18 19 16,-1-18-16,18 17 0,89 34 15,-71-51-15,106 17 16,17-17-16,-71-35 0,2-19 15,-2-17-15,2 0 0,103-36 16,-103 19-16,16-1 0</inkml:trace>
  <inkml:trace contextRef="#ctx0" brushRef="#br0" timeOffset="69218.1">28531 6557 0,'229'123'0,"-193"-70"16,69 71-16,-51-53 16,-20-19-16,2 37 0,-18-19 0,16 124 15,-34-123-15,-17 0 16,-18-1-16,17 1 0,-17-19 0,-18 19 16,18-18-16,-18-18 0,-106 89 15,35-71 1</inkml:trace>
  <inkml:trace contextRef="#ctx0" brushRef="#br0" timeOffset="72856.61">16219 8197 0,'-18'18'16,"18"0"0,-17 17-16,-2-18 0,19 19 15,-34 16-15,16-16 0,1-1 16,-2 1-16,2-1 0,0 18 16,-1-36-16,0 19 0,18-18 15,-18 16-15,1-15 16,0 16-16</inkml:trace>
  <inkml:trace contextRef="#ctx0" brushRef="#br0" timeOffset="73343.78">16219 8144 0,'0'-17'15,"-18"17"-15,1 0 16,-54 53 0,35-36-16,19 1 15,0 0-15,-37 34 16,37-16-16,-19-1 16,36-18-16,-17 2 15,-1-2 1</inkml:trace>
  <inkml:trace contextRef="#ctx0" brushRef="#br0" timeOffset="73608">16113 8180 0,'18'0'0,"-1"17"16,0 1-16,2 0 16,-2-18-16,1 18 0,18-1 15,-19 0-15,0-17 16,1 19-16,0-2 16,0 1-16,-1-18 15,0 17-15,1-17 0,0 17 16,0-17-1</inkml:trace>
  <inkml:trace contextRef="#ctx0" brushRef="#br0" timeOffset="76036.82">15267 14917 0,'-18'-17'0,"0"17"16,-17 0-16,18-17 0,-2 17 0,-16 17 16,-1-17-16,-52 0 15,54 17-15,-37 2 16,54-19-16,-19 17 0,18-17 16,1 18-16,0-18 0,-2 17 15,19 2-15,0-2 0,19 0 16,15 19-16,-16-18 0,18-1 15,-19-17-15,54 35 16,-18 1-16,-18-19 0,-1-17 16,2 36-16,-18-36 15,-1 17-15,-17 1 0,0-1 16,0 2-16,-17-2 16,-37 18-16,20-35 15,-20 17-15,20 2 0,-20-2 16,2 0-16,-1-17 0,-35 18 0,52-18 15,1 18-15,18-18 16,-36 0-16,35 0 0,0 0 16</inkml:trace>
  <inkml:trace contextRef="#ctx0" brushRef="#br0" timeOffset="77063.92">15707 15077 0,'-35'-18'0,"18"18"16,-19 0 0,36 18-16,-35 0 15,35-1-15,-36 0 16,36 1-16,-17 18 16,-1-2-16,18-15 15,0-2-15,0 1 0,0-1 0,0 2 16,18-2-16,-1-17 15,-17 17-15,36-17 16,-36-17-16,35 17 16,-17-17-16,0 17 0,-1-36 15,0 18 1,-17 1-16,18-2 0,0 2 16,-18 0-1,0-1-15,18 18 16,-18 18 15,0-1-15,17 0-16,-17 2 31,0-2-15,17-17-16,2 18 15,-19-36 1,35 18-16,-18 0 15,2 0 1,-2 0 0,0 0-16,1 18 15,-1-18-15,2 17 16,-2 2 0,0-2 15,1-34 0,18 17-15,-19 0-16,-17-19 15,17 19-15,2 0 16,-2 19-16,1-19 16,-1 0-1,0 17-15,2-17 16,-2 0-1,1 0-15,-1 0 32,2 0-32,15 0 0,-34-17 15,18 17-15,0-19 0,0 2 16,-1 17-16,-17-18 16</inkml:trace>
  <inkml:trace contextRef="#ctx0" brushRef="#br0" timeOffset="77516.03">16484 15024 0,'0'-36'0,"0"19"15,-19 53 1,19-19-16,-17 18 16,17 1-16,-17 16 15,70-175-15,-124 299 0,35-52 16,36-89-16,-17 1 0,17-2 15,-17 2-15,17-1 16,0 1-16,-18-19 0,18 18 16,0-18-16,0 2 15,0-2-15,-18-17 16,36-17 0,0-2-16,-18 2 15,17-18-15,18-35 0,-17 52 16,17-35-16,-18 17 0,37-16 15,-37 35 1,2 17 0,-19-19-16,17 38 0,0-2 15,-34-17-15,17 35 16,-17-18 0,-2 2-16,2 15 0,-37 20 15,37-54 1,-18 34-16,35-68 47</inkml:trace>
  <inkml:trace contextRef="#ctx0" brushRef="#br0" timeOffset="77888.42">16713 15007 0,'0'-19'0,"-18"55"47,18-19-47,0 1 0,-18 18 15,18 16-15,0-34 0,0 17 16,0-18-16,0 37 0,18-37 16,-18 2-16,18-2 15,0 0-15,-1-17 16,0 0-16,-158-158 15,300 316-15,-123-175 0,-36 0 0,-106-283 16,229 581-16,-106-298 0,2-1 16,-19 53 31,0-16-47,0-2 15,17 0-15,1 1 16,-1-18-16,19 17 15,-19-17-15,1 0 0,18 0 16,-2 0-16,-16 0 16</inkml:trace>
  <inkml:trace contextRef="#ctx0" brushRef="#br0" timeOffset="79404.36">15001 16523 0,'0'-18'15,"-17"54"-15,0-18 0,17-1 0,-18 18 16,0 1-16,0 17 0,1-1 0,0 36 16,-1-35-16,0 35 15,0-34-15,18-37 0,0 19 16,-17-1-16,17-18 0,0 2 15,0-2-15,0 0 0,0 1 0,0 0 16,0 0-16,0-1 16,17-52 15,-17 17-31,0 0 0,0-16 16,0-2-16,0-52 15,18 34-15,-18 2 0,18-18 0,-18 16 16,18 1-16,-1 18 0,-17-18 15,17 18-15,1 17 0,0-17 16,17 0-16,-18 17 0,19 0 16,-1 18-16,1 0 15,-19 0-15,1 18 0,-1-18 16,-17 18-16,19 0 0,-19-1 0,0 0 16,0 1-16,0 0 0,0 0 0,-36 35 15,18-36 1,1 18-16,-19-16 0,19-2 0,-1 0 15,-18 1-15,19-1 0,0-17 0,-1 19 16,0-2-16,0-17 0,1 0 16</inkml:trace>
  <inkml:trace contextRef="#ctx0" brushRef="#br0" timeOffset="79741.07">15408 16735 0,'-71'124'47,"71"-107"-47,-18 18 0,18 1 15,0-19-15,0 0 0,18 19 16,53-318-16,-142 582 0,89-283 0,-1 0 15,0-17-15,2 0 16,-2 0-16,1 0 0,-1-17 16,2 0-16,-19-1 15,17 1-15,-17-2 0,0 2 0,-17 0 16,17-19-16,-36-16 16,36 33-16,-18 2 0,1-18 15,-2 18 1,2 17-16,17-19 0</inkml:trace>
  <inkml:trace contextRef="#ctx0" brushRef="#br0" timeOffset="80319.86">15760 16559 0,'0'34'16,"-17"-16"-16,17 0 0,0 17 16,0 1-16,-18-1 15,0 70-15,18-52 0,0 54 16,-18-55-16,18 1 0,0-18 16,0-16-16,0 15 0,0 2 15,0-1-15,-17-18 0,17 1 16,0 0-16,17-54 31,1 2-15,0-37-16,17 35 0,36-69 15,-35 51 1,-19 37-16,0 0 0,18-1 16,1 18-1,-19 18 1,-51 16-16,-2 2 15,18-18-15,1-1 16,-36 19-16,-1-1 16,20-18-16,-2 2 15,18-19-15</inkml:trace>
  <inkml:trace contextRef="#ctx0" brushRef="#br0" timeOffset="81727.61">16148 16805 0,'0'-17'15,"-17"52"17,17-18-32,0 2 15,0-2-15,0 0 16,0 1 0,0 0-16,17 0 15,0-18 1,2 0-16,-2 0 15,1-18 1,-1 18-16,2 18 31,-2 16-15,0-34 0,1 19-16,0-19 15,17 0 1,-18 0-16,-17-19 0,18 19 0,18-34 15,-2-2 1,-15 1-16,33-36 16,-33 1-16,-2 35 15,-17-1-15,17-17 0,1 1 16,-1 16 0,-17 18-16,-17 54 31,-1-18-31,18-1 15,-17 36-15,0 18 16,17-54-16,-19 37 16,19-37-16,0 18 0,19 1 15,-19-19-15,0 0 16,17 1-16,0 0 16,18 0-16,-16-18 15,-2-18-15,0 18 0,19 0 16,-1-18-16,-18 0 15,1 1-15,0 17 0,0-17 0,-1 17 16,-17-19-16,17 19 0,2-17 16,-19-1-16,17 18 15,-17-17-15,-36 52 32,19-18-17,0 2-15,17-2 16,-18 18-16,18-17 15,0 0 1,18-18 0,16 0-1,-34-18-15,19 18 16,-2-18-16,1 0 16,-1 1-1,-17 34 16,19 1-15,-2-18 15,0 0-31,-17-18 16,18 18-16,18-17 16,-19 0-16,18-19 0,-17 18 15,0-35-15,16 1 16,-34 33-16,19 2 0,-19 0 15,17-1-15,-17 0 0,18 0 16,-18 54 15,0-18-15,0 16-16,0-15 0,0-2 16,0 1-16,-18-1 15,18 54-15,0-54 0,0 19 16,0-1-16,-17-17 15,-2 0 1,2-18-16,0 17 16,-19-17-1,1-17 1,52-1 15,-17 0-15,36 0-16,-18 1 15,16 17-15,-15-17 0,-2 17 16,18 0 0,-18 0-16,2 0 15,-2 0-15,-17 17 16,18-17 0,-18 17-16,0 1 15</inkml:trace>
  <inkml:trace contextRef="#ctx0" brushRef="#br0" timeOffset="81847.97">17436 16681 0,'-17'-17'15,"34"34"-15</inkml:trace>
  <inkml:trace contextRef="#ctx0" brushRef="#br0" timeOffset="82212.59">17507 16664 0,'-18'17'0,"18"2"16,0-2-16,0 1 15,0-1-15,0 2 16,0-2-16,0 0 16,18-17-1,-1-17 1,0 0 0,-17-2-16,19 19 15,-19-17-15,17 34 47,-17 2-47,18-19 16,-1 17-16,0-17 15,2 0-15,-2 0 0,1 0 16,18-17-16,16 17 16,-34-19-16,17 2 15,-18-1-15,-17 1 16</inkml:trace>
  <inkml:trace contextRef="#ctx0" brushRef="#br0" timeOffset="82522.67">18759 15007 0,'17'-19'15,"2"19"-15,-2 0 16,0 0-16,1 0 0,0 0 0,0 0 16,-1 0-16</inkml:trace>
  <inkml:trace contextRef="#ctx0" brushRef="#br0" timeOffset="82658.84">18795 15288 0,'52'19'0,"-104"-38"0,122 19 0,-52 19 15</inkml:trace>
  <inkml:trace contextRef="#ctx0" brushRef="#br0" timeOffset="83048.75">18617 16805 0,'36'-17'0,"70"0"15,-89 17-15,2 0 16,-2 0-16,-17 17 0</inkml:trace>
  <inkml:trace contextRef="#ctx0" brushRef="#br0" timeOffset="83183.64">18829 17052 0,'54'-17'0,"-37"17"16,-88 17-16,159-52 0,-70 35 0</inkml:trace>
</inkml:ink>
</file>

<file path=ppt/ink/ink12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45:44.194"/>
    </inkml:context>
    <inkml:brush xml:id="br0">
      <inkml:brushProperty name="width" value="0.05292" units="cm"/>
      <inkml:brushProperty name="height" value="0.05292" units="cm"/>
      <inkml:brushProperty name="color" value="#0070C0"/>
    </inkml:brush>
  </inkml:definitions>
  <inkml:trace contextRef="#ctx0" brushRef="#br0">895 7219 0,'0'17'156,"54"-17"-140,-2 0 0,1 0-1,-18 0-15,18 0 16,18 0-1,-37 0-15,-15 0 16,16 0-16,1 0 16,-2 0-16,-16 0 15,-18 17 501,-35-17-516,18 0 16,-37 19-1,18-19-15,2 0 16,16 0-1,1 0-15,-2 0 16,2 0-16,-36 0 16,1 0-1,-2 0-15,20 0 16,-2 0 0,18 0-16,1 0 31</inkml:trace>
  <inkml:trace contextRef="#ctx0" brushRef="#br0" timeOffset="4080.71">754 14609 0,'17'0'46,"19"0"-30,-18 0 0,52 0 15,-16 0-31,-2 0 0,18 0 16,-16 0-16,-1 0 15,-18 0 1,-1 0-16,20 0 15,-37 0-15,2 0 16,-2 0-16,0 0 16,19 0 2312,-1 0-2313,0 0-15,-17 0 16,0 0-16,-1 0 16,0 0 15</inkml:trace>
  <inkml:trace contextRef="#ctx0" brushRef="#br0" timeOffset="6520.07">4546 7643 0,'53'0'94,"194"0"-78,-88 0-16,35 0 15,-52 0-15,34 0 16,-35 0-16,-36 0 16,-69 0-16</inkml:trace>
  <inkml:trace contextRef="#ctx0" brushRef="#br0" timeOffset="9176.71">5958 13180 0</inkml:trace>
  <inkml:trace contextRef="#ctx0" brushRef="#br0" timeOffset="10519.77">5958 5843 0</inkml:trace>
  <inkml:trace contextRef="#ctx0" brushRef="#br0" timeOffset="13169.08">4987 14909 0,'54'0'78,"16"0"-62,18 0-16,18 0 15,35 0-15,-53 0 16,53 0 0,-70 0-16,-36 0 15,1 0-15,-19 0 16,19 0 15,-19 0-15,18 0-1,-18 0 48,2-17-32,-2-19-15,-17 1-1,0-35 1,0 16 0,0 20-16,0-37 0,0 18 15,0-70 1,0 52-16,0 18 16,0 17-16,0 1 15,0 1-15,0 15 16,0-52-1,0 54-15,0-18 16,0 17 15,0 0 126,-36 18-126,-16 0-16,35 0-15,-36 0 16,-1 0 0,20 0-16,-20 0 0,1 0 15,-18 0 1,1 0-16,0 0 0,52 0 16,-17 0-16,-1 0 15,19 0 1,-1 0-16,1 0 0,0 0 15,-2 0 1,2 0-16,-1 0 16,1 0-16,-2 0 15,2 0 1,0 0 0,-1 0-1,0 0 1,0 0-1,1 0-15,0 0 16,-1 0 15,0 18-31,18 0 141,0 124-125,0-73-16,0 72 15,0-53 1,0-17-16,0-18 15,0 1-15,0 16 16,0-18-16,0-33 16,0 16-1,0-18 1,-18 0 15</inkml:trace>
  <inkml:trace contextRef="#ctx0" brushRef="#br0" timeOffset="16488.62">5993 14592 0,'36'17'78,"140"-17"-63,-18 0 1,36 0-16,18 35 16,-18-35-16,-88 19 15,-1-19-15,-34 0 16,-53 0-16,0 0 15,-1 0-15,0 0 16,2 0 15,50-19-15,-50 2-16,33-106 31,-16-1-31,-36 36 16,17-107-1,-17 73-15,0-2 16,0-52-16,0-19 16,0 19-1,0-17-15,0-19 0,-17 17 16,-19-34-16,-16-53 16,16 17-16,1 36 15,-35-53-15,52 70 16,-52 0-16,-1-176 15,-36-17 17,73 264-32,-20-18 15,2 18-15,-72-106 16,90 159-16,-20-19 16,18 55-16,-34-72 15,52 54-15,-34-1 16,-18-17-16,34 53 15,1-35-15,-18-18 32,-1 17-32,20 18 15,16 35 1,0-18-16,0 2 16,1 16-16,17-18 15,-17 2-15,17 15 16,-19 2-1,2-1 204,17 1-203,-18-19-16,18 1 31,-34 18-31,34-2 16,-36-51-1,18 35 1,1 35 0,17-36-1</inkml:trace>
  <inkml:trace contextRef="#ctx0" brushRef="#br0" timeOffset="17537.48">5939 8048 0,'-17'0'63,"0"35"-48,17 18-15,-18 0 16,1-18-16,-2 18 16,19-18-16,-17 1 15,17-1 1,-17 18-16,17-36 15,-18-17 110,18-88-109,0 0-16,0-18 16,18-124-1,35 125-15,-36 52 16,-17 1-16,0-2 16,0 37-1,18 0 32,-1 17-16,0 0-15,37 17-16,34 71 31,-52-71-31,-2 19 16,2-1-16,-18-35 15,-18 17-15,17 1 0,0-18 32</inkml:trace>
  <inkml:trace contextRef="#ctx0" brushRef="#br0" timeOffset="22927.8">19327 4537 0,'19'36'0,"-19"-18"0,0-1 0,0 0 15,0 2-15,0 16 0,17-18 16,-17 0-16,0 2 0,0 16 15,0 1-15,0-19 0,0 0 16,0 1-16,0 0 0,0 0 16,0-1-1,0-70 17,0 35-32,0 1 15,18-19-15,-18 19 0,17-1 16,-17-18-16,19 19 0,-19 0 0,17-1 15,-17 1-15,17-2 0,1 2 0,-1 17 16,-17-17-16,19 17 0,-2 0 16,0 0-16,1 17 0,0-17 15,0 17-15,-1 2 0,-17-2 16,17-17-16,-17 18 16,18-1-16,-18 0 0,0 2 0,18-2 15,-18 1-15,0-1 0,0 2 16,0-2-16,18 0 15</inkml:trace>
  <inkml:trace contextRef="#ctx0" brushRef="#br0" timeOffset="23113.67">19910 4679 0,'71'-18'16,"-54"1"-16</inkml:trace>
  <inkml:trace contextRef="#ctx0" brushRef="#br0" timeOffset="23299.47">20227 4503 0,'0'34'31,"0"-16"-31,18 18 16,-18-19-1,0 0-15,0 2 0,0-2 16,18 35-16,-18-16 15</inkml:trace>
  <inkml:trace contextRef="#ctx0" brushRef="#br0" timeOffset="23753.76">18905 4432 0,'-18'52'0,"18"-16"15,18-124-15,-36 211 0,18-105 16,0 17-16,0 1 0,0 16 16,18-16-16,-1 16 0,0-16 0,2 17 15,16-18-15,-18 0 0,19 1 16,-1-19-16,-18 0 0,72 37 16,-54-54-16,-18 0 0</inkml:trace>
  <inkml:trace contextRef="#ctx0" brushRef="#br0" timeOffset="24051.99">20298 3956 0,'212'159'0,"-177"-107"0,18 18 15,-18-16-15,-17 16 0,17-35 0,0 194 32,-35-175-32,0-1 0,-18-1 0,1 1 15,0 1-15,-1-2 16,-18 37-16,2-54 0,15 1 0,2-2 15,-1 1-15,1-16 0,0-2 0</inkml:trace>
  <inkml:trace contextRef="#ctx0" brushRef="#br0" timeOffset="27474.57">21991 4484 0,'18'0'15,"35"0"1,-18 0-16,-17-17 16,0 17-16,-1 0 0,19 0 15,-19 0-15,35-18 0</inkml:trace>
  <inkml:trace contextRef="#ctx0" brushRef="#br0" timeOffset="27749.32">22379 4132 0,'18'0'0,"-36"0"0,53 0 15,36 17 1,-53 1-16,17 0 0,-18 0 0,19-1 15,-18 0-15,16 19 0,-15-1 16,-19-18-16,0 2 0,17 16 16,-34-18-16,17 2 0,-19 33 15,2-16-15,0-19 0,-1 18 0,1-17 16,-19 0-16,19-1 0,-1 0 16,0 2-16</inkml:trace>
  <inkml:trace contextRef="#ctx0" brushRef="#br0" timeOffset="32515.63">24231 4149 0,'-17'18'31,"0"0"-31,-2 17 16,2-18-16,-1 2 0,1-2 0,-2 1 16,19 16-16,-17-15 0,0-2 15,17 1-15,-18 52 16,18-52-1,52-1 1,38-17 0,-73-17-16,18 17 0,1-18 15,-2 18-15,54-34 16,-52 34-16,-1-19 16,-16 2-16,-2 17 0,-17-18 15</inkml:trace>
  <inkml:trace contextRef="#ctx0" brushRef="#br0" timeOffset="32703.45">24319 4132 0,'-17'0'0,"17"35"32,0 1-17,0 17-15,0-18 0,17-1 16,-17 2-16,0-1 0,0 1 15,0-1-15,0 1 0,0-2 16,0-16-16,0 18 0,0-19 0,18 0 16,-18 2-16,0 16 0</inkml:trace>
  <inkml:trace contextRef="#ctx0" brushRef="#br0" timeOffset="33047.76">23367 4308 0,'176'-52'15,"-88"33"1,0 2-16,2 0 0,15-1 0,19 0 0,-19 0 16,1 1-16,0 0 15,0-2-15,18 2 0,-19-1 0,0 1 16,2 0-16,-19-2 0,0 2 0,-17-1 16,-18 18-16,-1-17 0,1 17 15,-35-19-15,18 19 0,-19 0 0,0 0 16,1-17-16</inkml:trace>
  <inkml:trace contextRef="#ctx0" brushRef="#br0" timeOffset="43129.74">24778 763 0,'0'-18'0,"-17"18"0,-19 0 15,1 18-15,18-18 16,-19 17-16,18-17 0,-16 19 15,-2-2-15,18 0 16,1-17-16,0 18 0,17 0 16,17 0-1,35-1 1,-33 0-16,-2-17 16,0 0-16,1 18 0,0-18 0,0 18 15,-1-18-15,0 0 0,1 18 16,0-1-16,-18 0 15,0 2-15,0-2 16,-18 1-16,18-1 0,-35 0 16,18-17-16,-37 54 15,37-54-15,0 17 16,-2-17-16,2 0 0,17 19 0,-18-19 16,1 0-16</inkml:trace>
  <inkml:trace contextRef="#ctx0" brushRef="#br0" timeOffset="43596.43">24902 763 0,'17'17'31,"-17"2"-31,0-2 0,0 36 15,0-35 1,0-1-16,-17 0 0,17 1 0,0 0 0,0 0 16,0-1-16,0 0 15,0 2-15,0-2 0,-17 1 16,-2-36 15,19-35-15,0 18-16,19 17 15,-19-17-15,0 18 0,0-1 16,17-18-16,0 19 0,1 0 0,-18-2 16,17 19-16,2-17 0,-2 17 0,0-18 15,1 18-15,0 0 0,17 18 16,-18-1-16,2-17 16,-19 19-16,0-2 0,17-17 15,-17 17-15,-17 1 0,-2 18 16,19-19-16,-17 0 0,0 1 0,-1 0 15,0 0-15,0-1 0,1 0 16,0 2-16,-2-2 0,2-17 16,-1 18-16,1-1 0,0-17 15,17 17-15</inkml:trace>
  <inkml:trace contextRef="#ctx0" brushRef="#br0" timeOffset="43882.59">25731 921 0,'88'0'15,"-70"0"1,16 0-16,2 0 16,-1 18-1</inkml:trace>
  <inkml:trace contextRef="#ctx0" brushRef="#br0" timeOffset="44055.5">25695 1116 0,'0'0'16,"36"0"15,52-19-15,-70 19-16,16 0 15,-15 0-15,16 0 0,-18 0 0,19 0 16</inkml:trace>
  <inkml:trace contextRef="#ctx0" brushRef="#br0" timeOffset="46213.46">27723 2015 0,'-17'-18'16,"70"36"-16,-18-36 0,18 18 15,18 0-15,17-17 0,0 17 0,19-17 16,-2-1-16,19 0 0,-1 18 0,-17-18 16,17 1-16,1 0 0,-1 17 15,-17-19-15,17 2 0,-16-1 0,-2 18 16,54-17-16,-89-2 0,-16 19 16,-2-17-16,1 17 0,-17 0 15,-19-17-15,18 17 0,-16 0 16,-2 0-16,35-18 15,-33 18-15,-2 0 16,-70 0 15,35 0-31</inkml:trace>
  <inkml:trace contextRef="#ctx0" brushRef="#br0" timeOffset="46920.81">28482 2263 0,'0'34'31,"0"-16"-15,0 0-16,0 0 15,0-1-15,-17 0 0,17 1 16,0 0-16,0 0 16,0-1-1,17-52 17,2 35-32,-19-18 15,17-17-15,18 0 16,-18 17-16,2 0 15,-2 18 1,18 0-16,-35 18 0,18-18 16,0 18-1,-18 0-15,17-18 0,-17 17 16,17 0-16,-17 1 16,19-18-1,-19 18-15,17-18 0,18 18 16</inkml:trace>
  <inkml:trace contextRef="#ctx0" brushRef="#br0" timeOffset="47125.14">28994 2351 0,'0'-18'16,"17"18"-1,19 0-15,-1 0 16,1-18 0</inkml:trace>
  <inkml:trace contextRef="#ctx0" brushRef="#br0" timeOffset="47339.98">29311 2156 0,'0'36'31,"0"-19"-31,0 1 16,0 35-1,-17-36-15,17 1 0,0 0 16,0 0-16,0-1 0,0 0 16,0 1-16,0 0 15,0 0-15</inkml:trace>
  <inkml:trace contextRef="#ctx0" brushRef="#br0" timeOffset="50547.58">26754 816 0,'-17'-17'0,"-2"17"15,2 17 1,-1 0 0,18 19-1,18-18-15,-18-1 0,17 36 31,2-53-31,-19 18 0,17-1 0,-17 0 16,17 2-16,-17-2 16,0 18-1,0-18-15,-17-17 16,-36 19 0,35-19-16,1 17 15,-2-17-15,2 0 0,0 0 0,-1 0 16,1 0-16,-2 0 0,2 0 15,0-17-15</inkml:trace>
  <inkml:trace contextRef="#ctx0" brushRef="#br0" timeOffset="50785.4">26401 675 0,'0'0'0,"-18"0"0,1 17 15,0-17-15,17 17 0,-19 2 0,2-2 16,-1 1-16,1 35 0,17-18 16,-19 1-16,19-2 0,0 2 15,0-18-15,0 16 0,0 2 0,0-1 16,19-18-16,-19 2 0,17 16 0,1-18 16,-18 19-16,17-19 0,2 1 15,-2-18-15,18 18 0,-18 0 16,2-18-16,-2 0 15</inkml:trace>
  <inkml:trace contextRef="#ctx0" brushRef="#br0" timeOffset="51124.55">26947 516 0,'54'35'0,"-37"-17"0,36 53 15,-35-36-15,-1 18 0,2-18 16,15 89 0,-16-72-16,-18-16 0,0-2 0,0 2 15,0 16-15,0-33 0,-18 33 16,1 55-16,0-73 0,-2 20 16,-33 16-16</inkml:trace>
  <inkml:trace contextRef="#ctx0" brushRef="#br0" timeOffset="51891.72">26578 3885 0,'35'-18'16,"-1"0"-1,-15 18-15,16 0 16,1 0-16,-19-17 0,0 17 16,1 0-16,0 0 0,0 0 15</inkml:trace>
  <inkml:trace contextRef="#ctx0" brushRef="#br0" timeOffset="52078.32">26630 4027 0,'0'0'0,"36"0"47,-19 0-47,1 0 0,-1 0 15,2-19-15,-2 19 0,0 0 16,1-17-16,0 17 0,17-18 0,-18 18 16,1-17-16,18 17 0</inkml:trace>
  <inkml:trace contextRef="#ctx0" brushRef="#br0" timeOffset="52625.79">27689 3744 0,'0'17'15,"0"-34"-15,-18 52 0,18-17 16,0 0-16,0-1 0,-17-17 15,-2 35-15,19-17 0,-17 0 16,0-1-16,-19 19 16,18-19-16,1-17 15,17 18-15,-17-18 0,-2 17 0,2-17 16,-1 0-16,1 0 0,-19 0 16,36-17-1,-17 17-15,17-18 0,0 1 0,-18-2 16,36-15-1,-18 16-15,17 0 16,2 0-16,-19 1 0,17 17 16,0 0-16,1-17 0,-1 17 15,19-18-15,-19 18 0,1-18 0,18 18 16,17 0-16,-18-18 16,-1 18-16,2 0 0,-18 0 15,18-17-15,-2 17 0,-16 0 0,0 0 16,17 0-16,-18-17 0,19 17 15,-18 0-15,-1 0 0,0 0 16,2 0-16,-2 0 16,1-19-16,-1 19 15,0 0 1</inkml:trace>
  <inkml:trace contextRef="#ctx0" brushRef="#br0" timeOffset="53959.59">28730 3691 0,'-19'17'16,"38"2"15,-2-19-16,1 0-15,35 17 16,-36-34-16,1 34 0,-1-17 16,-17 17-16</inkml:trace>
  <inkml:trace contextRef="#ctx0" brushRef="#br0" timeOffset="54140.37">28659 3956 0,'-18'0'16,"54"0"15,17 0-15,-36 0-16,1 0 16,16 0-16,2 0 0,-18 0 15,18 0-15,-2-19 0</inkml:trace>
  <inkml:trace contextRef="#ctx0" brushRef="#br0" timeOffset="54611.41">29858 3956 0,'36'0'16,"-19"-19"-16,18 19 15,-16 0-15,33 0 0,1-17 16,0 0-16,-1 17 0,2 0 16,16-18-16,-16 18 0,16-18 0,-18 18 15,2-18-15,-1 18 0,52-17 16,-51 17-16,-2-17 0,-16 17 15,-2 0-15,2-18 0,-18 18 0,16 0 16,-15 0-16,-2 0 0,1 0 16,-1-18-16,2 18 0,-2 0 15</inkml:trace>
  <inkml:trace contextRef="#ctx0" brushRef="#br0" timeOffset="55280.25">30387 4679 0,'-17'17'16,"17"-52"15,0 18-15,0-2-16,0 2 0,17 0 0,-17-1 16,0 0-16,18 0 0,-18 1 15,0 0-15,18 17 0,-18-19 16,0 2-16,18 17 15,-1 0 1,0 17-16,1 19 16,-18-19-16,18-17 15,-18 18-15,35 18 16,-18-36-16,-17 17 16,19-17-16,16 0 15,-18 0 1,-17-17-16,19 17 15,-19-18-15,17 0 0,-17 0 0,17 1 16,-17 0-16,18-19 0,-1 18 0,-17-35 16,19 36-16,-19-1 15,17 1-15,-17-2 0,0 2 0,0 0 16,0-1-16,0 1 0,17 17 16,-34-19-16,17 2 15,-17 17-15</inkml:trace>
  <inkml:trace contextRef="#ctx0" brushRef="#br0" timeOffset="56131.98">29435 3285 0,'-53'71'16,"36"-36"-16,-1 18 0,0 0 15,18-1-15,-18 19 0,1 0 0,0 17 16,-2 70-16,2-68 15,17-2-15,0 0 0,0 0 0,17 0 16,2-18-16,-2 18 0,18-17 16,-17 0-16,17-18 0,18-1 15,-1 1-15,-16 1 0,18-20 0,-2 2 0,1-1 16,0-18-16,-1 2 0,2-19 16,-20 0-16,20 17 0,70-34 15</inkml:trace>
  <inkml:trace contextRef="#ctx0" brushRef="#br0" timeOffset="56492.58">31339 3232 0,'71'107'16,"-142"-214"-16,161 284 0,-56-125 0,1 36 15,-16-17-15,-2 17 0,18 89 16,-17-106-16,-18 17 0,0 0 0,0 0 16,-18-17-16,0-1 0,1 18 15,-19-17-15,1-18 0,1 18 0,-2-19 16,1 1-16,-1-18 0,1 18 16</inkml:trace>
  <inkml:trace contextRef="#ctx0" brushRef="#br0" timeOffset="69134.36">5781 5684 0,'-18'-17'0,"1"34"16,17 0-16,-17 2 0,17-2 0,-19 54 15,19-19-15,-17 1 0,17 18 16,0-18-16,0 70 16,0 1-16,0-89 0,0 18 15,17 0-15,2-18 0,-19 1 16,34 16-16,-16-33 16,0-19-16,0 17 0,35 0 0,-36-34 15</inkml:trace>
  <inkml:trace contextRef="#ctx0" brushRef="#br0" timeOffset="69680.55">6134 5613 0,'17'36'32,"-17"-18"-32,18-1 15,0 0-15,-18 19 0,18 16 0,16 38 16,2-56-16,-36 20 0,18-2 16,-1 1-16,-17 0 0,17-18 0,-17 53 15,0-52-15,0 35 16,0-37-16,0 2 15,-17 35-15,17-54 0,0 18 16,0-16-16</inkml:trace>
  <inkml:trace contextRef="#ctx0" brushRef="#br0" timeOffset="71592.53">13771 3427 0,'0'-18'32,"88"18"-17,-69 0-15,-2 18 0,1-1 16,-1 0-16,-17 1 16,17 0-16,-17 0 0,0-1 0,0 0 15,0 19-15,0-18 0,-17-1 16,17 2-16,-17-2 0,-1 0 15,18 1-15,-17-1 0,-2 2 16,2-2-16,0-17 16</inkml:trace>
  <inkml:trace contextRef="#ctx0" brushRef="#br0" timeOffset="71846.45">14037 3497 0,'-19'-18'16,"2"36"15,-1 34-15,1-52-16,17 19 0,0-2 16,0 1-16,0-1 15,0 2-15,17-19 0,-17 17 0,18-17 16,-18 17-16,17-17 0,2 0 0,-2 0 15,0 0 1,1 0-16,0 0 0,34-34 16,-34-2-1</inkml:trace>
  <inkml:trace contextRef="#ctx0" brushRef="#br0" timeOffset="72269.44">13595 3232 0,'88'-17'16,"-70"17"-16,0 0 0,17-18 0,-18 18 0,1 0 15,0 0-15,34-17 16,-33 17-16,-2 0 0,1 0 15,-1 0-15,0 0 0,2 0 16,-2-19-16,1 19 16,-1 0-1,2 0 1,-19 19 0,17-19-16,-17 17 15,17-17-15</inkml:trace>
  <inkml:trace contextRef="#ctx0" brushRef="#br0" timeOffset="73547.53">14018 3497 0,'0'-18'31,"19"0"-15,-2 1 0,0 0-1,1 17-15,0-18 16,0 18-1,-1 0-15,-17-18 0,17 18 16</inkml:trace>
  <inkml:trace contextRef="#ctx0" brushRef="#br0" timeOffset="73856.07">14671 3339 0,'35'-19'16,"-16"19"-16,-2-17 16,0 17-16,1 0 0,-1 0 15,2 0-15,-2 0 0,0 0 16</inkml:trace>
  <inkml:trace contextRef="#ctx0" brushRef="#br0" timeOffset="74089.5">14689 3515 0,'17'17'31,"36"-34"-15,-18-1-1,-16 18 1,-2 0-16,18-18 0,18 0 31,-36 1-31</inkml:trace>
  <inkml:trace contextRef="#ctx0" brushRef="#br0" timeOffset="74511.36">15447 3091 0,'-17'0'0,"34"0"0,-70 0 15,36 0-15,-1 0 0,1 18 16,-2-18-16,2 18 15,0-18-15,-1 17 16,18 0-16,0 2 16,0-2-1,18-17-15,-1 35 0,0-35 16,2 17-16,-2 2 16,18 16-1,-16-35-15,-2 17 0,0 2 16,-34-2 15,0 0-31,-37 1 16,37 0-1,-19-18-15,36 18 0,-35-18 16,17 0 0,0 0-16</inkml:trace>
  <inkml:trace contextRef="#ctx0" brushRef="#br0" timeOffset="75490.45">15659 3180 0,'0'-19'16,"-18"19"-1,0 0 1,1 0-16,0 19 16,-1-19-16,18 17 15,-18-17-15,18 18 0,-18-1 16,18 0 0,0 2-1,0-2 1,18-17-1,0 0 1,0 0-16,16-36 31,-16 19-15,0 0 0,0-1 15,-1 36 16,-17-1-32,17 0 17,2 2-17,-2-19 1,1 0-1,-18-19 17,17 19-32,2 0 0,-2 0 15,0 0 17,1 0-17,-18 19 1,17-19-1,2 0 32,-2 0-31,-17-19-16,17 19 16,1 0-1,0 0 1,0 0-1,-1 19 1,0-2 31,2-17 0,-2 0-32,1 0 17,-1-17-32,0 17 15,2 0-15,-19-19 0,35 19 16,-18-17-16</inkml:trace>
  <inkml:trace contextRef="#ctx0" brushRef="#br0" timeOffset="76114.49">16258 2880 0,'0'17'47,"0"1"-47,0-1 0,0 2 16,0 15-16,19 20 0,-19-20 15,0-16-15,0 18 0,0-2 16,17 2-16,-17 35 0,0-36 0,0 18 16,0-18-16,17 1 15,-17 16 1,0-34-16,0 0 0,0-1 15,0 0-15,0 2 0,0-2 16,18 1 0,-18-53 31,0 16-47,0-15 15,18 16-15,-18-18 0,0 19 16,0 0-16,18-19 15,-18 18-15,0-16 0,0 15 0,17 2 16,-17-1-16,0 1 16,17-2-1,2 19 1,-2 0 0,1 19-16,-18-2 15,0 1-15,0-1 16,-18 2-16,18-2 15,-17-17-15,17 17 0,-19 1 0,2 0 16,0 0 0,-1-1-16,0-17 15,0-17 1</inkml:trace>
  <inkml:trace contextRef="#ctx0" brushRef="#br0" timeOffset="76522.89">16611 2915 0,'0'-18'15,"0"72"1,0-37-16,0 0 15,-17 18-15,17-16 16,0 15-16,0-16 0,0 0 16,17 0-16,-17-1 15,18 0-15,18 2 16,-19-19-16,0 0 0,1 0 16,0 0-16,17-19 15,-18 19-15,-17-17 16,19 17-16,-19-17 15,0 51 17,-19-34-17,38 19-15,-19-2 16,17 1 0,1-18-16,18 0 15,-19 0 1</inkml:trace>
  <inkml:trace contextRef="#ctx0" brushRef="#br0" timeOffset="77524.67">14318 4467 0,'0'17'0,"0"-52"31,19 35-31,-19-34 16,17 15-16,-17 2 15,0-1-15,17 1 0,-17-2 16,0 2-16,0-18 0,0 18 15,0-2-15,0 2 0,18 0 0,-18-1 16,0 0 0,0 0-16,0 1 15,0 52 17,17-17-17,2 0 1,-2-18-16,-17 17 0,17-17 15,19 0-15,-18-17 16,-1 17-16,0 0 0,1-18 16,0 18-16,-18-18 15,18 18-15,-18-18 0,17 1 16,-17 0-16,17 17 16,-17-19-16,0 55 46,0-19-46,19 1 16,-19 0-16,17 34 16,18-16 15,-16-36-31,-2 0 0,35 0 16,-33 0-1,33 0 1</inkml:trace>
  <inkml:trace contextRef="#ctx0" brushRef="#br0" timeOffset="77766.69">14971 4132 0,'18'-17'31,"-1"17"-31,19 0 16,-1 0 0,-18 0-16,2 0 15</inkml:trace>
  <inkml:trace contextRef="#ctx0" brushRef="#br0" timeOffset="77953">15042 4256 0,'-19'0'15,"55"0"1,-1 0-1,-16-19-15,-2 19 16,0-17-16,1 17 16,0 0-16,0-17 0</inkml:trace>
  <inkml:trace contextRef="#ctx0" brushRef="#br0" timeOffset="78932.57">15730 3920 0,'-19'17'16,"38"37"0,-19-37-1,0 2-15,0-2 0,0 0 16,0 18-16,0-16 0,0 15 0,0-16 0,0 18 15,0-19-15,0 19 0,0-19 0,0 1 16,0-1-16,0 0 16,0 2-16,0-2 0,0 1 15,0-53 17,0-36-17,17 54-15,-17-19 0,0 19 16,18-19-16,-1 18 15,-17 1-15,19 0 0,-19-2 0,17 2 16,0-1-16,1 36 31,-36 35-15,1-36-16,0-17 0,17 18 16,-19 0-16,2 0 0,-1-1 15,1 0-15,-2 2 16,55-55 15</inkml:trace>
  <inkml:trace contextRef="#ctx0" brushRef="#br0" timeOffset="79643.97">15941 4061 0,'0'35'0,"0"-16"16,18 15-1,-18-16 1,18-18-16,-18 18 0,17-18 0,0 0 16,2 0-16,-2 0 0,1 0 15,35-18 1,-36 0 0,1 1-16,-18 0 0,0-2 15,-18 2-15,18-1 16,-17 1-1,-2 17-15,2-17 0,0 17 16,-1 0-16,-18-19 16,55 2 31,-2-1-32,1 18-15,-18-17 16,17 17-16,0-19 15,2 19 1,-2 0-16,1 19 16,-1-19-16,-17 17 0,19 1 15,-2-1-15,-17 2 0,17 15 16,-17-16-16,0-1 0,0 2 16,18 15-16,-18-16 0,0 71 15,0-72-15,0 18 0,0-18 16,0 2-16,0-2 0,0 1 15,0-1-15,0 2 16,0-2-16,0-53 31,17 19-31,-17-1 16,36-87-16,17-19 16,-53 107-1,18-2-15,-1-16 16,19 1-16,-19 34 15,-17-19-15,18 19 16,-18 19 0,-18-2-1,18 0-15,-17 1 0,-2-18 0,19 17 16,-17 2-16,0-2 0,-1-17 16,18 17-1</inkml:trace>
  <inkml:trace contextRef="#ctx0" brushRef="#br0" timeOffset="80883.83">16577 4027 0,'0'-19'16,"-19"55"31,2-19-32,17 1 1,0-1-16,0 2 16,17-2-1,2-17-15,-2-17 16,0 17-1,1 0-15,0-19 16,0 19-16,-1 0 16,0 0-1,1 0 1,-18 19 0,18-19-16,0 0 15,-1-19-15,19-16 16,-19 35-1,-17-17-15,54-54 16,-54 54-16,0-19 0,17 19 16,-17-19-16,0 18 0,17 1 15,-17 0-15,0-1 0,0 0 0,0 0 16,18 1-16,-36 52 31,18-17-15,-17 52-1,17-52-15,0 34 16,17-33-16,-17-2 16,18-17-16,-18 18 0,17-18 15,2 0-15,15 0 16,-16 0-16,0-18 0,0 18 16,16-17-1,-15 17-15,-19-19 0,17 19 16,-34 19 31,-2-19-32,19 17-15,-17 1 16,17-1 0,0 2-1,17-2 1,2-17-1,-2 0-15,1-17 0,-1 17 16,0-19-16,2 2 16,16-18-1,-35 16-15,17 2 0,2 0 0,-19-1 16,17-18-16,0 19 0,-17-18 16,18 17-16,-1-17 0,2-1 15,-2 19-15,-17-1 16,17 1-16,-17 0 0,18 17 0,-18-19 15,18 55 1,-18 16 0,0-33-1,0-2-15,0 0 0,-18 1 0,18 18 16,-18-19-16,18 0 0,0 1 16,-17 0-16,0 17 15,-2-18-15,2-17 16,34-17 46,2 0-46,-2-1-16,36 0 16,-53 0-16,18 18 15,-1-17-15,0 17 16,-17-17-16,19 17 0,-2 0 15,1 0-15,-1 0 16,-17 17 0,0 0-1,0 1-15,0 0 16,0 0 0</inkml:trace>
  <inkml:trace contextRef="#ctx0" brushRef="#br0" timeOffset="81023.6">17723 3656 0,'0'-36'15</inkml:trace>
  <inkml:trace contextRef="#ctx0" brushRef="#br0" timeOffset="81565.42">17863 3708 0,'0'19'0,"-17"-2"16,17 0-16,-17 1 16,34 0-1,-17 0 1,17-18-16,2 0 0,-2 0 15,1-18 1,-1 0 0,-17 0-16,0 1 15,-17 17 1,17-17-16,-18-2 31,36 55 16,-1-36-47,19 17 16,-1 1-1,1-18 17,-2 18-17,-16-18 1,0-18-16,0 18 0,16-18 31,-16 18-31,-18-17 0</inkml:trace>
  <inkml:trace contextRef="#ctx0" brushRef="#br0" timeOffset="82073.39">17917 2809 0,'105'-36'0,"-86"36"0,15-17 16,-16 17-16,0 0 0,34 0 16,-16 0-16,-18 0 0,16 17 15,-15-17-15,-2 36 16,-17-18 0,18 35-16,-1-36 15,-17 1-15,0 18 0,19-19 0,-19 18 16,17 1-16,18 86 15,-18-86-15,2 16 0,-2-16 16,0 18-16,-17-20 0,36 54 16,-36-52-16,18-1 0,-18 36 15,0-54-15,17 19 0,-17-1 16,0-18-16,0 19 0,0-19 16,0 19-16,0-18 0,-17 16 0,17-16 0,0 0 15,-18 0-15,18-1 0,-18 0 16,0 2-16,1-2 0,-19 1 15,19-1-15,-18-17 0,18 19 16,-19-19-16,-18 17 0,20-17 0,-2 0 16,-34 0-16</inkml:trace>
  <inkml:trace contextRef="#ctx0" brushRef="#br0" timeOffset="82927.69">13947 2668 0,'-17'-17'16,"0"17"-16,51 17 0,-86-34 0,16 17 15,19 0-15,0 0 0,-19 0 16,1 0-16,0 17 0,-1-17 0,19 17 16,-19-17-16,1 18 0,-1 0 0,2 0 15,-1-1-15,-1 0 0,19 19 16,-19-18-16,18 16 0,1-15 0,0 16 16,-2 35-16,19-35 15,0 1-15,0-1 0,0 1 0,0 17 16,0-1-16,0 1 0,19 18 15,-19-18-15,17-1 0,-17 19 0,17 0 16,-17-1-16,0 1 0,18 0 0,0-1 16,-18 1-16,18 0 0,-18-2 15,17 2-15,0-18 0,-17 71 16,19-72-16,-19 1 0,17 1 16,-17 34-16,0-54 15,18 37-15,-18-35 0,0-19 0,0 18 16,0-16-16,0-2 15,17 0-15,-17 1 0,17 0 0,2-18 16,-2 0-16,1 0 0,-1 18 16,2-18-16,15 0 0,-16 0 15,18-18-15,-2 18 0,-16 0 0,18 0 16,-2 0-16,2 0 0,-1 0 0,-18 0 16,19-18-16,-1 18 0,18 0 15,-35 0-15,0 0 0,17 0 16,-18 0-16,1 0 0,0 0 15,0 0-15,-1 0 16</inkml:trace>
  <inkml:trace contextRef="#ctx0" brushRef="#br0" timeOffset="108946.04">7386 6460 0,'-17'0'94,"-18"0"-78,-18-17-1,17-1-15,1-18 16,-53 19-16,35-18 16,-35-18-16,70 36 15,-35-19-15,18 18 16,17 1-16,-34-2 16,16-15-1,18 34 16</inkml:trace>
  <inkml:trace contextRef="#ctx0" brushRef="#br0" timeOffset="112008.97">6805 6319 0,'0'-18'62,"-19"1"-46,2 0-16,17-19 15,-18 1-15,1-1 16,17 19 0,0-1-16,0 1 15,0-2 1,0 2-16,0 0 16,0-1-1,17 18 157,71 0-156,-52 0-16,35 0 15,-19 0 1,-35 0 0,2 0-1,-2 0 1,-34 0 421,-19 0-421,1 0 0,18 0-1,-19-18-15,19 18 31,-1 0-15,0 0 0,0 0-16,1-18 15,0 18-15,-2 0 32,2 0-1,-18-17 0,35 34 188,0 1-219,0 0 15,0 0 1,0-1-16,0 0 16,0 2-16,0 16 15,0-18-15,0 19 16,0-19 0,0 18-16,0-16 15,0 15 1,0-16-1,0 0 1,0 0 0,0-1-16,0 0 31,0 1-15,0 0-16,0-36 234,0-17-218,0 18-1,0-37-15,17 20 16,-17 15-16,0 2 0,0-18 15,0 16-15,0-15 16,0 16-16,0 1 16,0-2-1,0-15 1,0 16 0,0 0-16,0 0 15,0 1 1,18 0 109,-1 17-110,19 0 1,-19 17-16,1-17 0,18 0 16,-2 35-1,-15-35 1,-2 0-16,1 0 0,-1 0 16,0 0-1</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701"/>
    </inkml:context>
    <inkml:brush xml:id="br0">
      <inkml:brushProperty name="width" value="0.025" units="cm"/>
      <inkml:brushProperty name="height" value="0.025" units="cm"/>
      <inkml:brushProperty name="ignorePressure" value="1"/>
    </inkml:brush>
  </inkml:definitions>
  <inkml:trace contextRef="#ctx0" brushRef="#br0">129 1,'-4'4,"-5"7,-3 5,2 4,-2 4,0 1,-1-2,2-2,2 0,-2-3,2-1,1 3,3 0,2-3</inkml:trace>
</inkml:ink>
</file>

<file path=ppt/ink/ink13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47:51.129"/>
    </inkml:context>
    <inkml:brush xml:id="br0">
      <inkml:brushProperty name="width" value="0.05292" units="cm"/>
      <inkml:brushProperty name="height" value="0.05292" units="cm"/>
      <inkml:brushProperty name="color" value="#0070C0"/>
    </inkml:brush>
  </inkml:definitions>
  <inkml:trace contextRef="#ctx0" brushRef="#br0">1287 4392 0,'-17'18'15,"-1"0"1,1-1 0,17 0-16,-17 2 0,-2-2 15,-16 35 1,18-33-16,17-2 0,-19 1 16,19-1-16,-34 2 0,34-2 15,-18 0-15,18 1 0,-18 0 16,0 0-16,18-1 0,-17 0 15,17 1 1,-17-18-16</inkml:trace>
  <inkml:trace contextRef="#ctx0" brushRef="#br0" timeOffset="341.36">918 4533 0,'-19'0'0,"38"0"15,-2 17 16,0-17-31,1 19 0,-18-2 16,36 18-16,-19-16 0,18-2 16,-17 0-16,0 1 15,16 18-15,-15-19 0,-2 0 16,1-17-16,-1 18 0,2 0 16,-2-18-16,0 0 15,1 0 1,-1 0-16</inkml:trace>
  <inkml:trace contextRef="#ctx0" brushRef="#br0" timeOffset="740.36">1447 4586 0,'35'-36'32,"-18"36"-32,0-17 15,19 17-15,-36-17 16,18 17-16,-1 0 0,19 0 15,-19 0-15,1 0 0</inkml:trace>
  <inkml:trace contextRef="#ctx0" brushRef="#br0" timeOffset="1500.83">1906 4798 0,'17'-18'32,"-17"0"-17,17-16-15,-17 16 16,0-18 0,0-17-16,-17 36 0,17-1 15,0 1-15,0-19 16,-17 19-16,17-1 0,0 1 15,0-2 1,17 55 15,-17-18-15,17-1 0,1 0-16,-1-17 0,-17 19 15,19-19-15,-2 0 16,18-19-16,-17 2 15,0 0-15,-1-18 16,0 16-16,1 2 16,-18 0-16,18 17 15,0 0 1,-1 17-16,0 0 16,-17 2-16,19-2 0,-2 18 15,1-18 1,-1 2-16,19 16 15,-19-18-15,1-17 16</inkml:trace>
  <inkml:trace contextRef="#ctx0" brushRef="#br0" timeOffset="2068.48">652 4604 0,'-17'0'0,"17"36"0,17-19 15,-17 0-15,18 19 0,-18-18 16,36 87-16,-19-69 16,19 104-16,-19-87 15,18-17-15,-16-1 0,-2 0 0,0 1 16,1-19-16,18 0 16,-2 2-16</inkml:trace>
  <inkml:trace contextRef="#ctx0" brushRef="#br0" timeOffset="2499.42">2328 4110 0,'35'71'0,"-16"-19"16,-2-16-16,0-1 15,37 106-15,-1-17 16,-36-89-1,1 1-15,16-2 0,-34-16 16,19 0-16</inkml:trace>
  <inkml:trace contextRef="#ctx0" brushRef="#br0" timeOffset="9440.2">1694 5504 0,'0'-18'16,"17"53"46,0 0-46,-17-17-16,18 0 16,-18-1-16,18 19 0,-18-19 0,18 1 15,-1-1-15,-17 2 16,0-2-16,17 0 0,-17 1 16,0-1-16,19-17 0</inkml:trace>
  <inkml:trace contextRef="#ctx0" brushRef="#br0" timeOffset="9883.81">1676 5574 0,'0'0'0,"18"-18"0,-1 0 16,0 1-1,19 17-15,-18 0 16,-1 0-16,0 0 0,2 0 0,-2 0 16,1 0-16,-1 0 0,-17 17 15,19-17-15,-2 18 0,0 0 16,-17 0-16,18-1 0,-18 0 0,0 19 16,0-18-16,0-1 0,-18 2 15,18 15-15,-17-34 16,17 18-16,0-1 0,-17-17 0,17 19 15,-19-19-15,19 17 0,-17 0 16</inkml:trace>
  <inkml:trace contextRef="#ctx0" brushRef="#br0" timeOffset="10892.28">2046 5785 0,'18'-35'0,"-18"18"0,0 0 31,-18-19-15,18 18-16,-18 1 15,1 34 32,17 1-31,0-1-1,17 2-15,-17-2 16,18-17-16,0 0 16,0 17-16,-18-34 15,17 17 1,0-17-1,1-2-15,-18-16 16,0 18 0,0-2-16,0 2 15,0 0 1,18 17 0,0 0-1,-1 17-15,0-17 16,-17 17-16,19-17 15,-19 19-15,17-19 0,1 17 16,-1-17-16,-17 18 16,19-18-16,-2 17 15,0-34 17,-17-1-1,0 1-16,0-2 1,0 2-16,0 0 31,0-1-15,18 0 0,-1 0-1,-17 1 1,19 17-16,-19-17 15,17-1 1,0 36 31,19-1-31,-36 0-1,18-17-15,-18 18 0,17 0 16,0 0-1,-17-1 1</inkml:trace>
  <inkml:trace contextRef="#ctx0" brushRef="#br0" timeOffset="11075.69">2416 5328 0,'-17'0'16</inkml:trace>
  <inkml:trace contextRef="#ctx0" brushRef="#br0" timeOffset="11989.91">2646 5380 0,'-18'0'0,"1"0"16,-2 0-1,2 36 1,0-36-16,17 17 0,0 0 16,-18 1-1,18 0-15,18 0 16,-18-1-16,34-17 31,-15 0-31,-19-17 0,17 17 16,1-18-16,-1 0 15,2 18 1,-19-18-16,17 18 16,0 0-1,1 18 16,-1-18-31,2 0 0,-2 0 16,0-18 0,19 1-1,-36 0-15,0-2 0,18 19 16,-18-17-16,0-1 0,0 1 16,0 0-16,0-19 0,-18 1 15,18-1-15,0 19 0,0-19 16,0 18-16,-18 1 0,18 0 15,0-1-15,0 0 0,0 0 16,18 54 15,0-18-31,-18-1 0,0 0 0,17 1 16,0 18-16,2-19 16,-19 0-16,17 2 0,-17-2 0,18-17 15,-1 18-15,0-18 16,2 0-16,16 0 15,-18-18-15,2 1 16,-2 17 0,-17-19-16,17 19 15,1 0-15,0 19 32,0-2-32,-1-17 15,-17 18-15,17-18 0,1 0 16,0 17-1,0-17-15</inkml:trace>
  <inkml:trace contextRef="#ctx0" brushRef="#br0" timeOffset="12164.86">3192 4992 0,'-17'-18'16</inkml:trace>
  <inkml:trace contextRef="#ctx0" brushRef="#br0" timeOffset="12341.31">2734 5257 0,'36'-19'32,"-2"2"-17,-16 17-15,35-17 0,-17-1 16,-19 18-16,18-18 0</inkml:trace>
  <inkml:trace contextRef="#ctx0" brushRef="#br0" timeOffset="12939.65">3475 5098 0,'0'35'0,"0"-18"16,0 1-16,17 18 15,1-19 17,0-17-32,0-17 15,-1-1 1,-17 0 0,0 0-1,-17 1-15,-1 17 16,0-17-16,0 17 15,1 0-15,0 0 32,51 17-1,2-17-15,-18 0-16,-1 0 15,0 17 1,19-17-1,-18-17 1,-1 17 0,0 0-16,2 0 15,-2-17 1,1 17-16,-1-18 16,19 18-1,-19-18-15,1 18 0,-1 0 16,2 0-1,-2 0 1,0 0 0,1-18-1</inkml:trace>
  <inkml:trace contextRef="#ctx0" brushRef="#br0" timeOffset="44636.53">13247 3933 0,'53'0'0,"-35"-17"0,-1 17 15,0 0-15,1 0 0,35 0 16,-36-18-16,19 18 0,-18 0 16,-1 18-16</inkml:trace>
  <inkml:trace contextRef="#ctx0" brushRef="#br0" timeOffset="44847.54">13370 4145 0,'-18'17'0,"54"-34"47,-18 17-31,16 0-16,-15 0 0,-2 0 16,1-17-16,-1 17 0,71 0 15,-52-18-15,-19 18 16,19 0-16</inkml:trace>
  <inkml:trace contextRef="#ctx0" brushRef="#br0" timeOffset="45664.89">16492 3405 0,'0'-19'0,"0"55"31,0-18-31,0 16 0,18 2 16,-18-1-16,0 1 0,17-1 15,-17 18-15,19-18 0,-2 54 16,0-72 0,-17 1-16,0-1 0,18 0 0,0 2 31</inkml:trace>
  <inkml:trace contextRef="#ctx0" brushRef="#br0" timeOffset="45891.42">16334 3669 0,'0'0'16,"-18"0"-16,18-17 0,52-1 31,-33 18-15,-2 0-16,37 0 0,-20 0 15,1 0-15,1-18 0,-1 18 16,1 0-16,17 0 0,-18-18 0,53 1 16</inkml:trace>
  <inkml:trace contextRef="#ctx0" brushRef="#br0" timeOffset="46220.43">17480 3352 0,'-106'53'0,"71"-36"16,18-17-16,-1 18 0,0-1 0,0 0 15,-16 2-15,34-2 16,-19 1-16,2-1 0,17 2 15,17-2 1,2-17-16,-2 0 16,18 0-16,-17 17 0,34-17 15,-16-17-15,-1 17 16,18 0-16,-18 0 0,18-17 16,53-2-1,-106 2-15,36-1 16</inkml:trace>
  <inkml:trace contextRef="#ctx0" brushRef="#br0" timeOffset="46447.74">17551 3264 0,'-17'0'0,"34"0"0,-34 17 15,-2 0-15,19 1 16,0 0-16,-17 17 0,17-18 15,0 2-15,0 16 0,0-18 16,0 36-16,0-35 16,0 18-16,0-19 0,0 0 0,0 19 15,0-18-15,17 16 16,-17-16-16,19-18 0,-19 18 16,17-18-16,0 0 0,1 18 15</inkml:trace>
  <inkml:trace contextRef="#ctx0" brushRef="#br0" timeOffset="46873.59">18486 3298 0,'-18'18'31,"18"0"-31,0 0 0,0-1 16,0 0-16,0 2 16,0-2-16,0 1 0,0 16 0,0-15 0,18 16 15,-18 1-15,0-19 0,17 18 16,-17-17-1,0 0-15,17-18 0,-17 17 0</inkml:trace>
  <inkml:trace contextRef="#ctx0" brushRef="#br0" timeOffset="47058.07">18344 3457 0,'106'-35'16,"-53"35"-16,-36 0 15,19-17-15,-1 17 0,-16 0 16,33-19-16,-16 19 16</inkml:trace>
  <inkml:trace contextRef="#ctx0" brushRef="#br0" timeOffset="47378.57">19208 3228 0,'-17'17'32,"0"-17"-17,-1 19-15,18-2 0,-18-17 0,0 17 16,-35 37-1,1-20-15,35-15 16,-2-2-16,2 18 16,-1-35-16,18 17 0,0 2 15,0-2 1,18-17-16,-18 18 0,17-18 16,19 0-16,-19 17 0,1-17 15,18 0-15,16 0 0,1-17 16,-17 17-16,-19 0 15,18-18-15,1 1 16,-1-2-16</inkml:trace>
  <inkml:trace contextRef="#ctx0" brushRef="#br0" timeOffset="47585.26">19156 3228 0,'-18'0'15,"36"0"-15,-36 17 0,0 19 16,1-19-16,17 1 0,0 18 16,-17 17-16,17-18 0,0-1 0,0 2 15,0-1-15,0-16 0,0 15 16,0 20-16,0-20 16,17 2-16,0-18 0,1-1 15,0-17-15,0 0 16</inkml:trace>
  <inkml:trace contextRef="#ctx0" brushRef="#br0" timeOffset="47852.38">19703 3386 0,'52'0'15,"-33"0"-15,-2-17 16,0 17-16,19 0 0,16-17 15</inkml:trace>
  <inkml:trace contextRef="#ctx0" brushRef="#br0" timeOffset="48176.56">20462 3176 0,'-19'34'16,"2"-34"-16,17 18 16,-18-1-16,1 2 0,-2-2 0,2 0 15,-18 19-15,-1-1 16,36-18-16,-17 19 16,0-36-1,17 18-15,17 16 16,0-34-16,54 19 15,-54-19 1,19 0-16,-18 0 0,106 0 16,-54-19-1,-35 2-15,-18 17 16,2-17-16,-2-1 0</inkml:trace>
  <inkml:trace contextRef="#ctx0" brushRef="#br0" timeOffset="48389.11">20514 3193 0,'0'35'0,"0"-70"0,-18 87 0,18-33 16,0-2-16,0 88 16,0-69-16,0-18 15,0 16-15,18 20 16,-18-37-16,18 36 0,-18-35 15,0 0-15,18 17 0,-1-35 16,0 17-16,1-17 0,0 0 16</inkml:trace>
  <inkml:trace contextRef="#ctx0" brushRef="#br0" timeOffset="48703.31">21202 3352 0,'17'0'0,"2"-18"0,-2 18 15,0 0-15,37 0 16,-37-18-16,0 18 16,1 0-16,0 0 0,17 0 15,-18-18-15</inkml:trace>
  <inkml:trace contextRef="#ctx0" brushRef="#br0" timeOffset="49025.92">21855 3105 0,'-36'17'31,"36"1"-31,-17-18 15,-18 36-15,16-36 0,19 17 16,-17 0-16,0 18 16,-1-35-16,18 19 0,-18-2 15,0 0-15,18 1 0,0 0 16,0 0 0,18-1-1,0-17-15,0 17 0,-1-17 0,19 0 16,16 0-1,-35-17-15,2 17 0,16 0 0,-18 0 16,2-17-16,15 17 0,-16-18 0,0-18 16,17 19-16</inkml:trace>
  <inkml:trace contextRef="#ctx0" brushRef="#br0" timeOffset="49231.93">21943 3034 0,'-71'106'0,"71"-89"0,0 19 16,0-1-16,0-18 0,0 19 0,18 35 15,-18-37-15,0 2 16,0-1-16,17-18 0,-17 19 16,0 52-16,0-70 15,0 0-15,0 0 0,0-1 16,-17 18-16,-1-17 15</inkml:trace>
  <inkml:trace contextRef="#ctx0" brushRef="#br0" timeOffset="49796.48">16968 4621 0,'71'-17'0,"-18"17"16,106-35-1,-54 16-15,19 2 0,35 0 0,17-18 0,177-18 16,-159 35-16,18-18 0,0 19 15,17 0-15,-17-19 16,17 18-16,-1-16 0,2 15 0,-18-16 16,0 18-16,193-36 0,-228 35 15,-18-18-15,0 19 0,70-18 16,-141-1-16</inkml:trace>
  <inkml:trace contextRef="#ctx0" brushRef="#br0" timeOffset="50591.4">19896 4745 0,'54'-35'16,"-72"53"-1,0-1 1,0-17-16,-16 17 0,16-17 15,0 18-15,-17 0 0,18-18 16,-2 18-16,19-1 16,0 0-1,19-17-15,-2 19 0,0-19 0,19 17 16,-18-17-16,-1 18 16,18-18-16,1 17 0,-2-17 15,-15 17-15,-2-17 0,1 0 16,-1 19-16,-34-2 15,17 1 1,-18-18-16,1 17 0,-19-17 0,1 19 16,-1-2-16,19-17 15,-18 17-15,-1 1 16,2-18-16,15 0 16,2 18-16,-1-18 15</inkml:trace>
  <inkml:trace contextRef="#ctx0" brushRef="#br0" timeOffset="51159.14">19879 4780 0,'-17'36'15,"-19"-2"1,-16 2-16,33-1 15,-16 1-15,18-19 0,-19 18 0,19 1 16,-1-19-16,1 1 16,17 0-16,-19 0 0,38-1 15,-2-17 1,1 0-16,35 0 16,18-17-16,-19 17 0,18-18 15,-16 18-15,-1-18 0,18 0 16,34-16-16,71-20 15,-159 54 1,19-17-16,-18-2 16,-36-15-1</inkml:trace>
  <inkml:trace contextRef="#ctx0" brushRef="#br0" timeOffset="51373.64">19914 4745 0,'0'35'15,"0"18"-15,18-36 0,0 54 16,-18-18-16,17 1 16,-17-2-16,17 54 0,-17-71 15,0 1-15,19 69 16,-19-70-16,0-16 0,17 15 0,-17-16 15,0 0-15,0 17 16,0-18-16</inkml:trace>
  <inkml:trace contextRef="#ctx0" brushRef="#br0" timeOffset="51843.24">23442 3686 0,'53'-17'31,"-36"0"-31,1 17 16,0 0-16,17-18 16,18 18-16,-18 0 0,1 0 15,-19 18 1</inkml:trace>
  <inkml:trace contextRef="#ctx0" brushRef="#br0" timeOffset="52008.46">23424 4004 0,'54'18'0,"-37"-18"15,0 0-15,1 0 0,52 0 16,-16 0-16,16-18 15,-35 18-15,1-18 0,-1 18 16,18-34-16,18-20 0</inkml:trace>
  <inkml:trace contextRef="#ctx0" brushRef="#br0" timeOffset="61628.36">26088 3034 0,'-36'18'0,"19"-18"0,17 17 16,-17-17-16,17 17 0,0 2 15,-18-2-15,18 1 0,0-1 0,0 2 16,-18-2-16,18 18 0,0-18 16,18 2-16,-18 15 0,0 2 15,18-18-15,-1-1 0,-17 0 16,17 2-16,1-2 0,0 1 16,17-18-16,-18 0 0,2 0 0,-2 0 15,18 0-15,-16 0 0,15 0 0,-16-18 16,35 1-1,-18-19-15,-17 19 0,0-1 0,-1-35 16,0 36-16,-17-2 16,0-16-16,0 18 0,0-19 15,0 19-15,-17-18 0,0 16 0,-1-15 0,-18-1 16,2-1-16,-2 19 16,1-1-16,18 0 0,-19 0 0,-18 1 15,2 17-15,34 0 0,-17 0 16,18 0-16,-1 17 15,0 1-15,18 0 0,-18-18 16,18 18-16,0-1 0</inkml:trace>
  <inkml:trace contextRef="#ctx0" brushRef="#br0" timeOffset="61949.28">26864 3157 0,'-17'36'0,"-36"-1"16,17 18-16,-35 35 15,19-35 1,16-18-16,-16 18 0,16 18 0,-69 34 16,-2 2-16,55-55 15,-1 1-15,-1-18 0,20 18 16,-37 1-16,36-2 16,17-34-16,0 0 0</inkml:trace>
  <inkml:trace contextRef="#ctx0" brushRef="#br0" timeOffset="62277.49">26740 3933 0,'-176'89'16,"106"-37"-16,52-16 15,-18-18-15,19 16 0,0-15 0,-1-2 16,0 1-16,0-1 0,18 2 16,0 15-16,18-16 15,0-1-15,0 2 0,-1-19 16,18 0-16,-17 17 0,17-17 0,1 0 0,35 0 15,17-17 1,-54-2-16,2 19 0,-1-17 16,18-1-16,-35 1 0,-1 17 15,0-17-15</inkml:trace>
  <inkml:trace contextRef="#ctx0" brushRef="#br0" timeOffset="62495.36">26864 3862 0,'-17'0'0,"-2"0"15,-15 19-15,34-2 16,-18-17-16,18 35 0,0-16 16,-18-2-16,18 54 0,-18-19 15,18-16-15,0-2 0,0 20 0,0 51 16,0-69-16,0-1 16,0 1-16,18 34 0,-18-52 15,18-1-15,-18 19 0,18-19 16,-1 1-16,0-18 15,2 0-15,-2-18 0,1 18 16</inkml:trace>
  <inkml:trace contextRef="#ctx0" brushRef="#br0" timeOffset="62779.97">27746 3386 0,'53'-17'31,"35"0"-15,-17-1-16,-37 18 0,20 0 16,-37 0-16,2 0 0,-2 0 15,-17 18-15</inkml:trace>
  <inkml:trace contextRef="#ctx0" brushRef="#br0" timeOffset="62982.41">27675 3722 0,'88'18'15,"-17"-18"-15,-35-18 16,-2 18-16,37 0 0,70-18 16,-35 0-1,-70 18-15,17-17 16,-36 17-16,18 0 15,-18 0-15</inkml:trace>
  <inkml:trace contextRef="#ctx0" brushRef="#br0" timeOffset="69265.42">29722 3086 0,'0'-17'15,"-36"34"1,18 19-16,-16 18 16,34-20-16,-18 20 15,18-20-15,18 2 0,-18-18 16,17-1-16,0 0 15,1 2-15,0-2 0,17 1 0,18-1 16,-18-17-16,-18 0 16,37-17-16,-37-1 15,19 1-15,-36-2 16,0-15-16,0-2 0,0 18 16,0 1-16,-36-19 0,19 1 15,-1 18-15,-18 0 16,-16-2-16,-1 19 15,36 0-15,-19 19 16,1-19-16,18 17 16</inkml:trace>
  <inkml:trace contextRef="#ctx0" brushRef="#br0" timeOffset="69464.34">30392 3122 0,'18'0'16,"-89"88"0,35-53-16,-33 36 15,-21 18-15,38-54 16,16-1-16,-34 37 16,52-52-16,-16 15 0,15 2 15,496-548-15</inkml:trace>
  <inkml:trace contextRef="#ctx0" brushRef="#br0" timeOffset="69638.7">30586 3264 0,'-35'34'15,"16"-16"-15,-15 0 0,-1 17 16,-1 1-16,-35 33 15,1 21-15,35-56 0,-1 2 16,1 16-16,-18 19 16,36-54-16</inkml:trace>
  <inkml:trace contextRef="#ctx0" brushRef="#br0" timeOffset="70179.49">30286 3898 0,'53'-36'0,"-18"19"16,18 0-16,35-37 0,-52 20 15,69-54-15,54-90 16,-71 38-1,36-108-15,-89 160 16,-811 988-16,1588-1888 0,-795 918 0,-17-142 16,-17 160-16,-19-2 15,-16 20-15,-107-37 0,70 52 16,-105 2-16,-18 53 16,71-1-16,0 18 0,-247 159 15,282-124 1,-70 88-16,123-105 0,-35 70 15,71-70-15,-2 105 16,72-52 0,1-72-16,87 54 0,35-35 15,36-36 1,-107-18-16,107-17 16,-89-17-16,89-37 0,-105 37 15,86-71-15,-17 0 16,-105 35-16,-1-18 0,54-52 15,-53 17 1,-54 54-16,-34-55 0,-36 55 16,-1 16-16,-51 19 15,-71-19 1,-19 36-16,90 0 0</inkml:trace>
  <inkml:trace contextRef="#ctx0" brushRef="#br0" timeOffset="73364.6">11183 8890 0,'71'18'31,"-18"-18"-31,-36 17 0,54-17 16,-36 0-1</inkml:trace>
  <inkml:trace contextRef="#ctx0" brushRef="#br0" timeOffset="73538.67">11218 9208 0,'0'17'16,"0"-34"-1,36 34-15,-19-17 16,19 0-16,16-17 0,1-1 16,-18 0-16,1 18 0,-1-18 15,1 1-15,17 0 0</inkml:trace>
  <inkml:trace contextRef="#ctx0" brushRef="#br0" timeOffset="73904.5">13388 8308 0,'-18'53'31,"18"0"-15,0-35-16,0-1 15,0 0-15,0 19 0,0-18 16,0 35-16,18-36 0,-18 1 16,0 18-16,0-19 15</inkml:trace>
  <inkml:trace contextRef="#ctx0" brushRef="#br0" timeOffset="74137.53">13230 8537 0,'88'-35'16,"-71"35"-16,0 0 15,37 0-15,-1-17 16,-18 17-16,-18 0 0,36-19 16</inkml:trace>
  <inkml:trace contextRef="#ctx0" brushRef="#br0" timeOffset="74482.47">14147 8308 0,'-36'17'32,"19"-17"-32,-19 19 0,36-2 15,-35 0-15,18 1 16,-19 0-16,18 0 15,1-1-15,17 0 16,0 2-16,0-2 16,17-17-16,-17 18 15,18-18-15,-1 0 0,19 17 16,-1-17-16,1 0 16,-2 0-16,-15 0 15,16 0-15,-18 0 0,19 0 16,-1-17-16,-18 17 15</inkml:trace>
  <inkml:trace contextRef="#ctx0" brushRef="#br0" timeOffset="74684.83">14216 8344 0,'-17'17'0,"17"0"15,0 1-15,0 0 16,0 0-16,0 16 0,17-156 0,-34 263 16,17-124-16,0 1 0,17 16 0,-17-15 15,0 33-15,19-33 16,-2 15-16</inkml:trace>
  <inkml:trace contextRef="#ctx0" brushRef="#br0" timeOffset="75172.37">14904 8202 0,'0'88'15,"19"-53"1,-19 18-16,0 1 16,17-37-16,-17 19 0,0-19 0,0 1 15,18 16 1,-18 2-16</inkml:trace>
  <inkml:trace contextRef="#ctx0" brushRef="#br0" timeOffset="75362.73">14799 8449 0,'0'-17'16,"0"34"-16,17-34 0,1 17 0,0-18 0,0 18 15,-1 0-15,0 0 16,19 0-16,-1 0 0,1-18 15,16 18-15</inkml:trace>
  <inkml:trace contextRef="#ctx0" brushRef="#br0" timeOffset="75677.07">15575 8273 0,'-17'17'31,"-1"1"-15,53-53-16,-106 87 0,54-33 0,0-19 16,-54 52-16,54-34 15,-19 0-15,18-1 16,1 0-16,-2 2 16,2-2-16,17 1 15,17-1 1,19-17-1,-18 0-15,-1 17 0,2-17 16,-2 0-16,18 0 0,-17-17 16,17 17-16,-18 0 0,1 0 15,0 0-15,0-17 0,-1 17 16,0 0-16,2-18 0</inkml:trace>
  <inkml:trace contextRef="#ctx0" brushRef="#br0" timeOffset="75871.69">15558 8308 0,'-18'17'16,"0"2"-16,0-2 15,18 0-15,0 1 16,0 0-16,0 34 16,0 19-16,0-18 15,18-18 1,-18-16-16,0-2 0,18 18 15,-18-17-15,0 0 0</inkml:trace>
  <inkml:trace contextRef="#ctx0" brushRef="#br0" timeOffset="77440.64">16070 8149 0,'17'36'16,"-17"-19"-1,0 71 1,0-17 0,17-54-1,-17 1-15,0 0 0,0 0 16,0 16 0</inkml:trace>
  <inkml:trace contextRef="#ctx0" brushRef="#br0" timeOffset="77642.39">15875 8396 0,'-17'-18'0,"51"18"16,-16 0-1,18-17-15,-2 17 16,2 0-16,-18 0 0,18 0 15,16 0-15,1-17 16,-36 34-16,1-17 0,0 0 16,17 0-16</inkml:trace>
  <inkml:trace contextRef="#ctx0" brushRef="#br0" timeOffset="78366.02">16792 8149 0,'0'-17'15,"-36"51"17,19-34-32,0 19 15,-1-19-15,-18 35 0,36-18 16,-17-17-16,0 19 0,-1-19 15,0 34-15,18-16 16,0-1-16,0 2 16,18-19-1,-18 17-15,18-17 0,16 0 0,20 17 16,-20-17-16,-15 0 0,16 0 16,-18 0-16,19 0 0,-19-17 15,19 17-15,-18 0 0,16 0 16,2-17-16,-18 17 15,-18-19-15</inkml:trace>
  <inkml:trace contextRef="#ctx0" brushRef="#br0" timeOffset="78544.81">16846 8185 0,'-19'17'15,"2"1"1,17-1-16,0 2 0,-18-2 0,18 18 15,0 1-15,0-19 16,0 36-16,18-35 0,-18 16 16,0-15-16,17 33 15,-17-35-15,0 19 0,19-441 0,-38 828 0,19-406 16</inkml:trace>
  <inkml:trace contextRef="#ctx0" brushRef="#br0" timeOffset="79434.03">6156 10477 0,'0'36'15,"-18"17"-15,0 17 16,18-34-16,-17 88 16,17-55-1,0-50-15,0-2 16,17 36-16,1-35 16</inkml:trace>
  <inkml:trace contextRef="#ctx0" brushRef="#br0" timeOffset="79733.86">7179 10318 0,'0'54'0,"0"-18"15,17-2-15,-17 1 0,0 1 0,0 17 16,0 53-16,0-53 0,0-1 15</inkml:trace>
  <inkml:trace contextRef="#ctx0" brushRef="#br0" timeOffset="80562.17">17639 8078 0,'0'36'15,"-17"-18"-15,17 16 0,0 2 16,0-1-16,0 1 0,0-1 16,0 1-1,0-2-15,0-16 0,17 0 16,-17 0-16,0-1 0,0 0 16</inkml:trace>
  <inkml:trace contextRef="#ctx0" brushRef="#br0" timeOffset="80766.69">17480 8361 0,'18'0'0,"-1"0"0,2-17 15,15 17-15,-16 0 16,18-19-16,-2 19 0,37-17 15,-35-1-15,-1 18 0,-1-17 0,2 17 16,-1-17-16,-16 17 0,15 0 16,-16 0-16,-1-19 0</inkml:trace>
  <inkml:trace contextRef="#ctx0" brushRef="#br0" timeOffset="81601.55">7426 10442 0,'-35'35'0,"35"18"15,-17 1-15,17-20 0,0 2 16,0-1-16,0 1 16,0-1-16,0 1 0,17 33 15,-17-33-15,17 17 0,-17-35 16,18-1-16</inkml:trace>
  <inkml:trace contextRef="#ctx0" brushRef="#br0" timeOffset="81791.98">8484 10408 0,'18'52'0,"-18"-35"16,-18-86-16,36 174 0,-1-88 0,-17 37 15,0-20-15,0 2 16,19-18-16</inkml:trace>
  <inkml:trace contextRef="#ctx0" brushRef="#br0" timeOffset="82672.11">18274 7973 0,'-18'35'0,"1"-35"16,-2 18-16,2 0 0,0-18 0,17 17 15,-18 0-15,1 2 0,-19 16 16,19-18-16,17 0 16,-18-17-16,0 36 15,18-18-15,18-1 16,0-17-1,-1 0-15,0 19 0,19-19 16,-18-19-16,-1 19 0,36 0 16,-18-17-16,-16 17 15,-2-18-15,0 18 0,19-17 16</inkml:trace>
  <inkml:trace contextRef="#ctx0" brushRef="#br0" timeOffset="82861.3">18362 7956 0,'-18'17'0,"1"18"16,0-17-16,17 17 0,-19 1 15,2 52-15,-1 0 16,1-36-16,17-16 0,0 52 16,-19-52-16,19 33 15,0-50-15,0 33 16,-17-16-16,17-19 0,-17 37 15</inkml:trace>
  <inkml:trace contextRef="#ctx0" brushRef="#br0" timeOffset="83299.42">13264 9296 0,'142'0'15,"70"-18"1,-71 1-16,18-2 0,34 2 0,212-18 16,-193 17-16,35 0 15,248-16-15,-231-2 0,548-16 16,-266 16-1,-35 18-15,-282 1 16,213 17-16,-266-19 0,213 19 16,-320 0-1,2 19-15,0-19 0,-54 17 16,-17 1-16</inkml:trace>
  <inkml:trace contextRef="#ctx0" brushRef="#br0" timeOffset="83697.03">16651 9649 0,'-71'17'31,"18"18"-31,18-16 16,-89 51-16,90-52 15,16-1-15,0 0 0,-17 19 16,0-1-16,35-18 15,0 2-15,18-2 16,-1 1-16,18-18 16,18 0-16,18 0 15,34 0-15,-52-18 16,1 18-16,-1-17 0,-1-2 0,1 2 16,1-18-16</inkml:trace>
  <inkml:trace contextRef="#ctx0" brushRef="#br0" timeOffset="83895.81">16651 9596 0,'-17'17'16,"-1"19"-16,0-19 16,18 37-16,0-37 0,0 18 15,18 53-15,0-52 16,-1 17-16,19 35 0,-1 0 15,-1-53-15,20 18 16,-18-18-16,16-17 16,-16 0-16,16-18 0</inkml:trace>
  <inkml:trace contextRef="#ctx0" brushRef="#br0" timeOffset="84216.4">19544 8749 0,'123'-17'15,"-106"17"-15,19 0 0,18-18 16,-20 18-16,2 0 0,-1 0 16,0 0-16,35 0 15,-34 0-15,-18 18 0,-1-18 0</inkml:trace>
  <inkml:trace contextRef="#ctx0" brushRef="#br0" timeOffset="84389.61">19703 9120 0,'71'0'0,"-37"-18"16,37 18-16,17-18 15,0 18-15,-52 0 16,-1-18-16,1 18 0,16 0 16,-16 0-16</inkml:trace>
  <inkml:trace contextRef="#ctx0" brushRef="#br0" timeOffset="85864.1">21960 8361 0,'-105'71'16,"69"-54"-16,1 19 0,-35 16 16,34-35-16,-70 73 15,89-73-15,0 0 0,17 1 16,-19-18-16,2 36 0,-1-19 15,36 0 1,-1 1-16,2-18 16,15 0-16,20 0 15,-20 0-15,37-18 16,0 18-16,-1-17 16,1 0-1,-54-1-15,19 0 0,-1 0 16,-35 1-16,0 0 0,0-2 15</inkml:trace>
  <inkml:trace contextRef="#ctx0" brushRef="#br0" timeOffset="86056.14">21767 8273 0,'-19'105'0,"19"-34"16,0 17-16,0 19 15,-17-55-15,17 36 16,0 1-16,0-72 16,-17 18-16,17 18 15,17-18-15,-17-16 0,0-2 16,17 0-16</inkml:trace>
  <inkml:trace contextRef="#ctx0" brushRef="#br0" timeOffset="86296.46">22666 8520 0,'-35'17'0,"18"0"15,-2 2-15,-52 52 0,-17-1 16,54-18-16,-142 107 15,122-106-15,1 1 16,0-2-16,-53 54 16,72-71-16,-56 53 15,73-69-15,17-2 0,0 0 16</inkml:trace>
  <inkml:trace contextRef="#ctx0" brushRef="#br0" timeOffset="86513.42">22931 8625 0,'-19'19'0,"-227"157"16,194-123-16,-72 52 15,0-17-15,72-34 16,-2-2-16,-34 37 0,18-18 15,-1-2 1,54-33-16,-19-1 0,1 1 16</inkml:trace>
  <inkml:trace contextRef="#ctx0" brushRef="#br0" timeOffset="87269.75">22295 9666 0,'89'-36'0,"-19"2"15,-17 16-15,0 1 0,53-54 16,-53 35-16,71-34 15,35-72 1,-71 54-16,17-34 16,-69 68-16,69-70 0,1-34 15,-1253 1128-15,2400-2116 16,-1218 1058-16,1-19 0,-19 2 0,1 17 16,-18-247-16,-35 211 15,-54-105-15,-51 34 16,33 126-16,-122-38 15,-142 55-15,195 52 16,-195 52-16,19 55 16,158-38-16,-141 91 15,-124 157 1,213-53-16,158-140 16,-54 158-16,89-158 15,36 17-15,34 176 0,71-70 16,-35-140-16,141 69 15,71-35-15,52-36 16,54-34-16,0-54 16,-2 1-1,-174-36-15,-19 1 0,160-18 16,-55-35-16,-69 16 16,-17-34-16,-107 52 15,70-69-15,-16 0 16,-20-19-16,-68 53 15,-1 18-15,-1-18 0,72-88 16,-89 107-16,-17-1 16,17 18-16,-18-54 0,-17 1 15,-34-17-15,-37-19 16,35 53 0,-35 0-16,19 2 0,-125-91 0,-16 20 15,-19 33 1,0 55-16,106 16 0,-140 19 15,-142 52 1,264-17-16,18 0 0,-159 87 16</inkml:trace>
  <inkml:trace contextRef="#ctx0" brushRef="#br0" timeOffset="88205.82">25876 9701 0,'-17'0'32,"-2"-17"-32,2 17 15,-35-18-15,-37-18 0,37 19 16,-72-18-16,53-1 15,-52-16-15,-18-18 16,34 34 0,55 1-16,34 18 15,0 17-15,-16-19 0,16 19 16,0-17-16,18 34 31</inkml:trace>
  <inkml:trace contextRef="#ctx0" brushRef="#br0" timeOffset="88492.38">24942 9649 0,'-71'-36'0,"71"19"16,71 70-16,-178-141 0,72-1 15,35 71-15,-17-52 16,17 35-16,0-1 16,17-35-16,1 37 0,-1 16 0,2-18 15,69-16 1,17 34-16,19 0 16,17 18-16,-1 0 15,-69 18-15,106-18 16,-106 0-16,88 18 0,-71-36 15,-18 18-15,72-18 16</inkml:trace>
  <inkml:trace contextRef="#ctx0" brushRef="#br0" timeOffset="98136.64">8714 11606 0,'0'-17'0,"0"70"16,0-1-1,0-16-15,17-1 16,-17 72-16,0-55 0,0 1 16,17 0-16,-17 53 15,0-36-15,0-35 0,0-16 16,0 15-16,0-16 0,0-1 15,0 19-15,0-19 0,0 1 16</inkml:trace>
  <inkml:trace contextRef="#ctx0" brushRef="#br0" timeOffset="99805.66">8660 11572 0,'0'0'0,"-17"-19"15,53 19 16,-36-17-31,35 17 0,-18 0 16,0 0-16,19 0 0,18-18 16,51 18-16,-34-17 15,-18 17-15,16 0 0,2-17 0,0 17 0,70-19 16,-53 2 0,0-1-16,1 1 0,-1 17 0,18-19 15,88-15-15,-88 16 0,-1 0 16,-16 0-16,210-34 15,-192 34-15,-19 0 0,17 1 16,90 0-16,-107-2 0,70 2 16,-87 17-1,70-18-15,-53 1 0,71-2 16,-18 2-16,-70 17 16,0-17-16,-19 17 0,1-18 15,0 18-15,-18 0 0,1-17 0,35 17 16,-37-19-16,-16 19 0,18 0 15,-19-17-15,18 17 0,-17 0 16,17-17-16,1 17 16,-19 0-16,1-18 0,-1 18 0,0 0 15,2 0-15,-19-18 0,17 18 16,1 0-16,-1-18 16,2 18-16,-2 0 15,0 0 1,1-17-16,-1 17 15,2 17 17,-2-17-17,-17 18 1,17-18-16,-17 18 16,18 17-1,-18-18-15,0 2 0,18-2 16,-18 1-16,0 16 15,35 37 1,-35-52-16,17 33 0,-17-16 16,0-19-16,19 18 0,-2 18 15,-17-17-15,18 16 16,-18-16-16,0-19 0,0 18 16,17-16-16,-17-2 0,0 0 15,0 37-15,0-37 0,0 18 16,0-17-16,0 0 0,0 16 15,17-15-15,-34-2 0,17 1 16,0-1-16,0 2 0,0-2 0,0 35 16,0-33-16,0-2 0,0 0 15,0 1-15,0 0 16,17 0-16,-17-1 0,0 19 0,0-19 16,0 18-1,0-18-15,0 2 16,0-2-16,0 1 15,0-1-15,-17 2 0,17-2 16,0 0-16,0 1 16,0-1-16,0 2 0,-17-2 0,17 18 15,0-17 1,0 0-16,-18-1 0,18 0 0,0 2 16,0-2-16,0 1 15,-17-1 1,17 0-1,-19-17-15,2 0 16,-71 19 15,71-19-31,-37 17 0,-34-17 16,-53 18-16,36-1 0,17 2 16,-19-19-16,-122 34 15,123-16-15,0 0 0,-17 0 16,-106-1-16,105 0 0,1 1 15,16-18-15,-15 18 0,-108 0 16,124-18-16,0 17 0,-106 0 16,0-17-16,124 19 15,0-19-15,-17 17 0,34-17 16,1 0-16,-1 0 0,0 18 0,-17-18 16,0 0-16,71 17 15,-19-17-15,19 0 0,-1 0 16,0 0-16,0 0 0,1 0 0,0 0 15,-1 0-15,0 0 16,0 0 15,1 0 32,17-17-48,-17 17 17,-2 0-17,2 0 17,-1-18-17,1 18 16,-2-17-15</inkml:trace>
  <inkml:trace contextRef="#ctx0" brushRef="#br0" timeOffset="105229.58">24959 8449 0,'141'0'0,"-106"0"16,1 0-16,16 0 0,-16 0 0,17 0 15,-1 0-15,2 0 0,34 0 16,-35-17-16,-18 17 0,-17 0 16,17 0-16,-18 0 0,37 0 15,-37 0-15,-17-18 0,17 18 0,2 0 16</inkml:trace>
  <inkml:trace contextRef="#ctx0" brushRef="#br0" timeOffset="105547.55">25312 8132 0,'-18'-18'0,"36"36"16,-71-18-16,36 17 16,-90 54-1,72-35-15,-1-2 0,2 20 0,-37 16 16,54-35-16,17 1 0,-18-1 15,53-1 1,0 2-16,18-18 0,18-18 0,141 17 16,-90-34-16,249 17 0,-194 0 15,17 0-15,194-18 16,-194 1-16</inkml:trace>
  <inkml:trace contextRef="#ctx0" brushRef="#br0" timeOffset="107493.48">14058 13512 0,'0'34'0,"-18"20"15,1-1 1,17-18-16,0 1 0,-17-2 0,17 2 16,0-18-16,0 16 0,-19-16 15,19 18-15,0-2 0,0-15 16,0-2-16,0 1 0,0-1 0,0 0 15</inkml:trace>
  <inkml:trace contextRef="#ctx0" brushRef="#br0" timeOffset="107724.76">13828 13794 0,'0'-18'16,"36"18"-1,-1 0 1,1 18-16,-1-18 16,1 0-16,16 0 0,18-18 15,-16 18 1,-20 0-16,2 0 0</inkml:trace>
  <inkml:trace contextRef="#ctx0" brushRef="#br0" timeOffset="108129.45">14711 13494 0,'17'-18'16,"1"18"-16,0 0 0,0 18 15,-1-18-15,0 18 0,19-1 16,-18 0-16,-1 2 16,-17-2-16,17 18 15,2-18-15,-19 2 0,0 33 16,0-33-16,0-2 0,0 0 16,0 1-16,0 35 15,17-18-15,-17-17 16,0 0-16,0-1 15,0 0 1</inkml:trace>
  <inkml:trace contextRef="#ctx0" brushRef="#br0" timeOffset="108334.39">14675 13794 0,'53'0'31,"-35"0"-31,0 0 16,17 0-16,-18 0 0,19 0 0,16 0 16,2 0-16,-1 0 15,-36 0-15</inkml:trace>
  <inkml:trace contextRef="#ctx0" brushRef="#br0" timeOffset="108762.3">15928 13565 0,'0'-19'0,"0"73"32,0-37-32,-18 19 15,18-1-15,0 35 16,0-52-16,0 0 0,0 0 15,0 16-15,0-16 0,0 0 16,18 0-16,-18-1 0,0 0 16</inkml:trace>
  <inkml:trace contextRef="#ctx0" brushRef="#br0" timeOffset="108978.68">15699 13812 0,'71'-36'0,"-54"36"16,0 0-16,19 0 16,-18 0-16,16 0 0,20 0 0,-20 0 15,-15 0-15,16 0 0,1-18 0,-19 18 16,18 0-16,1-17 0,-19 17 15</inkml:trace>
  <inkml:trace contextRef="#ctx0" brushRef="#br0" timeOffset="109164.59">16527 13565 0,'0'35'47,"0"-18"-47,0 0 0,-17 2 15,17 52-15,0-19 16,0-16-16,0-19 16,17 18-16,-17-17 15,0 0-15,0 16 0,0-386 16</inkml:trace>
  <inkml:trace contextRef="#ctx0" brushRef="#br0" timeOffset="109984.5">6367 16228 0,'-17'53'0,"-1"-18"0,18 18 16,0-36-16,0 19 16,0-1-16,0 1 0,0 16 0,0 19 15,18-1-15,-18-34 16,0-18-16,17-1 0,19 18 15</inkml:trace>
  <inkml:trace contextRef="#ctx0" brushRef="#br0" timeOffset="110217.94">7655 15945 0,'0'53'15,"0"1"-15,0-20 0,0 2 16,0 70-16,0-53 16,0 0-16,-17 17 0,17-34 0,0 17 15,0-1-15,0-16 0,0-1 16,0-18-16</inkml:trace>
  <inkml:trace contextRef="#ctx0" brushRef="#br0" timeOffset="110786.96">7814 15452 0,'-18'0'15,"1"17"-15,17 19 0,-17 16 16,17-16-16,0 17 15,0-18-15,0 0 16,0 1-16,0 17 0,17 18 16,0-2-16,1-33 0,-1-19 15,2 1-15</inkml:trace>
  <inkml:trace contextRef="#ctx0" brushRef="#br0" timeOffset="111013.75">9067 15098 0,'35'36'15,"-18"-1"-15,-17-16 0,17-2 0,-17 36 16,19-1-16,-19 2 0,17 51 15,-17 2-15,18-55 16,-18 1-16,0-18 0,0 1 0,0-19 16</inkml:trace>
  <inkml:trace contextRef="#ctx0" brushRef="#br0" timeOffset="112136.4">17286 13546 0,'-18'36'16,"18"-18"-1,-17 87 1,17-86-16,0 15 0,0-16 0,0 18 15,0-19-15,0 18 16,0-17-16,0 0 0,0-1 0,0 0 16</inkml:trace>
  <inkml:trace contextRef="#ctx0" brushRef="#br0" timeOffset="112352.66">17075 13812 0,'35'-18'31,"-18"18"-31,19 0 16,-1 0-16,-18 0 0,19 0 0,-19-18 15,89 18 1,-70 0-16,17-18 0,-1 1 15,1 17-15</inkml:trace>
  <inkml:trace contextRef="#ctx0" brushRef="#br0" timeOffset="112668.79">17974 13476 0,'-18'0'15,"-16"18"-15,15 0 0,2-1 16,-37 36-1,37-18-15,0 1 0,-1-1 0,18 18 16,0-18-16,0-17 0,18 17 16,-1-18-16,0 19 15,2-18-15,-2-1 0,37 0 0,-20-17 16,1 19-16,-16-19 0,-2 0 16,0 0-16,1-19 15,-18 2-15,-18 0 16,18-1-16,-17 0 15,0 18-15,-2-18 0,2 18 16,-18-17-16,18 0 0,-2 17 16,2 0-16</inkml:trace>
  <inkml:trace contextRef="#ctx0" brushRef="#br0" timeOffset="112992.99">18732 13458 0,'0'54'15,"0"-37"-15,0 0 16,-17 37-16,17-20 0,0-15 16,0 16-16,0-18 0,0 19 0,0-19 15,0 1-15,0 0 0,0 0 16,0-1-16,17 0 0,-17 1 0,0 0 15,18-18-15</inkml:trace>
  <inkml:trace contextRef="#ctx0" brushRef="#br0" timeOffset="113173.7">18610 13758 0,'-19'-17'0,"38"34"0,-2-34 31,54 17-15,-54 0-1,0 0-15,1 0 0,0 0 16,17-17-16</inkml:trace>
  <inkml:trace contextRef="#ctx0" brushRef="#br0" timeOffset="113509.89">19262 13353 0,'17'0'16,"19"17"-16,-19 1 15,-17-1-15,0 2 0,0-2 0,0 0 16,-17 37-16,-2-20 15,2-15-15,0-2 0,17 18 0,0-18 16,-18 2-16,18-2 0,0 1 16,0-1-16,18-17 15,-18 19-15,53-19 0,-36 17 16,1-17-16,18 0 0,-2 0 0,2 0 16,-1 0-16,0-17 0,1 17 15,-2 0-15,2 0 0,-18-19 0,52 19 16,-52 0-16,-1 0 15,-34 19 1,-1-2-16,-35-17 16</inkml:trace>
  <inkml:trace contextRef="#ctx0" brushRef="#br0" timeOffset="114142.11">13582 14834 0,'-71'18'0,"107"0"16,-19-18-16,18 18 0,18-18 15,18 0-15,0 17 0,17-17 0,17 0 16,2 0-16,-2 0 0,19 0 15,-1 0-15,1 0 0,52-17 16,1 17-16,192-18 0,-174 0 0,17 18 16,-1-18-16,1 18 0,17-17 15,0 17-15,1 0 0,211 0 16,-194 0-16,194 0 0,-212 0 16,-17 0-16,-1 17 15,-16-17-15,175 18 0,-194-18 0,-52 0 16,-1 18-16,106-18 15,-141 0-15,-17 0 0,-35 18 16,35-18-16,-71 17 16</inkml:trace>
  <inkml:trace contextRef="#ctx0" brushRef="#br0" timeOffset="114573.62">17727 15240 0,'-17'18'16,"-1"0"0,-18 16-16,2-16 15,-37 35-15,35-36 0,-16 37 16,16-37-16,-35 54 16,54-54-1,0 19-15,17-19 16,0 1-1,17 0-15,54 0 16,-1-1-16,-35-17 16,18 0-16,-18 0 0,18 0 15,1-17-15,-1 17 0,16 0 16,2-18-16,0 0 16,-54 0-16,2 18 0,-2-17 15</inkml:trace>
  <inkml:trace contextRef="#ctx0" brushRef="#br0" timeOffset="114771.82">17744 15398 0,'-34'36'0,"34"-18"0,-18-1 0,18 2 16,-18 15-16,18 20 0,-18-20 15,18 2-15,0 16 0,18 2 16,-18-20-16,18 73 0,-18-55 15,18 19-15,16-18 16,2 0 0,16-35-1</inkml:trace>
  <inkml:trace contextRef="#ctx0" brushRef="#br0" timeOffset="115164.19">20602 14622 0,'141'-34'15,"-124"16"-15,19 18 0,35-18 16,-54 18-16,19 0 16,-18 0-16,16 18 15,-16-18-15</inkml:trace>
  <inkml:trace contextRef="#ctx0" brushRef="#br0" timeOffset="115330.41">20760 14852 0,'36'36'16,"-18"-36"0,-72-36-16,144 72 0,-73-19 15,0-17-15,19 0 0,-18 0 0,104 17 16,-103-17 0,-2 18-16,1-18 15,-1 0-15,2 0 0</inkml:trace>
  <inkml:trace contextRef="#ctx0" brushRef="#br0" timeOffset="121853.56">23178 13934 0,'-71'54'16,"54"-37"-16,-2 0 0,2 2 0,-1-2 16,-16 1-16,-2 18 15,18-2-15,1-16 0,-2-18 16,19 18-16,-17 0 15,17-1-15,0 18 16,17-35-16,-17 18 0,19-18 16,-2 18-16,18-18 15,-16 17-15,33-17 0,1 17 16,18-34-16,-37 17 16,2 0-16,-1 0 0,-18-17 15,37-1-15,-37 18 16,2 0-16,-2-18 0,0 18 0,1-18 0</inkml:trace>
  <inkml:trace contextRef="#ctx0" brushRef="#br0" timeOffset="122097.52">23142 14041 0,'-71'71'0,"71"-37"0,-17-16 16,105-141-16,-176 264 0,88-106 0,-18 0 15,18 35-15,-17 1 16,17-35-16,0-1 0,-17-18 0,17 19 16,0-1-16,0-17 0,0 17 15,0-18-15,-19 2 16,19-2-16,0 18 0</inkml:trace>
  <inkml:trace contextRef="#ctx0" brushRef="#br0" timeOffset="122381.52">23795 14200 0,'-53'17'15,"53"0"-15,-18 1 0,1 0 16,-19 0-16,-16 52 0,16-35 16,1-16-16,-53 86 15,52-70-15,-17 18 16,18-17-16,18-19 0,-2 18 15,2-18-15</inkml:trace>
  <inkml:trace contextRef="#ctx0" brushRef="#br0" timeOffset="122596.51">24024 14182 0,'-53'88'0,"36"-53"0,-18 1 15,-1-1-15,1 1 16,-54 69-16,1-17 0,36-35 16,-1-1-16,-1-16 0,20-1 15,-2 18-15,1-35 0,-1 18 16,-16-2-16,-19 20 0</inkml:trace>
  <inkml:trace contextRef="#ctx0" brushRef="#br0" timeOffset="124362.27">23848 13458 0,'-336'-34'15,"231"51"-15,17 0 0,-19 1 16,2 18-16,-36 17 0,18-1 15,16 19-15,2-1 0,-2 1 0,19 17 16,0 0-16,-53 124 0,89-107 16,-37 143-16,71-37 15,36-16-15,0-90 16,105 124-16,-52-122 16,35-19-16,-18 0 0,123 53 15,1-70-15,0 0 0,-107-54 16,2 0-16,-2 1 15,1-18-15,88-18 16,-106 18-16,195-88 0,-212 71 16,17-36-16,-18 17 0,72-70 15,-72 53-15,89-106 16,-54 19-16,-70 70 16,1-1-16,52-88 15,-53 89-15,1-18 0,17-71 16,-18 70-16,-18 1 0,-17 17 15,0-17-15,-35-71 16,-1 89-16,-16-18 0,16 34 0,-16-16 16,-72-53-16,54 70 15,-18 18-15,17-18 0,-17 18 0,-107-36 16,2 18-16,17 0 16,-1 35-16,106 1 15,0 0-15,-34 17 16,70 0-16,-35 0 0,34 17 15,18-17-15</inkml:trace>
  <inkml:trace contextRef="#ctx0" brushRef="#br0" timeOffset="127366.14">23195 9966 0,'-35'18'0,"17"-1"0,0 0 0,18 2 16,-17-2-16,0 1 0,17-1 16,-19 2-16,2-2 0,-1 0 15,1 37-15,0-20 16,-2-16-16,19 0 15,-17 0-15,17-1 16,17-52 15,2 17-31,-2-17 16,0 18-16,1-37 16,-1 37-16,2-19 0,15-16 31,-34 33-31,18 19 0,-18-17 0,18 17 15,0-17-15,-1 17 16,0 0-16,2 17 16,-2-17-16,1 17 15,35 37 1,-36-54-16,-17 17 16,18-17-16,-1 36 0,2-36 15,-2 17-15,-17 1 16,17-18-16,-17 18 15</inkml:trace>
  <inkml:trace contextRef="#ctx0" brushRef="#br0" timeOffset="127865.69">23231 10037 0,'-19'0'0,"38"0"0,-55 17 15,36 1 1,0-1 0,0 36-16,0-35 0,0 52 15,0 18-15,17-34 0,-17-1 16,0-1-16,19 1 15,-2 53-15,1-53 0,-1 18 0,0-1 16,2 1-16,-2 0 0,1 70 16,-1-70-16,2-19 15,-2 18-15,18 54 0,-17-53 16,0 0-16,16 69 16,-16-70-16,18 54 0,-2 0 15,-15-72-15,16 55 16,-18-2-16,19-17 15,-36-52-15,0-1 0,17 1 16,-17 16-16,0-35 16,18 2-16,-18-2 0,0 1 0,0-1 15,0-52 48,-18 35-48,18-17-15</inkml:trace>
  <inkml:trace contextRef="#ctx0" brushRef="#br0" timeOffset="128313.55">23442 12294 0,'36'35'15,"-19"-16"-15,-17-2 0,17 0 16,1 19-16,0 16 15,0-33-15,-18 16 16,17-18-16,19 36 0,-19 1 16,-17-37-16,18 0 15,-18 1-15,17-18 16,-17 18-16,19-18 16,15-36-16,-16 19 15,-1-19-15,36-35 16,1-17-16,-1 18 15,-18 35-15,18-36 16,-36 37-16,1 15 16,-1-16-16,19-1 0,-19 2 15,1-1-15,-1 16 16,2 2-16,-19 0 0,17-1 16,-17 0-16</inkml:trace>
  <inkml:trace contextRef="#ctx0" brushRef="#br0" timeOffset="132021.29">5239 7285 0,'-17'-17'0,"17"-2"0,-19 19 16,2-17-16,-18-1 15,16 18 1,2-17-16,-18 17 0,18 0 16,-19-17-16,1 17 0,-54-19 15,-16 2-15,34 17 0,0-18 16,-70 18-16,18-17 16,-35 17-16,16 0 15,54 0 1,0 17-16,-106 1 0,18 18 15,0-2-15,16 37 16,90-36-16,-54 35 16,0 18-16,-17 90 15,72-56 1,50-51-16,-16 106 0,35-18 16,18 0-1,18-71-15,16 70 0,1-87 16,52 70-16,107 53 15,-124-158 1,0 16-16,124 36 0,-124-52 16,19-19-16,122 36 0,1-18 15,-1-16-15,106-19 16,-123-19 0,-2-16-16,-15-35 15,-2-1-15,-86 36 16,69-54-1,71-34-15,-106 17 16,-70 71-16,17-18 16,53-70-16,-88 70 0,70-53 15,-52 36-15,-18 16 0,35-51 16,-52 52 0,-1-1-16,18-34 0,-36 35 15,1-158-15,-36 105 16,-16 18-16,-20-54 15,18 72-15,-86-70 16,51 50-16,-70-50 0,-18 16 16,-36 0-1,19 36-15,-17 0 16,104 54-16,-122-20 16,87 37-16,-88 0 15,-17 17-15,106 17 0,-1 0 16,-35 1-16,18 18 0,-18-2 0,18 20 15,-140 51-15,-2 36 16,36 1-16,35 16 16,107-87-16</inkml:trace>
  <inkml:trace contextRef="#ctx0" brushRef="#br0" timeOffset="133815.01">8467 9137 0,'0'-35'16,"-53"-54"-16,-1 37 15,-51-1-15,34 35 0,-87-35 16,-37 36 0,90-1-16,-1 18 0,-123 35 15,-88 18-15,-107 89 16,141-20 0,160-51-16,-230 158 15,160-53-15,51-16 16,18 16-16,90-88 15,-2 88 1,36-88-16,18 90 0,17-90 16,-18-18-16,178 177 0,-107-176 15,17-1-15,-15-18 16,156 55-16,36-36 16,-17-19-16,-142-34 0,1-18 15,158 18-15,-18-36 16,19-18-16,-19-34 15,-17-1-15,-141 36 16,70-53-16,-52 35 16,-1-18-16,194-158 15,-122 53-15,-107 88 0,53-107 16,-70 90-16,-18-19 16,-1-69-16,-52 86 0,0-122 15,-34 89-15,-144-196 16,-15 142-1,-36 53-15,-194 17 16,246 107 0,-175 17-16,33 17 15,-192 54 1,353-54-16,-108 54 0,73-1 16,122-34-16</inkml:trace>
  <inkml:trace contextRef="#ctx0" brushRef="#br0" timeOffset="137182.26">6686 13036 0,'-107'-36'0,"90"18"0,-18 1 16,-54-19-16,37 19 0,-72-37 15,-106-51 1,142 88-16,-70-54 15,-18 0-15,86 35 16,-15 19-16,-88-18 0,86 18 16,-86-2-16,-37 19 15,-87 54-15,210-37 16,2 19-16,-36 16 16,35 1-16,-106 53 0,0 35 15,36 36-15,0 34 16,35 18-1,17 1-15,0 158 16,107-264-16,-1-19 0,1 2 16,34 122-16,1-106 15,18 18-15,69 106 0,-52-123 16,35-19-16,0 2 0,18-2 16,123 90-16,-88-126 15,1 20-15,175 34 0,-140-52 16,193 35-16,-176-54 0,212 19 15,-194-35-15,0-1 16,-2 1-16,232 16 0,-37-16 16,36-2-16,-229-16 15,0-18-15,-1 18 16,-16-36-16,210 0 0,-210-16 0,193-37 16,-195 18-16,-16-1 0,-1-16 15,176-89-15,-33 0 16,-160 71-16,-19 0 0,142-70 15,-35-1-15,-140 88 16,51-53 0,-35 2-16,-70 68 0,-18-16 15,36-53-15,-71 70 0,18-71 16,-36-18 0,0 54-16,-16 18 0,-20-18 0,1-18 15,-88-106-15,-18-17 16,71 106-16,0-1 0,-124-105 15,-17 17-15,-18 0 16,-17 19-16,123 105 16,-18 0-16,18-2 0,-177-50 15,142 70 1,-1-1-16,-387-105 0,176 69 16,193 73-16,-15-20 15,-2 20-15,-212-37 0,1 18 16,211 35-16,-193-18 15,193 36-15,-176 18 16,194 0-16,17 0 0,-16-1 0,-143 54 16,18 17-16,160-35 15,16 0-15,2-1 16,-196 107-16</inkml:trace>
  <inkml:trace contextRef="#ctx0" brushRef="#br0" timeOffset="144163.93">4216 8361 0,'35'0'47,"70"0"-32,-51 0-15,-1 0 16,-36 0-16,18 0 16,-16 0-16,-2 0 15</inkml:trace>
  <inkml:trace contextRef="#ctx0" brushRef="#br0" timeOffset="144930.68">5610 8449 0</inkml:trace>
  <inkml:trace contextRef="#ctx0" brushRef="#br0" timeOffset="145614.25">6086 10196 0,'17'0'62,"18"0"-46,35 0-16,20 0 0,15 0 16,-34 0-16,-18 0 15,-36 0-15,18 0 16,-18 0-16,19 0 16,-18 0-16,-1 0 15</inkml:trace>
  <inkml:trace contextRef="#ctx0" brushRef="#br0" timeOffset="157261.34">26440 8537 0,'-17'0'15,"34"0"1,1-17 0,0 17-16,0 0 0,52-18 15,-35 18 1,53-17-16,-52 17 16,17-19-16,-35 19 0,16 0 0,-15 0 15,-2 19-15,35-2 16,-52 1-1,19-1-15,-19 19 0,0-19 0,0 18 0,0 1 16,0-1-16,0 18 16,0 0-16,0-1 0,0 72 15,0-53-15,0-18 0,0 17 0,0 0 16,0 20-16,0-2 0,0 0 16,0-18-16,0 18 0,0 0 0,17 195 15,-17-178 1,0-17-16,18 19 0,-18-19 0,0 17 15,0 1-15,0 0 0,17 106 16,-17-89-16,0-16 0,19 15 0,-19 20 16,17-18-16,-17 16 15,0-16-15,0 0 0,17-19 0,-17 19 16,0-1-16,0-17 0,0 17 0,0-16 16,0-2-16,0 0 0,0-15 15,18 15-15,-18-17 0,0 17 0,0-15 16,0-2-16,0 53 0,0-89 15,0 19-15,0-1 0,-18-16 0,18-2 16,0 18-16,0-16 0,-17-20 16,17 2-16,0-1 0,0 1 0,0-1 15,0-17-15,-17 17 0,17-18 0,0 1 16,0 0-16,0 0 16,0-1-16,-19-17 15,2 17-15,-1-34 16,1 17-16,-19 0 15,1 0-15,-1 0 0,-16-17 0,-1 17 16,-18 0-16,1-18 0,-18 18 0,-107 0 16,107 0-16,-17 0 15,-1 18-15,17-18 0,-16 0 0,-89 34 16,105-34-16,1 19 0,-17-2 16,34-17-16,0 18 0,1-18 15,16 17-15,2-17 0,-1 0 16,18 0-16,17 0 0,-17 0 0,18 0 0,-2 0 15,2 0 1,17-17 0</inkml:trace>
  <inkml:trace contextRef="#ctx0" brushRef="#br0" timeOffset="157681.98">25154 13829 0,'-54'17'0,"1"1"16,36 0-16,-19 0 0,-123 87 16,124-88-1,-1 19-15,2-1 0,-1-16 16,16 15-16,2-16 0,0 18 0,17-19 16,-18 18-16,18-17 0,0 34 15,18 19-15,-1-35 16,0-1-16,19 1 0,-1-2 15,1-16-15,52 35 0,-35-36 16,-1 2-16,72 16 0,-18-18 16,-53-17-16,-18 17 15,1-17-15,-19 0 0,36 0 0,-18 0 16,-18-17-16,2 17 0,-2-17 16</inkml:trace>
</inkml:ink>
</file>

<file path=ppt/ink/ink13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50:39.582"/>
    </inkml:context>
    <inkml:brush xml:id="br0">
      <inkml:brushProperty name="width" value="0.05292" units="cm"/>
      <inkml:brushProperty name="height" value="0.05292" units="cm"/>
      <inkml:brushProperty name="color" value="#0070C0"/>
    </inkml:brush>
  </inkml:definitions>
  <inkml:trace contextRef="#ctx0" brushRef="#br0">8992 4048 0</inkml:trace>
  <inkml:trace contextRef="#ctx0" brushRef="#br0" timeOffset="1484.1">9592 3889 0,'17'-17'0,"-53"69"47,19-33-32,-1-2-15,1 0 16,-19 19-16,1-18 0,-1 16 0,2-15 16,-2-2-16,18 18 0,1-18 0,0-17 15,-1 19-15,0-2 0,0 1 16,1-18-16,17 17 0,-17-17 0,17 19 16,17-19-1,0 17-15,1-17 0,0 0 0,0 0 16,52 0-16,-52 0 0,35 0 15,-18 0-15,1 0 0,16 0 16,-16-17-16,16 17 0,-16 0 0,-2 0 16,2-19-16,-1 19 0,-18 0 15,2 0-15,16-17 0,-18 17 16,2 0-16,-2-18 0</inkml:trace>
  <inkml:trace contextRef="#ctx0" brushRef="#br0" timeOffset="1735.46">9680 3907 0,'-36'36'0,"36"-19"16,0 54-1,-18-37-15,18 2 0,0-1 0,0 1 16,0-1-16,0 1 0,-17-2 0,34 2 16,-17-18-16,0 16 0,0-16 15,0 0-15,0 0 0,0-1 0,0 0 16,18 2-16,0-19 16</inkml:trace>
  <inkml:trace contextRef="#ctx0" brushRef="#br0" timeOffset="2307.52">9873 3536 0,'36'-17'0,"-19"-1"16,1 18-16,35 18 16,-36-18-1,1 17-15,-18 2 0,0-2 16,0 0-16,-18 19 0,1-1 15,0-18-15,-1 2 0,0-2 16,0 1-16,1 16 0,0-15 16,-2-2-16,2-17 0,17 18 15,-18-1 1,36-17 0,-1 0-1,2 0-15,15 0 0,2-17 16,-18 17-16,16 0 0,-16 0 15,106-18-15,-107 1 16,19 17-16,-19 0 16</inkml:trace>
  <inkml:trace contextRef="#ctx0" brushRef="#br0" timeOffset="2553.1">10985 3731 0,'-17'88'0,"17"-71"15,0 2-15,0-2 0,0 18 0,0 1 16,0-19-16,0 18 0,17 35 15,-17-34-15,0-18 16,17 35-16,-17-36 0,18 1 16</inkml:trace>
  <inkml:trace contextRef="#ctx0" brushRef="#br0" timeOffset="2774.36">10702 4136 0,'54'0'16,"-37"0"0,36-17-16,-18 17 15,18 0-15,53-18 16,-70 18-16,-2 0 15</inkml:trace>
  <inkml:trace contextRef="#ctx0" brushRef="#br0" timeOffset="3233.69">12044 3784 0,'-36'17'16,"18"-17"-16,18 18 16,-17-1-16,-19 19 0,19-19 15,-1 1-15,-18 18 0,19-19 16,0 0-16,-1 1 16,18 0-16,0 0 0,0 16 15,0-15-15,18-19 16,-1 17-16,0-17 0,19 18 15,16-18 1,-16 0-16,18 0 16,-20 0-16,1 0 15,-16 0-15,15 0 0,-16-18 16,0 18-16,0 0 0,-1 0 16</inkml:trace>
  <inkml:trace contextRef="#ctx0" brushRef="#br0" timeOffset="3472.35">12025 3836 0,'-17'19'16,"-1"-19"-1,18 17-15,0 18 16,0 18-16,0-36 0,0 54 15,0-54-15,0 54 16,0-54-16,0 19 0,0-18 16,18 18-16,-18-2 15,17-16-15,2 0 0,-19 0 16</inkml:trace>
  <inkml:trace contextRef="#ctx0" brushRef="#br0" timeOffset="3887.56">12325 3519 0,'88'17'0,"-88"2"16,19-2-16,-19 0 0,0 1 16,-19 35-16,2-17 15,17-19-15,-18 18 0,1-18 16,17 2-16,-19 16 0,19-18 15,-17 2-15,17-2 0,-17-17 16,17 17-16,17 1 16,0-18-16,2 0 15,16 0-15,1-18 16,-19 18-16,18 0 0,1-17 16,-2 17-16,-16-17 0,18 17 0,-2-19 15,37 19-15,-18-17 16</inkml:trace>
  <inkml:trace contextRef="#ctx0" brushRef="#br0" timeOffset="4200.04">13508 3696 0,'-19'52'0,"19"-35"15,-17 37-15,17-18 16,-18 16-16,18 18 15,-17 1-15,17 0 16,17-54 0,-17 0-16,0 19 0</inkml:trace>
  <inkml:trace contextRef="#ctx0" brushRef="#br0" timeOffset="4380.82">13225 4031 0,'35'-18'0,"18"18"16,-36 0-16,19 0 16,16-18-16,38 18 15,-21 0-15,-33-18 16</inkml:trace>
  <inkml:trace contextRef="#ctx0" brushRef="#br0" timeOffset="4881.47">14248 3660 0,'-106'159'15,"89"-89"-15,17-35 0,0 1 16,0-1-16,0 1 16,17-2-16,1 20 0,35 16 15,-36-52-15,1-1 0,18 2 0,-19-2 16,18-17-16,1 0 0,16 0 16,-16 0-16,-19 0 0,19 0 15,16-36-15</inkml:trace>
  <inkml:trace contextRef="#ctx0" brushRef="#br0" timeOffset="5086.18">14706 3855 0,'18'-19'31,"0"19"-31,17 0 16,-18 0-16,2-17 0,33 17 15,-16 0-15</inkml:trace>
  <inkml:trace contextRef="#ctx0" brushRef="#br0" timeOffset="5386.82">15500 3660 0,'-18'17'31,"1"2"-31,0-19 0,-1 17 16,0 1-16,0-1 0,-16 19 15,15-1-15,2-18 16,-1 2-1,18-2-15,0 0 0,18 1 16,-18-1-16,17-17 0,2 19 16,-2-19-16,36 17 15,-35-17-15,-1 0 0,0 0 16,1 0-16,0 0 0,17 0 16,-18 0-16,19-17 15,-18 17-15,-18-19 0,17 19 16</inkml:trace>
  <inkml:trace contextRef="#ctx0" brushRef="#br0" timeOffset="5584.89">15589 3625 0,'-71'52'0,"71"-16"15,-18 16-15,18-16 0,-18-1 16,18 1-16,0 35 0,18-37 15,-18 20-15,18-20 16,-18 2-16,0-18 0,18 35 16,-1-36-16,0 1 15,-17-1-15,19-17 0</inkml:trace>
  <inkml:trace contextRef="#ctx0" brushRef="#br0" timeOffset="5880.5">15765 3396 0,'17'-19'15,"1"19"-15,-53 19 0,88-19 0,-35 17 16,-1-17-16,0 18 0,19 35 15,-18-18-15,-1 1 0,0-2 16,2 2-16,-19-1 0,0 18 16,0 18-16,0-19 0,-19-16 15,2 16-15,17-16 0,-17-1 0,17-17 16,-18 17-16,0 1 0,18-19 16,-18 1-16,18-1 0</inkml:trace>
  <inkml:trace contextRef="#ctx0" brushRef="#br0" timeOffset="6264.01">16277 3255 0,'17'0'16,"1"0"-16,-1 34 15,0-16-15,-17 0 16,-17 0-16,17 16 16,-17 20-16,-1-18 0,18-19 15,-17 35-15,-2-33 0,19-2 16,0 0-16,0 1 15,0 0-15,19-18 16,-2 0-16,1 0 0,16 0 16,-15-18-16,16 18 0,-18 0 15,36-18-15,-35 18 0,18-17 16,-19 17-16,0 0 0,19 0 0,-36-17 16,18 17-16,16 0 15,-15 17-15,-2-17 0,1 0 16</inkml:trace>
  <inkml:trace contextRef="#ctx0" brushRef="#br0" timeOffset="6583.24">17282 3643 0,'18'34'0,"-18"-15"16,17-2-16,-17 1 0,0 16 15,17 2-15,-17-1 0,19-16 16,-19 15-16,17 37 0,-17-54 0,0 1 16,18 18-16,-18-19 0,0 0 0,0 2 15,17-2-15</inkml:trace>
  <inkml:trace contextRef="#ctx0" brushRef="#br0" timeOffset="6768.49">17124 3836 0,'34'0'0,"1"0"0,1-17 16,-141 34-16,245-34 0,-104 17 0,-2-18 16,2 18-16,52 0 0,-17 0 15,-19 0-15,-16 0 0,17 0 16,-18 0-16,18 0 0</inkml:trace>
  <inkml:trace contextRef="#ctx0" brushRef="#br0" timeOffset="7173.5">18446 3484 0,'-17'52'0,"34"-104"0,-34 140 15,-2-53-15,19 1 0,-17-2 0,17 54 16,0-52-16,0-1 0,17 18 16,-17 1-16,19-20 0,-2 2 15,1-1-15,35 1 0,-36-19 16,18 1-16,1-1 0,-19-17 15,18 0-15,1 0 0,-1 0 0,1-17 16,52-1-16</inkml:trace>
  <inkml:trace contextRef="#ctx0" brushRef="#br0" timeOffset="7383.41">18834 3660 0,'35'-17'0,"18"17"31,-35-18-31,18 18 0,-2 0 16,2 0-16,-1-18 0,-18 18 15,1 0-15,18 0 0,-19 0 16</inkml:trace>
  <inkml:trace contextRef="#ctx0" brushRef="#br0" timeOffset="7658.54">19628 3536 0,'-54'36'0,"2"-19"15,34 1 1,0-18-16,1 18 0,0 0 0,-1-18 15,0 17-15,18 0 0,-18-17 16,18 19-16,-17-2 0,17 1 16,17-18-16,1 17 15,0-17-15,0 0 0,-1 17 16,18-17-16,-17 0 0,17 0 0,36 0 16,-35 0-16,-19 0 15,18 0-15,1 0 0,-19 0 0,0 0 16,19 0-16,-18-17 0,-1 17 15,0-17-15</inkml:trace>
  <inkml:trace contextRef="#ctx0" brushRef="#br0" timeOffset="7852.69">19752 3519 0,'-19'17'0,"-16"36"31,18-35-31,17 0 0,0 17 15,0 1-15,-17-19 0,17 18 16,0 1-16,17 35 0,-17-2 16,17-33-16,-17-19 15,0 1-15,18 18 0,-1-19 16,2 19-16</inkml:trace>
  <inkml:trace contextRef="#ctx0" brushRef="#br0" timeOffset="8135.67">20033 3201 0,'53'18'16,"-106"-36"-16,142 54 0,-71-1 15,16 0-15,2 1 0,-18-2 16,-1 2-16,19 35 0,-36 0 16,0-1-16,0-35 15,-19 1-15,2 16 16,17-16-16,-17-19 0,-1 1 16,18-1-16,-18 2 0,18-2 0,0 0 15,-18-17 1</inkml:trace>
  <inkml:trace contextRef="#ctx0" brushRef="#br0" timeOffset="8539.31">20492 2955 0,'36'17'16,"-2"0"-16,-16 19 16,-18-1-1,0 18-15,-52 53 16,34-53-16,0-36 0,0 19 15,18-18-15,-17-1 0,17 0 16,0 2-16,17-2 16,1 1-16,0-18 0,34 17 15,-16-17-15,16 0 0,-16 0 16,87-17-16,-52 17 16,-18-18-16,0 18 0,-18 0 0,1 0 15,-19 0-15,18 0 0,1 0 16,-19 18-1,-51-18-15,-2 17 0,-18 2 16</inkml:trace>
  <inkml:trace contextRef="#ctx0" brushRef="#br0" timeOffset="9223.93">10649 4824 0,'19'0'0,"15"0"15,72 0-15,-36 0 0,142 0 16,-88-17-16,228-1 16,-157 1-16,17-2 15,-1 2-15,283-18 0,-230 17 0,371-17 16,-352 35-16,87-17 16,265-2-16,-264 2 15,-89 17-15,388-18 0,-405 18 16,18 0-16,-19 0 0,282 0 15,-299 0-15,0 0 0,-18 0 16,212 0-16,-246 0 16,-2 0-16,-51 0 0,-18 0 0,-19 18 0,-17-18 15,-17 0-15,-1 0 16,-52 0-16</inkml:trace>
  <inkml:trace contextRef="#ctx0" brushRef="#br0" timeOffset="9728.66">15482 5300 0,'-52'36'31,"34"-36"-31,0 17 0,1 1 0,-19 0 16,19 0-16,-18-1 0,16 0 0,-15 19 16,-1-18-16,35-1 15,-19 0-15,19 2 16,19-2-1,-2-17-15,1 0 0,16 0 16,20 0-16,-1 0 16,-18 0-16,1 0 0,34-17 0,-18 17 0,-16-19 15,-1 19-15,1-17 16,-1 0-16,1 17 0,-19-18 0,18-18 16</inkml:trace>
  <inkml:trace contextRef="#ctx0" brushRef="#br0" timeOffset="9915.91">15606 5160 0,'-17'35'0,"-2"-18"15,19 0-15,-17 37 0,17-1 16,53-229-16,-106 387 0,53-158 16,0 0-16,0 35 0,17-36 15,2 38-15,-19-56 16,17 20-16,-17-20 0,35 20 15,-16-37-15,-2 0 0,35 2 16</inkml:trace>
  <inkml:trace contextRef="#ctx0" brushRef="#br0" timeOffset="10334.86">21533 4153 0,'53'0'0,"-106"0"0,141 0 15,-71-17-15,1 17 0,0 0 0,0 0 0,16-17 16,2 17-16,-18 0 0,18 0 16,-19 0-16,35-18 15,-16 18-15,-19 18 0</inkml:trace>
  <inkml:trace contextRef="#ctx0" brushRef="#br0" timeOffset="10462.83">21516 4401 0,'105'-36'0,"-52"19"16,-1 0-16</inkml:trace>
  <inkml:trace contextRef="#ctx0" brushRef="#br0" timeOffset="11810.44">10509 8193 0,'17'0'15,"1"0"-15,18 0 0,-19-17 16,18 17-16,-18 0 0,19 0 15,-1 0-15,-17 0 0,34 0 16,-16 0-16,-18 17 0,-1-17 16,0 18-16,-17-1 0,19 19 15,-19-19-15,-19 1 0,19 0 16,0 52-16,-17-52 16,17 17-16,0 1 0,0-1 0,-17 1 15,17 16-15,0-16 16,-18-19-16,18 18 0,0-17 15,0 0-15,0-1 0,18-17 16</inkml:trace>
  <inkml:trace contextRef="#ctx0" brushRef="#br0" timeOffset="11991.71">10544 8616 0,'36'0'16,"-72"0"0,141 0-16,-69 0 0,-19-17 15,54 17-15,-36-18 0,18 18 16,-17-17-16,-19 17 16,18-17-16,1-2 0,35 2 0</inkml:trace>
  <inkml:trace contextRef="#ctx0" brushRef="#br0" timeOffset="12419.64">11249 7788 0,'53'17'0,"-18"54"31,-35-54-31,0 1 0,-17 35 16,17-36-16,0 19 0,-18-18 15,18-1-15,0 0 0,-17 2 16,17-2-16,0 1 0,-19-18 16,19 17-16,0 2 15,19-19-15,-2 0 16,1 0-16,-1 0 0,19 0 16,-1 0-16,1 0 15,16-19 1,-16 19-16,-19 0 15,19 0-15,-19 0 16</inkml:trace>
  <inkml:trace contextRef="#ctx0" brushRef="#br0" timeOffset="12635.15">12044 8228 0,'-19'71'0,"19"-18"15,0-36-15,19 37 0,-19-20 16,17-15-16,0 86 16,-17-51-16,0-37 15,18 18-15</inkml:trace>
  <inkml:trace contextRef="#ctx0" brushRef="#br0" timeOffset="12848.87">11849 8635 0,'53'-19'16,"-35"19"-16,-1 0 15,0 0-15,2 0 16,69-17-16,-53 17 16,-18 0-16,36-18 0,-35 18 0,0 0 15,17 0-15,-18-17 16</inkml:trace>
  <inkml:trace contextRef="#ctx0" brushRef="#br0" timeOffset="13256.63">13101 8247 0,'0'34'31,"-17"-16"-31,17 0 0,0 0 16,0-1-16,0 0 0,0 1 0,0 18 15,0-19-15,-18 0 16,18 2-16,0-2 0,0 1 16,0-1-16,0 2 15</inkml:trace>
  <inkml:trace contextRef="#ctx0" brushRef="#br0" timeOffset="13743.59">13384 8017 0,'17'0'0,"-17"18"16,-17-36-16,51 53 0,-34-18 0,0 2 16,0-2-16,-17 1 0,17-1 0,-17 2 15,-1 15-15,1-16 16,17-1-16,-19 19 0,19-19 15,0 1-15,0 0 16,19-18 0,-2 0-16,1 0 0,-1 0 15,0 0-15,2 0 0,16 0 16,-18 0-16,2 0 0,-2-18 16,35 18-1</inkml:trace>
  <inkml:trace contextRef="#ctx0" brushRef="#br0" timeOffset="13953.12">14372 8105 0,'0'54'16,"17"-54"-1,-17 17-15,0 0 0,0 18 0,0 1 16,0-1-16,0-17 16,0 17-16,0-18 0,-17 19 0,17-18 15,0 16-15,-18-15 0</inkml:trace>
  <inkml:trace contextRef="#ctx0" brushRef="#br0" timeOffset="14155.82">14160 8476 0,'34'-19'16,"-15"2"-16,-2 17 16,1 0-16,-1-17 0,19 17 15,-19 0-15,19-18 0,-1 18 0,-18 0 16,19-18-16,-1 18 0,-18 0 15,19 0-15</inkml:trace>
  <inkml:trace contextRef="#ctx0" brushRef="#br0" timeOffset="14639.99">15660 8069 0,'-54'107'0,"54"-72"0,-17-18 16,17 19-16,0-1 0,0-17 15,0 17-15,17 36 0,-17-37 16,18 2-16,-1-18 0,2 18 16,-2-19-16,0 0 0,18 18 15,1-35-15,-19 19 0,1-19 16,0 0-16</inkml:trace>
  <inkml:trace contextRef="#ctx0" brushRef="#br0" timeOffset="14841.73">15958 8352 0,'19'-17'16,"-2"17"0,1-18-16,-1 18 0,2 0 15,15 0-15,-16-18 0,-1 18 16,19 0-16</inkml:trace>
  <inkml:trace contextRef="#ctx0" brushRef="#br0" timeOffset="15142.9">16594 8069 0,'-18'-17'0,"-17"53"15,18-36 1,-19 35-16,36-18 0,-18 2 16,1 15-16,17-16 0,-17 18 0,17-19 15,0 18-15,17-17 0,-17 0 16,17 16-16,19 2 0,-18-18 15,-1-1-15,0-17 0,1 17 0,0-17 16,0 0-16,-1 0 0,0 0 16,2 19-16,-2-19 0,-17-19 15,18 19 1,-53-17 0,35 0-1,-19-1-15,2 18 0,17-18 16,-17 18-16</inkml:trace>
  <inkml:trace contextRef="#ctx0" brushRef="#br0" timeOffset="15380.1">16682 7805 0,'18'0'0,"-1"18"0,2-18 16,15 36-16,1-2 15,18 37-15,18 53 16,-54-89-16,1 18 16,0 18-16,-18-37 0,0-16 15,0 18-15,0-2 0,0-16 0,0 18 16,-18-2-16,18 2 16,0-18-16,0-1 15,-18-17-15</inkml:trace>
  <inkml:trace contextRef="#ctx0" brushRef="#br0" timeOffset="15747.47">17300 7717 0,'88'18'0,"-71"-1"16,-17 0-16,17 19 0,-17-1 16,0-16-16,-17 15 0,17 2 0,-17-18 15,-1 34-15,1-16 16,17-19-16,-19 0 0,19 2 15,0-2-15,0 1 16,19-18-16,-19 17 0,17-17 16,1 0-16,-1 0 15,0 0-15,2 0 0,-2-17 0,1 17 0,18 0 16,-19 0-16,18-18 0,1 18 0,-19 0 16,18 0-16,1 0 0,-2 0 15,2 0-15</inkml:trace>
  <inkml:trace contextRef="#ctx0" brushRef="#br0" timeOffset="16261">18393 8052 0,'0'0'16,"-17"53"-16,17-35 0,0-1 16,0 54-1,0-35-15,0-19 0,0 18 0,0-17 16,0 52-16,0-52 0,0 17 16,0-18-16,17 19 15,-17-18-15,17-18 0,-17 17 16</inkml:trace>
  <inkml:trace contextRef="#ctx0" brushRef="#br0" timeOffset="16425.59">18234 8387 0,'0'-18'0,"54"1"15,-20 17 1,20 0-1,-20-17-15,20 17 0,-1 0 0,-18 0 0,18-18 16,-18 18-16,18 0 0</inkml:trace>
  <inkml:trace contextRef="#ctx0" brushRef="#br0" timeOffset="16794.72">19522 8052 0,'-70'88'16,"52"-52"-16,18-1 15,-18-18-15,18 19 0,18-19 0,-18 19 16,18-1-16,-18 0 0,17-17 16,0 17-16,-17-18 0,36 19 0,-18-18 15,16 18-15,2-36 16,-18 17-16,-1-17 0,19 0 15,-19 0-15,1 0 0,18 0 0,-19 0 16,0-17-16</inkml:trace>
  <inkml:trace contextRef="#ctx0" brushRef="#br0" timeOffset="16985.41">19857 8299 0,'36'0'31,"-1"18"-31,-18-18 16,19 0-16,-1-18 16</inkml:trace>
  <inkml:trace contextRef="#ctx0" brushRef="#br0" timeOffset="17321.14">20262 8035 0,'19'0'16,"-2"0"-16,1 34 15,-18-15 1,0-2-16,-18 1 0,18-1 0,-17 2 16,-2-2-16,-15 18 0,-2 18 15,1-18 1,18-17-16,17 0 0,0-1 16,0 0-1,17-17 1,0 0-16,19 0 0,-18 0 15,-1 0-15,19 0 0,-19 0 16,18 0-16,-18-17 0,19 17 0,-18 0 0,18-17 16,-2 17-16,-16-18 15</inkml:trace>
  <inkml:trace contextRef="#ctx0" brushRef="#br0" timeOffset="17569.49">20474 7769 0,'54'19'0,"-37"-2"15,0 1-15,19 35 16,-18-18-16,-1 18 0,0-18 0,2 1 16,-2-2-16,-17 2 0,18 52 15,-36-17 1,18-54-16,0 19 0,-17 16 15,17-16-15,-19-36 16,19 18-16,0-1 0</inkml:trace>
  <inkml:trace contextRef="#ctx0" brushRef="#br0" timeOffset="17987.68">20898 7629 0,'18'18'16,"-1"-1"-16,0 0 15,-17 2-15,0-2 0,0 1 0,-17 35 16,17-36-16,-17 18 0,17-16 16,0-2-16,-18 0 0,18 19 15,-18-1-15,18-18 16,18-17-1,0 0-15,-1 0 16,0 0-16,37-17 0,-37 17 16,36-17-16,1 17 15,-20 0-15,1 0 16,-16 0-16,15 0 0,-16 0 16,0 0-16,0 17 0</inkml:trace>
  <inkml:trace contextRef="#ctx0" brushRef="#br0" timeOffset="18320.22">21992 8476 0,'34'-19'16,"2"19"-16,-106 19 0,158-38 0,-71 19 15,19 0-15,-19 0 0,18 0 0,-16 0 16,-2 0-16,0 0 0,1 19 16</inkml:trace>
  <inkml:trace contextRef="#ctx0" brushRef="#br0" timeOffset="18468.09">22009 8705 0,'105'-18'0,"-69"18"16,-1 0-16,36-18 16,35 1-16,-71 17 15,1-17-15,-1 17 0,18 0 0,-36-19 16</inkml:trace>
  <inkml:trace contextRef="#ctx0" brushRef="#br0" timeOffset="19152.15">11249 9623 0,'124'0'16,"-71"0"-16,35 0 16,0 0-16,35 0 0,-16 0 15,69-19-15,0 2 0,18 17 0,18-18 16,18 1-16,263-2 0,54-15 15,-177 16-15,-16 0 16,-73 18-16,443-18 16,-443 1-16,373 17 0,-373 0 0,302-17 15,-301 17-15,-18 0 16,2 0-16,-2-18 0,-35 18 0,18 0 16,-35 0-16,158-18 0,-228 18 15,-2 0-15,-34-18 16,0 18-16,-36-17 0,-16 17 0,-2 0 15</inkml:trace>
  <inkml:trace contextRef="#ctx0" brushRef="#br0" timeOffset="19751.87">16876 10345 0,'-18'35'32,"1"-16"-32,-36 15 15,-70 72 1,70-53-16,-1-17 16,37-19-16,17 1 15,-17-1-15,-1 19 16,36-19-16,-18 1 15,17-18-15,0 17 0,1-17 0,18 19 16,-2-19-16,20 0 0,-18 0 16,33 0-16,2 0 0,-1-19 15,1 19-15,0 0 0,-18-17 0,18-1 0,-19 18 16,-16-17-16,17-2 16,-36 19-16,18-17 0,1 0 0,-19-18 15</inkml:trace>
  <inkml:trace contextRef="#ctx0" brushRef="#br0" timeOffset="19945.66">17034 10309 0,'-17'90'16,"17"-56"-16,17-158 0,-34 284 15,17-125-15,0 18 0,0 53 16,0-53-16,0 18 0,17-19 0,-17 1 15,0 0-15,0 18 0,0-19 16,19 36-16,-19-52 16,17 17-16,-17-18 0,18-18 15</inkml:trace>
  <inkml:trace contextRef="#ctx0" brushRef="#br0" timeOffset="32299.68">24073 3801 0,'0'106'0,"0"-89"16,0 2-16,17-2 0,-17 0 0,18-17 15,-18 18-15,18-18 0,0 18 0,-1-18 16,0 0-16,1 0 16,0 0-16,0 0 0,-1-18 15,0 18-15,2-18 0,-2 1 16,1 0 0,-18-2-1,-18 2 1,1 17-1,17-18 1,-19 18-16</inkml:trace>
  <inkml:trace contextRef="#ctx0" brushRef="#br0" timeOffset="33021.64">24302 3307 0,'-17'0'16,"-36"36"-1,35-19-15,18 0 0,-18 2 16,0 16-16,1-18 15,-18 71-15,17-52 0,0-1 0,1 1 16,0 34-16,17-35 16,-19-18-16,19 19 0,0-18 0,0-1 15,0 2-15,0-2 0,19 0 16,-19 1-16,0-1 0,34 2 16,-16-2-16,0-17 15,0 17-15,16-17 0,2-17 16,-18 17-16,-1 0 15,-17-17-15,17 17 0,-17-19 0,19 2 16,-2-1-16,-17 1 16,-17-19-1,17 19-15,-19 17 0,19-18 16,-17 18-16,0-17 0,-1 17 16,0 0-1,0 0-15,1 0 16</inkml:trace>
  <inkml:trace contextRef="#ctx0" brushRef="#br0" timeOffset="33350.51">24832 3448 0,'-36'0'16,"18"19"0,1-19-16,0 17 0,-2 0 0,-16 18 15,18-16-15,-2-2 16,2 0-16,17 1 0,-17 0 0,-1 0 16,18-1-16,-18 0 0,18 2 15,18-2-15,-18 1 16,18-18-16,-1 17 0,19 0 15,-19-17-15,71 19 16,-70-19-16,18 0 16,-2 0-16,20 0 15,-37-19-15,0 19 0,2 0 16,-2-17-16</inkml:trace>
  <inkml:trace contextRef="#ctx0" brushRef="#br0" timeOffset="33561.16">24937 3431 0,'-53'70'15,"35"-16"1,18-20-16,-17 20 0,17-1 16,0 52-16,0-17 15,0-53-15,0 1 0,0 35 16,0-18-16,0-18 15,0-1-15,0-15 16,88-760-16,-176 1499 0</inkml:trace>
  <inkml:trace contextRef="#ctx0" brushRef="#br0" timeOffset="33835.74">23632 4489 0,'105'-17'16,"90"-19"0,-19 19-1,-88-1-15,1 0 16,122-17-16,-34 18 15,-1-19-15,-123 36 0,18-18 0,34 18 16,-51-17 0,-37 17-16,0 17 0,1-17 15,-18 18-15</inkml:trace>
  <inkml:trace contextRef="#ctx0" brushRef="#br0" timeOffset="34244.23">24461 4807 0,'-36'17'15,"72"-34"-15,-107 34 0,35 0 16,19 2-16,-18-2 16,-1 18-16,19-16 15,0-19-15,-1 17 0,18 0 16,-18 1-16,18-1 15,18-17-15,-18 19 0,18-19 0,-1 17 16,0-17-16,2 0 16,33 0-16,19 0 15,-54-17-15,54 17 0,-35-19 16,34-16-16,-52 35 16,-1-17-16</inkml:trace>
  <inkml:trace contextRef="#ctx0" brushRef="#br0" timeOffset="34435.87">24444 4753 0,'-36'19'15,"18"16"-15,18-18 0,0 19 16,0-19-16,0 18 0,0 1 16,0-1-16,0 1 0,0-2 15,18 2-15,-18 35 16,17-54-16,19 89 15,-19-70 1,-17-19-16</inkml:trace>
  <inkml:trace contextRef="#ctx0" brushRef="#br0" timeOffset="35173.39">22856 4807 0,'34'88'16,"-34"-71"-1,19 19-15,-19-19 0,17 1 16,-17-1-16,18 2 0,18 15 16,-19-16-1,0-18-15,19-18 16,-18 18-16,-1-17 0,0 0 16,1-19-16,0 1 15,-18-18-15,35-211 16,-35 105-16,-17-18 15,-1 71-15,0 18 0,0 18 16,-16-18-16,16 0 0,-18-54 16,-17-35-1,36 142-15,34-53 16,36 35 0,53 0-16,-36 35 0,89-34 15,-52 34 1,-2 0-16,19 1 0,-19 0 0,142-2 15,1-16-15,-1 18 16,-35 0-16,-19-19 16,-69 18-16,-36 1 15,-17-2 1,-54 2 0,0 0-16,-34 17 31,-18 0-16,17 0-15,-17 0 0</inkml:trace>
  <inkml:trace contextRef="#ctx0" brushRef="#br0" timeOffset="43727.68">22890 4807 0,'19'34'31,"-2"2"-15,-17-18-16,18 18 0,-18-19 15,17 18-15,2-18 0,-19 2 16,17-2-16,0 0 0,-17 1 16,36 18-16,-36-19 0,18-17 15,-18 17-15,17-17 16,-17 19-16,17-19 16,1 0 15,0-19-31,0-15 15,-1 16 17,-17 0-32,0 0 0,0 1 0,0 0 15,17-2-15,-17 2 16,0-1-16,0 1 0,0 0 16,0-19-16,0 18 0,19-18 0,-19 19 15,0-18-15,0-1 0,0-16 0,17-1 16,-17 0-16,0 1 0,0-2 15,18-52-15,-18 36 16,17-54-16,-17 54 0,19-1 16,-19 18-16,0-18 0,0 19 15,0-1-15,0-1 0,17 20 0,-17-1 16,0-1-16,0 1 0,0 17 0,0-17 16,0 18-16,0-2 0,0-16 15,0 18-15,0 0 0,0-2 0,0 2 16,0-1-16,0 1 0,0-2 15,0 2-15,-17 0 16,17-1 0,0 0-16,0 0 31,0 1 31,0 0 17,52 17-64,-35 0-15,19-18 16,-1 18-16,1-18 0,34 18 15,-18-18-15,19 1 0,17 0 0,1-2 16,-1 2-16,0-1 0,0 1 16,176-36-16,-174 35 15,-2 1-15,0-2 0,0 2 16,-18 0-16,-16-1 0,16 18 0,-18-18 16,2 0-16,-20 18 0,2-17 15,-1 17-15,1-17 0,-1 17 0,-17 0 0,0 0 16,-1-18-16,0 18 0,1 0 15,0 0-15,17 0 16,-35-18-16,17 18 16,2 0-16</inkml:trace>
  <inkml:trace contextRef="#ctx0" brushRef="#br0" timeOffset="46116.83">7704 4807 0,'36'17'0,"-36"0"0,17 2 0,0-2 15,-17 1-15,18-1 0,0 19 16,17-1-16,-18-18 0,-17 2 15,18-2-15,0 0 16,0 1-16,-1-18 0,19 0 16,-36-18-16,17 18 15,1-34-15,-1 15 16,2-33-16,-2-1 0,0-18 0,1 0 0,-18-17 16,17 18-16,-17-18 0,0-18 0,-17 18 15,17-18-15,-18 18 0,1-18 16,17 0-16,-17 18 0,-19-18 15,1-71-15,-1 18 0,19 71 16,-1 18-16,0 18 0,18-2 16,0 1-16,0 1 0,0 16 0,0 1 15,18-18-15,34-18 16,-16 37-16,70-37 0,-36 18 16,1 18-16,0-1 0,17 19 15,0-19-15,18 1 0,105-36 16,1 18-16,-107 36 15,-15-18-15,-2 16 0,-18 2 16,53-18-16,-70 17 0,-18 18 0,-16 0 16,15-18-16,-16 18 0,0 0 15,0 0-15,-1-17 16,0 34 0</inkml:trace>
  <inkml:trace contextRef="#ctx0" brushRef="#br0" timeOffset="47251.9">8550 10309 0,'124'195'16,"-106"-160"-16,52 35 15,-35-34-15,-16-18 0,15-1 0,2 0 16,-18 2-16,34-2 15,-34-17-15,17 0 0,-18-17 0,37-2 16,-20-15-16,2-37 16,-1 18-16,-16-17 0,-2 0 15,0-1-15,-17-17 0,18-19 16,0-105-16,-18 90 0,0-2 0,0-18 16,-18-16-16,-34-124 15,16 141-15,1 0 0,-1 17 16,-69-87-16,51 122 0,20 19 15,-20 0-15,-70-89 16,107 123-16,-54-52 16,71 35-1,0 35-15,36-35 0,16 18 16,2-1-16,16 2 0,18-1 0,0-1 16,0 1-16,142-35 15,-89 16-15,0 20 0,159-56 16,-158 38-16,-1 16 0,140-34 15,-157 35-15,70-18 16,0 1-16,-52 16 16,-54 18-16,-71 1 0,19 17 15,-19 0-15,1 0 16,-1 0-16,-17 17 16,-17 1-16,-1-18 15,18 17-15</inkml:trace>
  <inkml:trace contextRef="#ctx0" brushRef="#br0" timeOffset="49900.61">26384 4048 0,'-18'0'0,"70"0"15,-33 0-15,16 0 16,-1-17-16,2 17 16,-18 0-16,35 0 0,0 0 0,-18 0 15,0 0-15,-17 0 0,0 0 0,16 0 16,-15 17-1</inkml:trace>
  <inkml:trace contextRef="#ctx0" brushRef="#br0" timeOffset="50079.62">26472 4277 0,'34'18'15,"-15"-18"1,16 0-16,1 0 0,-19 0 0,18 0 15,1 0-15,16-18 0,-16 18 16,-2-17-16,2 17 0,-1 0 0,1-17 16,-1 17-16,-18-19 0,2 19 0,-2 0 15</inkml:trace>
  <inkml:trace contextRef="#ctx0" brushRef="#br0" timeOffset="51777.25">28782 3572 0,'-70'35'32,"35"1"-32,-1-19 15,1 19-15,-18-19 0,18 18 0,17 1 16,-17-19-16,18 1 0,-2-1 15,2 19-15,-1-19 0,18 1 16,18-1-16,-1-17 16,2 19-16,15-19 0,-16 0 15,18 0-15,-2 0 0,2-19 0,35 19 16,-19-17-16,1 17 0,1-18 16,-2 18-16,-16-17 0,-2 0 0,2 17 15,-1-19-15,-18 19 0,2-17 0,-2 17 16,1-18-16,-18 1 15</inkml:trace>
  <inkml:trace contextRef="#ctx0" brushRef="#br0" timeOffset="51980.17">28782 3572 0,'-17'35'0,"17"1"0,0-19 16,-17 19-16,17-19 0,0 54 15,0-19-15,0-16 0,0-1 0,0 1 16,0 16-16,0 1 16,0-17-16,0 33 0,0-33 0,0-1 15,0-16-15,0 15 0,0-16 0,0 0 16,0 0-16,17-1 16,-17 0-16</inkml:trace>
  <inkml:trace contextRef="#ctx0" brushRef="#br0" timeOffset="60493.84">23632 10011 0,'17'105'0,"-17"-88"0,0 37 0,0-20 15,19 20-15,-19-1 0,17-1 16,0 55-16,1-73 16,-18 20-16,17-1 0,2-18 0,-19-18 0,17 19 15,0-1-15,1-18 16,0 2-16,-18-2 0,18-17 15,16 0-15,-15-17 16,-2-2-16,1-16 0,-1-18 0,19 1 16,-19-19-16,18-17 0,-16-1 15,-2 1-15,0-53 0,1 18 0,18-18 16,-19-18-16,0-124 0,-17 161 16,18-2-16,-36 18 0,18-52 15,-17 51-15,0-34 0,-1 1 0,0 33 16,0 19-16,-16-17 0,-20-73 15,37 108-15,-19 0 16,19 0-16,-18-54 16,52 53-16,1 54 15,70-37-15,-35 37 0,18 0 16,139-2-16,38 19 16,-106 0-16,34 0 0,0 19 15,0-19-15,1 17 0,-18-17 16,-37 17-16,266 19 15,-158-18-15,-124-1 0,-18 0 16,-34-17-16,16 19 0,-35-19 0,0 0 16,-17 17-16,17-17 15,-18 18-15,-17-1 16,-17-17-16,0 0 16,-1 17-16,0-17 0</inkml:trace>
  <inkml:trace contextRef="#ctx0" brushRef="#br0" timeOffset="65808.99">25290 8687 0,'-18'-35'0,"0"18"16,-34 17 0,34 0-16,-34 0 0,33 17 15,-69 36-15,53-35 16,18-1-16,-19 19 0,19-19 0,-1 1 16,0 16-16,18-15 0,-18-2 15,36-17-15,-18 18 16,18-18-16,0 0 0,-1 0 0,19 0 15,16-18-15,-35 1 0,19 17 16,-18-19-16,-1 2 16,2 0-16,-2-1 0,0 18 0,1 0 15,-18-17-15,18 17 0,-18 17 16,0 1 0,0-1-16,0 0 0,0 2 0,0 16 15,-18 1-15,18-2 0,-18-16 16,18 18-16,0-19 0,0 18 0,0-17 0,0 0 15,0-1-15,0 0 0,0 2 16,18-19-16,0 0 16</inkml:trace>
  <inkml:trace contextRef="#ctx0" brushRef="#br0" timeOffset="66116.67">25696 8705 0,'0'0'0,"-36"0"0,18 18 16,1-1-16,-18 0 16,17 37-16,0-37 0,1 0 15,17 19-15,0-18 0,0-1 16,0 2-16,0-2 0,17 0 16,1-17-16,18 18 15,-19-18-15,0 0 0,1-18 0,18 18 16,-19-17-16,0 0 0,-17-2 15,19 2-15,-19-1 0,-19-87 16,19 86 0,-17 2-16,0-18 0,-19 17 0,18 18 15,1-18-15,0 18 0,-1 0 0,0 0 16,-17 18-16,18-18 16,-2 18-16,-16 0 0,18-1 0,-2 19 15</inkml:trace>
  <inkml:trace contextRef="#ctx0" brushRef="#br0" timeOffset="66469.42">24584 10063 0,'89'-35'16,"-54"35"-16,1 0 0,16-17 15,142-2-15,-123 19 16,17-17-16,-17 17 0,-1-18 0,18 18 15,0 0-15,-17-17 0,0 17 16,-19 0-16,54 0 0,-71 0 16,-16 0-16,-2 0 0,0 0 0,1 0 15,-1 0-15</inkml:trace>
  <inkml:trace contextRef="#ctx0" brushRef="#br0" timeOffset="66871.74">25449 10487 0,'-107'34'0,"73"-34"0,-20 36 16,20-18-16,16-1 0,-18 0 16,19 2-16,0-2 0,-2 1 0,2-1 15,17 0-15,-18 2 16,18-2-16,0 1 0,18-1 0,-1 2 15,2-2-15,-2-17 0,0 17 16,1-17-16,0 0 0,17 0 16,0 0-16,1 0 0,-19 0 15,36 0-15,-18-17 0,1 17 0,69-53 16,-69 35 0,-1 1-16,-18-19 0,1 19 0,0-18 15,0 16-15</inkml:trace>
  <inkml:trace contextRef="#ctx0" brushRef="#br0" timeOffset="67046">25660 10363 0,'-35'0'16,"18"17"-16,-1-17 0,0 19 16,142-38-16,-266 55 0,248-89 0,-229 123 15,106-34-15,-2-1 0,2 0 0,-1 18 0,1-17 16,-2 16-16,2-16 0,17 16 0,-17-16 16,17-1-16,0 1 15,0-2-15,0-16 0,0 18 0,0-19 0,0 0 16,17 19-16,-17-18 0,17-18 15,-17 17-15,36-17 0,-18 0 16,-1-17-16</inkml:trace>
  <inkml:trace contextRef="#ctx0" brushRef="#br0" timeOffset="67346.07">27142 9411 0,'52'-18'16,"-33"18"-16,-90 18 0,177-36 0,-89 18 16,2 0-16,-2 0 0,18 0 0,-18 0 15,19 0-15,-1 0 0,18 18 16</inkml:trace>
  <inkml:trace contextRef="#ctx0" brushRef="#br0" timeOffset="67551.7">27072 9781 0,'34'18'16,"20"-18"-1,-37 0-15,19 0 0,-19 0 0,18 0 16,-16 0-16,-2 0 15,18 0-15,-18 0 0,19 0 0,-19 0 16,1 0-16,0 0 0,0 0 0</inkml:trace>
  <inkml:trace contextRef="#ctx0" brushRef="#br0" timeOffset="68266.77">28765 9199 0,'17'0'0,"-51"17"31,34 0-31,-36 19 16,-52 18 0,70-37-16,-18 18 15,19-17-15,0 0 0,-1-1 0,0 0 16,0 1-16,1 0 0,17 0 15,0-1-15,17 19 16,1-36-16,0 0 16,0 0-16,-1 17 0,19-17 15,-1 0-15,-18 0 0,19 0 0,-1 0 16,1 0-16,-19-17 0,18 17 0,-18 0 16,19 0-16,-19-19 15,1 19-15,0 0 0,0 0 0,-1-17 16,-17 0-16</inkml:trace>
  <inkml:trace contextRef="#ctx0" brushRef="#br0" timeOffset="68493.14">28800 9093 0,'-18'18'15,"18"35"1,0-36-16,0 1 15,0 16-15,0-15 0,-17 16 0,17 18 16,0-18-16,0 1 0,0-2 16,0 2-16,0-1 0,0-18 15,0 19-15,-17-18 0,17 18 0,0-19 0,0 0 16,0 1-16,0-1 16,17-17-16,-17 19 0</inkml:trace>
  <inkml:trace contextRef="#ctx0" brushRef="#br0" timeOffset="68664.03">29170 9375 0,'-17'-18'15,"0"18"-15</inkml:trace>
  <inkml:trace contextRef="#ctx0" brushRef="#br0" timeOffset="69095.59">29470 9023 0,'54'0'0,"-108"0"0,125 0 0,-54 0 16,1 0-16,0 0 0,0 0 16,-1 0-16,0 0 0,1 0 0,0 0 0,-18 17 15,18-17-15,-1 17 0,0 1 16,-17 0-16,19 0 0,-19 16 16,0-15-16,0-2 0,0 18 0,0-18 15,0 19-15,0-1 16,0-16-16,-19 15 0,19 20 15,0-37-15,0 0 0,0 1 0,-17 0 16,17 0-16,0-1 0,0 0 16,17 2-16,-17-2 0,19-17 15,-19 18-15</inkml:trace>
  <inkml:trace contextRef="#ctx0" brushRef="#br0" timeOffset="69290.53">29505 9445 0,'0'-17'15,"19"17"1,-2 0-16,18-17 0,-17 17 16,70-18-1,-70 18-15,16 0 0,2-18 0,-1 18 16,-16 0-16,33 0 15,-35-18-15,2 18 0,-2 0 16</inkml:trace>
  <inkml:trace contextRef="#ctx0" brushRef="#br0" timeOffset="69623.92">30581 9093 0,'-52'0'16,"33"18"-1,-33 16 1,35-15-16,-72 33 16,71-35-16,1 2 0,0-2 15,-1 1-15,18-1 16,0 2-16,0-2 15,0 0-15,18-17 0,-18 18 0,17-18 16,0 0-16,1 18 0,35-18 16,-36 0-16,19 0 0,-18 0 15,35 0-15,-18 0 0,1 0 16,-19-18-16,36 18 0,-35-18 16,-1 1-16,0 17 15,-17-17-15,18-2 0</inkml:trace>
  <inkml:trace contextRef="#ctx0" brushRef="#br0" timeOffset="69811.14">30581 9004 0,'-35'53'16,"18"-35"-16,69-89 0,-123 195 0,54-88 16,17-1-16,-17 18 15,17-18-15,0 18 0,0-18 0,0 1 16,0-2-16,0 37 0,0-35 15,0-1-15,0 1 0,17-19 16,-34 18-16,17-18 0,0 36 16</inkml:trace>
  <inkml:trace contextRef="#ctx0" brushRef="#br0" timeOffset="70092.21">28412 10275 0,'53'-18'0,"-18"18"15,35-17-15,-16 17 0,139-36 16,-86 36-16,122-35 0,-106 17 15,1 0-15,-19 1 0,19 0 16,0-2-16,-19 2 0,107-1 16,-124 1-16,36 0 0,-72 17 15,-16 0-15,-1-19 16</inkml:trace>
  <inkml:trace contextRef="#ctx0" brushRef="#br0" timeOffset="70295.84">28836 10380 0,'34'36'0,"-68"-72"16,104 72-16,-35-19 0,1-17 0,104 18 16,-69-18-16,17 0 0,1 0 15,-1-18-15,159 1 16,-177 0-16,-16 17 15,15-19-15,-16 2 0,35-18 16,-52 16-16</inkml:trace>
  <inkml:trace contextRef="#ctx0" brushRef="#br0" timeOffset="70949.7">28553 4595 0,'229'-18'15,"-141"18"-15,107-17 0,-107 0 16,17 17-16,2-19 0,-2 2 15,-17-1-15,107 1 0,-124-2 16,-19 19-16,1-17 0,0 17 16,-35 0-16,16 0 0</inkml:trace>
  <inkml:trace contextRef="#ctx0" brushRef="#br0" timeOffset="71137.75">28448 4772 0,'52'0'16,"18"0"-16,-34 0 0,35 0 15,317-19 1,-283 19-16,1-17 0,0 17 16,-18-17-16,0 17 0,0 0 15,-17-18-15,-18 18 0,18-18 0,-19 0 16</inkml:trace>
  <inkml:trace contextRef="#ctx0" brushRef="#br0" timeOffset="91584.1">1918 8299 0,'-34'0'0,"15"0"15,19-18 1,19 1 0,-2 17-16,-17-17 0,52-2 15,-33 19 1,-2 0-16,0-17 0,1 17 0,52 0 16,-51 0-1,-2 0-15,35 0 16,-33 0-16,-2 17 0,1-17 0,35 36 15,-53-19-15,17 1 16,1-18-16,-18 18 0,17 0 0,-17-1 16,19 18-16,-19-17 0,17 0 15,-17-1-15,17 0 0,-17 2 0,18 16 16,-18-18-16,0 2 0,18 15 0,-18-16 16,18-1-16,-18 2 0,17 15 15,-17-16-15,17 0 0,2 0 16,-19-1-16,17 0 0,-17 2 0,18-2 15,-1 1-15,-17-1 0,17 0 16,2-17-16,16 36 16,-35-18-16,17-18 0,2 0 0,-2 17 15,0-17-15,37 0 16,-37 0-16,18 0 0,-17-17 16,17 17-16,18-18 15,-18 1-15,-16-2 0,33 2 16,-35 17-16,2-17 0,-2-1 0,0 18 15,-17-17-15,18-2 0,0 19 16,-18-17 0,0 0-16,18-1 15,-36 53 32,36-18-31,-18 2-16,17-2 0,-17 1 0,17-1 15,2 0-15,-2 2 0,1-2 0,-1 1 16,19-1-16,-19 2 0,18-2 16,72 54-1,-55-54-15,-16 0 0,-2 1 0,2 0 16,16 17-16,-16-18 0,18 2 16,-20-2-16,20 18 0,-20-18 0,54 19 15,-34-18-15,-20 18 0,20-19 16,-18 0-16,16 19 0,72 34 15,-71-34-15,-18-19 16,18 19-16,-18-1 0,18 1 0,0-2 16,-1 20-16,-16-20 0,16 2 15,-16-1-15,-1 1 0,1 16 16,-1-16-16,1-1 0,-19 18 0,18-18 16,1 1-16,-19 16 0,19-16 0,-19-2 15,1 20-15,-1-37 0,0 19 0,2-19 16,-2 37-16,-17-37 15,18 0-15,-18 1 0,0 0 16,0 0-16,0-1 0,0 0 16</inkml:trace>
  <inkml:trace contextRef="#ctx0" brushRef="#br0" timeOffset="93317.81">5110 10240 0,'36'0'31,"-18"0"-15,-1 17-16,19 18 16,-19-18-16,19 2 15,-18-2-15,-1 1 0,18 18 0,1-2 16,-2-16-16,-15 18 0,16-2 15,1 2-15,-2-1 0,-16 1 0,18-1 16,-2-1-16,2 2 0,-1-1 0,0 1 16,1-1-16,-2 1 0,2-2 15,-1 2-15,18-1 0,-18 1 16,18-1-16,-17 1 0,16 16 0,2-16 0,-1-2 16,18 2-16,-19 16 0,1-16 15,0-18-15,-1 16 0,19 2 16,-35-1-16,16-16 0,19 15 0,-18-16 15,18 18-15,-1-2 0,1-16 16,17 18-16,-17-19 0,17 19 0,-18-19 16,18 1-16,0 16 0,0-15 0,0 16 15,2-18-15,-2 2 0,0 15 16,17-16-16,-17 0 0,19 0 0,-19-1 16,17 0-16,2-17 0,15 18 0,108 18 15,-124-36-15,17 17 16,-16 0-16,15-17 0,2 19 0,-1-19 15,1 17-15,0 1 0,-19-18 16,19 17-16,-1 2 0,1-2 0,-1-17 16,1 17-16,210 18 15,-210-16-15,0-2 0,-1 0 0,1-17 16,-1 18-16,1 0 0,-19-18 16,19 18-16,0-1 15,-1-17-15,1 17 0,122 1 0,-140 0 16,18-18-16,17 0 0,-18 0 15,1 18-15,17-18 0,-17 0 0,157 0 16,-139 0-16,-18-18 0,16 18 16,1 0-16,0 0 0,1 0 15,-1 0-15,35-18 0,-35 18 16,1 0-16,-20 0 0,20 0 0,-1 0 16,35-18-16,-35 18 0,35 0 0,-34-17 15,-1 17-15,35 0 0,-17-17 16,-18 17-16,0 0 0,1 0 0,-1 0 15,0-18-15,-1 18 0,2 0 0,-18 0 16,17 0-16,0 0 0,-1 0 16,-16 0-16,18 0 0,-1 0 15,-18 0-15,18-18 0,-17 18 0,17 0 0,-18 0 16,18 0-16,-17-18 0,16 18 16,-16 0-16,0-17 0,16 17 0,-16 0 15,0-17-15,-1 17 0,1-19 0,-1 19 16,1 0-16,0-17 0,-2 17 15,2-18-15,-1 18 0,1-17 16,88 0-16,-107 17 0,2-19 16,-2 19-16,1-17 0,0 17 0,-18-18 15,18 18-15,-18-17 0,1-2 16,87 2-16,-17 0 16,-89-1-16,1 18 0,70-36 15,-71 36-15,0-17 16,54 0-16,-53-1 0,0 18 15,-18-18-15,16 18 0,38-35 16,-36 35-16,-19-17 0,54-2 16,-18 19-16,-17-17 15,17-1-15,-53 18 16,35-17-16,54-2 16,18-15-1,-90 34-15,1-18 0,0 18 0,1-17 16,51-2-16,-52 19 0,-1-17 15,2 17-15,51-17 16,-52-1-16,1 0 0,-2 18 16,72-18-16,-71 1 0,18 17 15,-19-17-15,89-1 0,-88 18 16,70-18-16,-70 0 16,1 18-16,68-34 0,-68 15 15,16 19-15,-16-17 0,-2-1 16,72 1-16,-71-2 15,52-15-15,1 16 0,-70 1 16,-2-2-16,20 2 16,16 0-16,-16-1 15,-20 0-15,54 0 16,-34-16-16,-20 34 16,37-36-16,-18 36 15,-18-18 1,-16 18-16,33-17 0,-16 0 15,-19 17 1,0 0-16,2 0 16,-2-19-16,1 19 15,-1 0 17,-17-17 14</inkml:trace>
  <inkml:trace contextRef="#ctx0" brushRef="#br0" timeOffset="93744.12">27442 10875 0,'35'0'0,"106"17"47,-123-17-47,18 17 16,-19-17-16,0 0 0,1 18 15,18-18-15,-36 18 0,17-18 16,-17 18-16,17-1 15,-17 19-15,0-1 16,-17 1-16,-19 16 16,19-35-16,-1 2 0,-16 15 15,-2 2-15,18-18 0,-18 16 16,19-34-16,-18 36 16,18-36-16,-19 18 15</inkml:trace>
  <inkml:trace contextRef="#ctx0" brushRef="#br0" timeOffset="95492.97">3170 3343 0,'-17'-36'15,"17"18"-15,0 1 0,36-18 16,-1-1 0,-18 19-16,19 0 0,-1-19 15,1 36-15,16-35 0,-16 35 16,16 0 0,-34 0-16,17 0 15,18 35-15,-35-18 0,16 19 16,-15-19-16,-19 19 15,35 16-15,-18 2 16,2-20-16,-2 37 0,0-35 16,1 16-16,-18-16 15,18-1-15,0 18 0,-1 18 0,54 17 16,-54-52 0,19-19-16,-1 18 15,18-18-15,-1 2 0,-16-19 16,-19 0-16,19 0 15,16-19-15,2 2 16,-20-1-16,-15 18 0,16-17 16,1-19-16,-19 36 15,-17-17-15,17 17 16,1 17 15,-18 2-31,0-2 0,0 0 16,0 1-16,0-1 0,0 19 0,17-1 0,2 1 15,15 52 1,20 0-16,-20-35 0,54 70 16,2 1-16,-38-71 15,54 70-15,-54-53 16,72 72-16,-18-18 16,18 17-16,-71-72 15,35 55-15,0 18 16,-53-72-16,35 53 0,-16 1 15,-54-71-15,17-1 16,-17 2-16,17-1 0,-34 35 16,17-53-16,0 1 0,-35 52 15,35-71-15,-18 19 0,0-19 16,18 1-16,-17-1 0,0 2 16,17-2-16</inkml:trace>
  <inkml:trace contextRef="#ctx0" brushRef="#br0" timeOffset="97256.46">5764 5865 0,'0'18'0,"17"-18"15,0 17-15,2-17 16,-2 0-16,1 17 0,18-17 0,16 0 15,-16 0-15,16 19 16,-16-19-16,34 0 0,124 0 16,0 0-1,-123 0-15,0 0 0,-1 0 16,70 0-16,-69 0 16,17 0-16,-17 0 0,18-19 0,-1 19 15,0 0-15,0 0 0,0 0 16,0-17-16,0 17 0,-17 0 0,35 0 15,53-17-15,-88 17 0,17 0 16,0 0-16,0 0 0,17 0 16,90 0-16,-90 0 15,90 0-15,-90 0 0,-34 0 16,17 0-16,18 0 0,194 0 16,-212 0-16,18 0 15,-18 0-15,89 0 0,-89 0 16,17 17-16,-17-17 0,19 0 0,-19 0 15,0 0-15,88 17 16,71-17-16,-158 0 16,-1 0-16,0 0 0,17 19 15,54-19-15,-88 0 16,17 0-16,-18 0 0,18 0 0,-17 0 16,0 17-16,106-17 0,-89 0 15,-17 0-15,17 0 0,-18 18 0,89-18 16,-88 0-16,-1 0 15,18 17-15,159-17 16,-106 19-16,-53-19 0,-17 0 16,88 17-16,-71-17 15,-18 0-15,18 0 0,0 17 16,0-17-16,-17 0 0,17 0 0,-17 0 16,-1 0-16,18 18 0,-17-18 0,17 0 15,-17 17-15,158-17 16,-70 19-16,-89-19 15,89 0-15,-18 17 16,-70-17-16,17 0 0,-17 0 16,-1 17-16,89-17 15,0 0-15,-1 18 0,-87-18 16,17 0-16,53 18 16,18-18-16,-52 0 15,51 18-15,-70-18 0,-17 0 16,0 17-16,17-17 0,70 17 15,-70-17-15,0 0 0,71 0 16,-88 19-16,87-19 16,-70 0-16,-17 0 0,106 17 15,-1-17-15,-88 0 16,0 18-16,19-18 0,-19 0 0,-17 0 16,34 17-16,-17-17 15,107 0-15,-90 17 0,54-17 16,-54 0-16,90 19 15,-107-19-15,124 0 16,-107 0-16,90 0 0,122 17 16,-105-17-1,-107 0-15,1 0 0,0 0 16,0 0-16,106 0 16,0 18-16,-90-18 0,-15 0 0,-2 0 15,1 0-15,106 0 16,0 0-16,-90 0 15,90 0-15,0 0 0,-106 0 16,0 0-16,0 0 16,211-18-16,-229 18 15,124 0-15,-107 0 0,-15-17 16,120 17-16,-120 0 16,103-19-16,-88 2 0,90 17 15,-107-17-15,107 17 16,-2-18-16,-122 1 15,-1 17-15,106-19 0,2 2 16,-20 0-16,-70-1 16,54 0-16,51-17 15,-122 18 1,53-2-16,-2-16 16,-68 35-16,51-34 0,19-2 15,-71 18-15,-18 18 16,18-17-16,-18-2 0,18 2 0,18 0 15,17-19-15,-35 1 16,18 18 0,-19-37-16,-16 37 15,52-54-15,-71 54 16,1-2-16,18-15 0,-19 16 16,36-35-16,-18 18 15,-18 17-15,2 0 16,-2 1-16,1 0 15,-18-1-15,17 18 16,-17-18-16,19 18 16,-19-18-16,17 1 31</inkml:trace>
  <inkml:trace contextRef="#ctx0" brushRef="#br0" timeOffset="97663.54">28130 5283 0,'70'17'46,"-34"-17"-46,-19 0 16,19 0-16,-1 0 0,-18 19 16,36-19-16,-18 34 15,-16-34-15,-2 18 0,0 0 0,-17 0 16,18 16-16,-18-16 0,-18 35 16,18-17-16,-34-1 0,15-1 15,-33 56-15,-19-20 16,54-35-16,-36 18 15,17-18-15</inkml:trace>
  <inkml:trace contextRef="#ctx0" brushRef="#br0" timeOffset="104716.93">10280 7788 0,'-159'371'15,"123"-195"-15,1 105 16,35-192-16,0 87 15,18-105-15,-1 0 16,0-19-16,37 54 0,16-18 16,-35-70-16,72-1 15,34-17 1,-53-17-16</inkml:trace>
  <inkml:trace contextRef="#ctx0" brushRef="#br0" timeOffset="105128.26">11761 7593 0,'159'354'16,"-125"-178"-1,-34-88-15,0 106 16,-17-88-16,0-18 0,-19 18 16,1-18-16,18 0 0,-54 54 15</inkml:trace>
  <inkml:trace contextRef="#ctx0" brushRef="#br0" timeOffset="105586.89">12978 7893 0,'-70'300'16,"52"-212"-16,0 0 0,18 0 15,-18 90-15,18-90 0,18 70 16,0-87-16,17-19 0,18 19 16,35-18-1,0-17-15,-53-36 0</inkml:trace>
  <inkml:trace contextRef="#ctx0" brushRef="#br0" timeOffset="105844.36">13754 7647 0,'52'88'0,"38"70"16,-73-87-16,0 0 0,1-1 16,0 18-16,-18-17 0,-18 70 15,-17 18-15,18-71 16,-37 36-16</inkml:trace>
  <inkml:trace contextRef="#ctx0" brushRef="#br0" timeOffset="106299.98">15624 7999 0,'-35'141'16,"-1"36"-16,19-89 15,17 18-15,0 70 16,17 1-16,0-106 0</inkml:trace>
  <inkml:trace contextRef="#ctx0" brushRef="#br0" timeOffset="120137.01">28694 8528 0,'54'19'15,"-20"-19"-15,1 0 0,36 0 16,106 0-16,16 0 16,-86 0-16,-2-19 0,107 19 15,-106 0-15,-1 0 0,-16-17 16,-18 17-16,-2 0 0,2 17 16,-18-17-16,35 0 15,-70 0-15</inkml:trace>
  <inkml:trace contextRef="#ctx0" brushRef="#br0" timeOffset="120344.97">29065 8793 0,'159'-17'0,"-107"17"15,106 0-15,-87 0 16,124 0-16,-37 0 16,-87 0-16,17 0 0,-17 0 15,34 0-15,-69 0 16,-1 0-16,1 17 0</inkml:trace>
  <inkml:trace contextRef="#ctx0" brushRef="#br0" timeOffset="121132.99">28553 2884 0,'300'-35'15,"-176"17"-15,35-17 16,-89 35-16,-18 0 0,19-17 16,-18 17-16,-18 0 15,-18 0-15,19 0 0,-1 0 0</inkml:trace>
  <inkml:trace contextRef="#ctx0" brushRef="#br0" timeOffset="121330.99">28694 3043 0,'54'0'15,"-20"17"-15,1-17 0,18-17 16,247 17-1,-212 0-15,19 0 0,52-18 16,-89 18-16,89 0 16,-88 0-16,51 18 0,-68-18 15</inkml:trace>
  <inkml:trace contextRef="#ctx0" brushRef="#br0" timeOffset="121588.91">30529 3219 0,'0'0'0,"-107"529"15,90-476 1,0 70-16,-1-70 16,0 106-1,0-123-15,18-1 16</inkml:trace>
  <inkml:trace contextRef="#ctx0" brushRef="#br0" timeOffset="121783.82">30634 3307 0,'-17'53'0,"0"-36"16,-19 90-16,-18 16 16,20 35-16,16-87 15,1 0-15,-2-18 0,2 0 0,17-1 16,-17 2-16,17-1 0,-18 18 15,0-54-15</inkml:trace>
  <inkml:trace contextRef="#ctx0" brushRef="#br0" timeOffset="122310.77">27936 3377 0,'17'19'31,"-17"-2"-31,0 18 0,-17 1 0,17 16 16,0 1-16,-18 18 0,-18 70 15,2 1-15,16-72 16,0-18-16,0 2 0,18-20 15,0 20-15,0-37 0,-17 19 0,34-19 16,-17 1-16,18-36 16</inkml:trace>
  <inkml:trace contextRef="#ctx0" brushRef="#br0" timeOffset="122464.62">28448 3272 0,'-54'283'0,"37"-213"16,0 18-16,-2-17 0,-16 105 16,18 71-1,17-194-15,0 18 0,0-1 0,0 1 16</inkml:trace>
</inkml:ink>
</file>

<file path=ppt/ink/ink13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54:03.914"/>
    </inkml:context>
    <inkml:brush xml:id="br0">
      <inkml:brushProperty name="width" value="0.05292" units="cm"/>
      <inkml:brushProperty name="height" value="0.05292" units="cm"/>
      <inkml:brushProperty name="color" value="#0070C0"/>
    </inkml:brush>
  </inkml:definitions>
  <inkml:trace contextRef="#ctx0" brushRef="#br0">8396 8868 0,'0'-36'15,"0"19"48,-18 34-1,1-17-62,0 19 0,-2-2 16,-16 18-16,1-17 15,15 0-15,2-1 0,-18 0 0,16 1 16,-15 0-16,16 0 16,0-18-16,0 17 0,18 0 0,-17-17 15,0 0-15,17 19 0,-18-19 16,18 17-16,0 1 16,18-1-1,-1-17-15,0 0 0,1 19 16,0-19-16,0 0 0,-1 17 15,71-17-15,-52 17 16,-19-17-16,1 0 16,18 0-16,-19 0 0,18 18 15,-17-18-15</inkml:trace>
  <inkml:trace contextRef="#ctx0" brushRef="#br0" timeOffset="555.59">8078 9080 0,'-17'0'0,"52"0"31,1 0-15,17 0-1,-36 0-15,18 0 0,18 17 16,35-17-16,-52 0 16,16 18-16,19-18 0,-18 0 0,89 0 15,-20 17 1,37-17-16,-88 0 0,-1 0 16,18 0-16,-17 0 0,17 0 0,-17 0 15,-1 0-15,1 0 0,0 0 16,53 0-16,-72 0 15,18 0-15,37 19 0,-36-19 16,17 0-16,17 0 16,-69 0-16,16 0 0,-16 0 15,-1 0-15,35 0 0,-16 0 16,-20 0 0,-16-19-16,0 19 0,0 0 15,-1 0-15,0 0 16,2 0-16,-2 0 15,1 0-15,-1 0 16,2 0 0,-2 0-1,0 0-15,1 0 16,-1-17 15,2 17-15</inkml:trace>
  <inkml:trace contextRef="#ctx0" brushRef="#br0" timeOffset="900.05">10760 8780 0,'53'0'31,"35"35"-15,-71-18-16,19 2 0,16-2 15,-33 0-15,-2 1 16,1-18-16,16 18 0,-34 0 0,36 16 15,-18-16 1,-18 18-16,-18-19 0,1 0 16,-2 19-16,-33 18 15,16-20-15,-16-16 0,-37 52 16,37-34-16,-19-1 0,1 0 0,-1 1 16</inkml:trace>
  <inkml:trace contextRef="#ctx0" brushRef="#br0" timeOffset="1887.56">6932 12537 0,'-71'35'0,"54"-18"16,-1 1-16,1-18 0,0 18 16,-2 0-16,2-18 0,-1 17 0,1 0 15,-19 19 1,19-18-16,17-1 0,-18-17 16,18 17-16,0 2 0,0 16 15,18-18 1,-1 2-16,0-19 15,-17 17-15,19-17 0,-2 17 16,1-17-16,-1 18 0,2-18 0,-2 0 16,0 0-16,1 0 15,-1 0-15,2 0 0,-2 0 16,0 0-16</inkml:trace>
  <inkml:trace contextRef="#ctx0" brushRef="#br0" timeOffset="4234.43">6809 12765 0,'35'0'16,"-18"0"-16,2 0 0,-2 0 16,0 0-16,19 0 15,-18 0-15,-1 0 16,0-17-16,2 17 0,33 0 16,-35 0-16,2 0 0,-2 0 15,1 0-15,18 0 0,-19-17 16,18 17-16,-18 0 0,36 0 15,-35 0-15,0-18 16,0 18-16,-1 0 0,19 0 0,-19 0 16,18 0-16,-18 0 15,2 0-15,-2-17 16,37 17-16,-37 0 0,18 0 16,-17 0-16,0 0 15,-1 0-15,18-19 16,-17 19-16,0 0 0,-1 0 15,0 0-15,2 0 16,-2 0-16,1 0 0,-1 0 16,0 0-16,2 0 0,16 0 0,-18 0 15,2 0-15,-2 0 0,18 0 0,-17 0 16,0 0-16,16 0 0,-16 0 16,0 0-16,17 0 0,-18 0 0,19 0 15,-18 0-15,-1 0 0,19 0 16,-19 0-16,1 0 0,-1 0 15,2 0-15,-2 0 0,0 19 16,1-38-16,0 19 16,0 0-1,-1 0-15,0 0 16,2 0 0,-2 0-1,1 0 1,-1 0 15,0 0-15,-17-17-1,19 17 1,-2 0 15,1 0-15,-1 0 15,2 0-31,-2 0 0,18 0 31,-17 0-31,0 0 16,-1 0 0,0 0-1,1 0-15,0 0 16,0 0 15,-1-17-31,0 17 31,2 0 1,-2 0-17,1 0 16,-1 0 1,0 0-17,2 0-15,-2 0 16,1 0-16,-1 17 0,2-17 16,-2 0-16,0 0 0,1 0 15,0 0-15,0 0 16,-1 0-16,0 0 15,1 0-15,0 0 16,-18 17 0,18-17-1,-1 0-15,0 0 16,2 0 0,-2 0-1,1-17-15,-1 34 16,19-17-16,-19 0 15,1 0-15,-1 0 0,19 0 16,-19 0-16,1 0 0,0 0 16,17 19-16,-18-19 0,19 0 0,-18 0 15,-1 0-15,36 17 16,1-17-16,-20 0 0,-16 18 16,-1-18-16,19 0 0,-19 0 15,19 0-15,16 17 16,2-17-16,-20 0 0,-15 0 0,16 0 15,1 0-15,-19 17 0,0-17 16,19 0-16,-18 0 0,-1 0 16,36 0-16,-18 0 15,-18 0-15,2 0 0,-2 19 16,1-19-16,-1-19 16,2 19-16,-2 0 15,0 0 1,1 0-1,-1 0 1,2 0 0,-2 0-1,0 0 1,1 0-16,0 0 16,0 0-16,-1 0 15,36 0-15,-35 0 0,16 0 16,2 19-16,-1-19 0,1 0 0,16 17 15,1-17-15,1 0 0,-1 18 16,16-18-16,-15 0 0,-1 17 0,52 2 16,19-19-16,-89 17 15,53-17-15,-52 17 16,52-17-16,-53 18 0,1-18 16,-19 0-16,19 0 0,-19 0 15,37 0-15,-54 18 16,34-18-16,-16 0 0,-1 0 15,2 0 1,-2 0-16,0 0 16,1 0-1,0 0 1,0 0 0,-1 0 15,0 0-16,2 0 1,-2 0 15,1 0-31,-1 0 0,0-18 16,2 18-16,-2 0 16,1 0-16,-1 0 0,2-18 15,15 18-15,-16 0 16,-1-17-16,19 17 0,-1 0 0,-35-17 15,18 17-15,0 0 16,16 0-16,-15-19 0,-2 19 16,1 0-16,-1-17 15,0 17-15,2 0 16,-2 0 0</inkml:trace>
  <inkml:trace contextRef="#ctx0" brushRef="#br0" timeOffset="4624.88">12365 12677 0,'53'19'31,"-35"-19"-31,-1 0 0,0 17 16,2-17-16,-2 18 16,1-18-16,-18 17 0,17-17 15,0 17 1,-17 2-16,19-19 0,-19 17 16,17 1-16,-17-1 15,0 2-15,-17-2 16,17 0-16,-19 1 15,2 0-15,0-18 16,-1 18-16,-18-18 0,2 17 0,-2 0 16,-52 1-16,36-18 15,-90 18-15,72-18 0</inkml:trace>
  <inkml:trace contextRef="#ctx0" brushRef="#br0" timeOffset="5588.05">5433 14053 0,'-36'18'0,"19"0"0,-1 0 16,1-18-16,0 17 15,-2-17-15,2 17 16,-18 2-16,35-2 0,-19-17 16,19 18-16,-17-1 0,0 2 15,17-2 1,17 0-16,0-17 16,-17 18-16,19-18 0,-2 17 15,1-17-15,-1 0 0,2 19 16,-2-19-16,0 0 0,1 0 0,-1 0 15,19 17-15,-1-17 16</inkml:trace>
  <inkml:trace contextRef="#ctx0" brushRef="#br0" timeOffset="6854.83">5380 14212 0,'36'0'31,"-19"0"0,0 0-15,1 0-16,0 0 16,0 0-16,-1 0 15,0 0-15,1 0 0,0 0 16,17 0-16,-18 0 0,2 0 15,-2 0-15,18 0 0,-16 0 0,15 0 16,-16 0-16,-1 0 0,19 0 16,-19 0-16,19 0 0,-18 0 0,-1 0 15,0-17-15,19 17 0,-1 0 16,-18 0-16,2 0 16,-2-18-16,1 18 0,-1 0 0,2 0 15,-2 0-15,0 0 16,1-17-1,-1 17-15,2 0 16,-2 0 0,0 0 15,1 0-31,0 0 31,0 0-15,-1 0 15,0 0-15,2 0-1,-2 0 1,1 0 0,-1 17-1,0-17 16</inkml:trace>
  <inkml:trace contextRef="#ctx0" brushRef="#br0" timeOffset="8032.39">13970 14036 0,'18'17'15,"-1"-17"-15,0 0 16,19 18-1,-18 0-15,-1-18 0,2 18 16,-19-1-16,17 0 0,-17 2 16,0-2-16,-17 1 15,-19 18-15,-18-19 0,-68 54 16,34-37-16,0-16 0,-71 35 16,18-18-16</inkml:trace>
  <inkml:trace contextRef="#ctx0" brushRef="#br0" timeOffset="12463.81">565 1248 0,'-19'0'0,"2"0"16,70 0-1,89 0 1,-72 0-16,36 0 15,-1-17-15,19 17 0,159-19 16,-107 2-16,-52-1 0,52 18 0,-18-17 16,-16-2-16,-20 19 0,2-17 15,0 0-15,-1 17 0,1-18 16,69 18-16,-105-17 0,-17 17 16,0 0-16,-18 0 0,0 0 0,-18 0 15,1 0-15,-19 0 0,1 0 0,-1 0 16,19 0-16,-19 0 0,1 17 15,-1-17-15,2 0 0,-2 0 16,0 0-16</inkml:trace>
  <inkml:trace contextRef="#ctx0" brushRef="#br0" timeOffset="13247.73">6880 1424 0,'0'0'15,"52"0"1,-16 0 0,69 0-16,178-17 15,-161 17 1,2-18-16,18 18 0,34 0 0,0-18 16,177 0-16,-177 18 15,19 0-15,-2 0 0,2 0 0,-2-17 16,2 17-16,-2 0 0,196 17 15,-213-17-15,18 0 0,0 18 16,-18-18-16,0 0 0,143 18 16,-179 0-16,1-18 0,125 17 15,-144-17-15,-15 0 16,16 0-16,-35 17 0,1-17 0,-20 0 16,2 0-16,36 0 0,-73 0 0,2 0 15,-18 0-15,35 0 16,-36 0-16,1 0 0,-1 0 15,0 19-15,2-19 16</inkml:trace>
  <inkml:trace contextRef="#ctx0" brushRef="#br0" timeOffset="14353.01">18416 1495 0,'176'0'0,"-35"0"15,-36 0-15,1 0 16,18 0-16,0 0 0,16 0 0,54 0 16,177 0-16,-178 0 15,19 0-15,0 0 0,0 17 0,18-17 16,16 0-16,-16 19 0,-1-19 15,0 0-15,18 17 0,-18 0 0,1-17 16,228 35-16,-35-16 16,-228-2-16,17 0 0,-36-17 15,0 18-15,-18 0 0,-16-18 16,104 18-16,-16-1 0,-124 0 16,53-17-16,-88 0 15,-37 0-15,54 19 0,-70-19 16,35-19-16,-36 19 15,2 0-15,-2 0 16</inkml:trace>
  <inkml:trace contextRef="#ctx0" brushRef="#br0" timeOffset="14904.04">19526 1848 0,'0'0'0,"54"0"15,-37 0-15,36 0 0,17 0 16,36 0-16,0 0 0,0 0 0,17 0 16,18 0-16,35-19 0,2 38 15,210-19-15,-178 0 16,-15 0-16,17 17 0,193 1 15,1-1-15,-194-17 0,-18 19 16,17-19-16,-16 17 16,-2-17-16,-16 17 0,17 1 0,140-1 15,-104 19-15,-106-36 16,-19 17-16,-16 1 0,-37 0 0,19-18 16,-35 18-16,-1-18 0</inkml:trace>
  <inkml:trace contextRef="#ctx0" brushRef="#br0" timeOffset="31735.03">8044 14936 0,'17'0'0,"-17"17"46,0 1-46,0-1 16,0 19 0,0-19-16,0 1 0,-17 0 15,17 0-15,0-1 0,0 0 0,0 37 16,-18-20-16,18-15 16,0-2-16,0 18 0,-18 1 0,18-1 15,-18 1-15,18-19 16,-17 0-16,17 1 0,0 0 15,-17 0-15,17-1 16,0 0-16,0 1 16,-19 0-1,38 0 17,-2-18-17,0 0 1,19 0-1,-18 0 1,-1 0-16,0 0 0,1 0 16,0 0-16,34 17 15,-33-17-15,16 0 16,-18 0-16,2 0 0,-2 0 0,18 0 16,-18 0-16,2 0 0,15 0 15,2-17-15,-18 17 0,-1 0 0,19 0 16,-1 0-16,-18 0 0,19 0 0,-19-18 15,18 18-15,-16 0 0,15 0 16,2 0-16,-18 0 0,16 0 0,2 0 16,-1 0-16,1 0 0,16 0 15,-16 0-15,16 0 0,1 18 0,18-18 16,-18 0-16,18 0 0,-19 0 16,19 0-16,-18 0 0,35 17 15,0-17-15,-52 0 16,-1 0-16,18 0 0,-18 0 0,1 17 15,-2-17-15,2 0 0,-1 0 16,18 0-16,-18 0 0,-18 0 16,2 0-16,16 0 0,-18 0 0,2 0 15,-2 0-15,0 0 16,1 0-16,0 19 16,0-19-16,-1 0 0,0-19 15,1 19 1,0 0-16,0 0 15,-1 0-15,19 0 16,-19 0-16,1 0 16,-1 0-16,2 0 0,-2 0 0,0 0 15,1-17-15,-1 17 0,2 0 16,33 0-16,-34 0 0,0 0 16,-1 0-16,0 0 0,54-17 15,-54 17 1,2 0-16,-2 0 0,1 0 0,-1 0 0,2 0 15,-2-18-15,18 18 16,-18 0-16,19-18 0,-19 18 16,1 0-16,0 0 15,0-18 1,-1 18-16,0 0 31,2 0-31,-2-17 16,1 17 15,-18-17-31,17-1 31,-17-18-15,17 36-16,-17-17 0,0 0 16,19-2-16,-19 2 0,17-18 15,-17 18-15,18-2 0,-18 2 16,17-1-16,-17 1 0,19-2 15,-19-15-15,17 34 0,-17-18 0,0 0 16,17 0-16,-17 1 0,0 0 0,0-1 16,18 18-16,-18-36 15,0 19-15,17 0 16,-17-2 0,0 2-1,0-1 1,-17 1 15</inkml:trace>
  <inkml:trace contextRef="#ctx0" brushRef="#br0" timeOffset="32619.83">8908 15271 0,'0'36'0,"0"-19"15,-18 0-15,18 1 16,0-1-16,0 2 0,-17-2 15,17 18 1,0-17-16,-19 0 16,38-1-1</inkml:trace>
  <inkml:trace contextRef="#ctx0" brushRef="#br0" timeOffset="33182.93">9384 15288 0,'-18'0'0,"1"0"15,52 0-15,-87 0 0,33 19 16,2-19-16,-1 17 31,36 0-15,-18 1-16,17-18 16,2 17-16,-2 2 15,0-19 1,1 34-1,-36-16 1,-16 0 0,34 0-16,-19-18 15,2 0 1,-1 0-16,1 17 0,-2-17 16,2 0-1</inkml:trace>
  <inkml:trace contextRef="#ctx0" brushRef="#br0" timeOffset="33452.14">9666 15341 0,'0'-17'0,"-17"34"32,17 18-17,-19-16-15,19-2 16,-17 0-16,0 1 16,17 0-16,-18 0 0,18-1 15,0 0 1,-18-17-16,18 18 0,0 0 15</inkml:trace>
  <inkml:trace contextRef="#ctx0" brushRef="#br0" timeOffset="33759.87">9630 15376 0,'19'-17'15,"-2"34"1,1-17-16,-1 19 16,2-19-16,-2 17 0,-17 0 15,17-17-15,-17 18 0,18-18 16,-18 18-16,0 0 0,0-1 15,-18 0-15,18 1 0,-17-18 16,0 18-16,-2 0 0,2-1 16,-1-17-16,-35 17 15,36 2-15,-1-19 0,-18 17 0,19-17 0,-18 0 16</inkml:trace>
  <inkml:trace contextRef="#ctx0" brushRef="#br0" timeOffset="35300.19">6456 15217 0,'-18'107'16,"18"-72"-16,0-18 0,0 19 0,18-1 15,-18 1-15,0-2 0,0 2 16,0 16-16,0 2 0,0-1 16,0-1-16,0 1 0,0 1 0,0-1 0,0-1 15,0-16-15,0-1 16,0 1-16,0 16 0,0-16 0,0-2 16,0 2-16,0 16 0,0 2 15,0-20-15,-18 2 0,18-1 0,0 1 16,0-1-16,-17 1 0,17-2 0,0 20 15,-19-20-15,19-15 0,0 16 16,0-18-16,0 2 0,0-2 16,0 0-16,0 1 0,0-1 0,0 2 15,0-2-15,0 0 16,0 1-16,0 0 0,0 0 16,0-1-1,0 0-15,0 2 0,0-2 16,0 1-1,0-1 1,0 0 0,36-17 31,-18-17-32,-1 17-15</inkml:trace>
  <inkml:trace contextRef="#ctx0" brushRef="#br0" timeOffset="36216.1">6456 17088 0,'88'0'0,"-52"0"16,-2 0-16,2 0 0,16 0 0,2 0 16,-1 0-16,18 0 0,-1 0 15,1 0-15,-2 0 0,21 0 16,-21 0-16,20 0 0,-18 0 0,34 0 0,-17-19 15,-17 19-15,34 0 0,-34 0 16,36 0-16,-19-17 0,-18 17 0,18 0 16,-17 0-16,105-17 15,-88 17-15,-17 0 0,35-18 16,-18 18-16,0 0 0,18 0 0,106-17 16,-107 17-16,90 0 15,-90 0-15,2 0 0,86 17 16,-88-17-16,2 0 0,-2 0 15,-17 0-15,19 18 0,-2-18 16,-17 0-16,19 0 0,157 17 16,-176 0-16,0-17 0,-17 19 15,-1-19-15,-16 0 0,16 17 16,-18-17-16,2 18 0,16-18 16,-34 0-16,-1 17 0,-18-17 0,1 0 15,0 0-15,0 0 16,-1 0-1,-34-17 1</inkml:trace>
  <inkml:trace contextRef="#ctx0" brushRef="#br0" timeOffset="37456.62">12629 15217 0,'0'54'0,"0"-37"16,0 2-16,0-2 0,0 18 0,0-18 16,-17 19-16,17-19 0,0 54 15,0-36-15,0 1 0,-18 17 16,18-1-16,0-16 0,-17 16 16,17 1-16,0-17 0,0-1 0,0 89 15,0-89-15,-19 1 16,19-2-16,0 1 0,0 1 15,0-1-15,0 1 0,0-2 0,0 2 16,0-1-16,0-18 0,0 19 0,0-1 16,0-16-16,0 15 15,0 2-15,0-18 0,0 16 0,0-16 0,0 0 16,-17 17-16,17-18 0,0 2 16,0-2-16,0 18 0,0-16 15,0-2-15,0 18 16,0 1-16,0-19 15,0 0-15,0 1 16,0 0-16,0 0 0,0-1 16,0 0-16,0 2 15,0-2 1,0 1-16,0-1 16,0 0-1,0 2 16,-17-19 1,17 17-17,-18-17-15,1 0 0,-2 0 16,2 0-16,0 0 16,-54 0-1,54 0-15,-2 0 0,-16 0 0,1 0 16,15 0-16,-16 18 0,-1-18 15,2 0-15,-1 0 0,-1 0 16,1-18-16,-1 18 0,2 0 0,-2 0 16,1 0-16,-1 0 0,1 0 15,-1 0-15,2 0 0,-2 0 16,1 0-16,-36 0 0,54 0 0,-19-17 16,19 17-16,-18 0 0,16 0 15,-15 0-15,16 0 0,1 0 16,-2 0-16,2 17 0,0-17 15,-1 0-15,0 0 0</inkml:trace>
  <inkml:trace contextRef="#ctx0" brushRef="#br0" timeOffset="38556.31">8873 16471 0,'52'17'0,"-52"0"16,17-17-16,-17 18 0,-17 0 15,17 0-15,-17-1 0,-1 18 16,1 1-16,-2-19 16,2 0-16,0-17 0,-1 36 15,0-36-15,18 18 0,-18-18 16,18 17-16,-17-17 0,17 19 15,17-19 1,1 0 0,18 0-1,-19 0-15,0 0 0,19-19 16,-1 19-16,-18 0 16,2 0-16,16-17 0,-18 17 15,2 0-15,-2 0 0,0-18 0,1 18 16,0 0-16</inkml:trace>
  <inkml:trace contextRef="#ctx0" brushRef="#br0" timeOffset="38935.53">9508 16505 0,'-36'0'16,"18"0"-16,-16 0 16,15 0-16,2 0 0,17 18 15,-18-18-15,1 18 0,17 0 16,0 16 15,17-16-31,1 0 0,-1 0 16,2-1-16,-2-17 15,-17 17-15,17-17 0,-17 19 0,18-2 16,-18 1 0,-18 18-1,1-36-15,17 17 16,-17-17-16,-19 17 0,18-17 16,1 18-16,0-18 0,-2 0 15,2 0 1</inkml:trace>
  <inkml:trace contextRef="#ctx0" brushRef="#br0" timeOffset="39191.75">9701 16559 0,'0'17'31,"-17"18"-15,17-17-16,0 0 0,0-1 15,-18 0-15,18 2 16,0-2-16,-17 1 0,17 18 16,0-19-16,0 0 15,0 1 1</inkml:trace>
  <inkml:trace contextRef="#ctx0" brushRef="#br0" timeOffset="39470.99">9772 16576 0,'17'0'16,"2"0"-16,-2 0 16,0 17-16,1 1 0,0-18 15,-18 18-15,18 0 0,-1-1 0,-17 0 16,17 2-16,-17 16 16,0-18-16,0 2 0,0-2 0,0 0 15,-17 1-15,0-1 0,-1 2 0,0-2 16,0-17-16,1 17 0,0 1 15,-19-18-15,18 0 0,-16 0 0,-2 18 16,18-36-16,-35 18 0</inkml:trace>
  <inkml:trace contextRef="#ctx0" brushRef="#br0" timeOffset="40723.32">4904 15588 0,'34'176'16,"-15"-123"-16,33 282 15,-33-246-15,15 211 16,-16-212-16,-18 18 15,18-18-15,-18 0 0,18 1 16,-18-1-16,0 71 0,0-89 16,0 1-16,0-2 0,17-15 15,-17 16-15,0 1 0,0-18 0,0-1 16,-17 2-16,17-1 0,0-18 16,0 1-16,0-2 0,0 2 0,0-1 15,0-18-15,0 54 0,0-54 16,0 2-16,0-2 0,0 1 15,0-1-15,0 2 16</inkml:trace>
  <inkml:trace contextRef="#ctx0" brushRef="#br0" timeOffset="41700.05">5238 18164 0,'90'0'16,"-21"-19"-16,-33 19 15,52-17 1,-35 17-16,-18 0 0,194-35 16,-175 35-16,122-36 15,-106 36 1,1-17-16,70 0 0,-70 17 16,17-18-16,0 18 0,-17 0 15,17 0-15,-18-18 0,1 18 0,0 0 16,-1 0-16,18 0 0,-17-18 0,34 18 15,-34 0-15,34 0 0,2 0 16,-19-17-16,17 17 0,-17 0 16,19 0-16,-19 0 0,0-17 0,-17 17 15,17 0-15,-18 0 0,18 0 16,71 0-16,-88 0 0,17-19 16,160 19-1,-160 0-15,0 0 0,-18 0 0,18-17 16,-17 17-16,0 0 0,17 0 0,-18 0 15,1 0-15,0 0 0,17 0 0,-18-18 16,1 18-16,17 0 0,-17 0 16,70 0-16,-70 0 15,-2 0-15,2 0 0,-1 0 0,-16 0 16,16 0-16,1 0 0,141 18 16,-143-18-16,2 0 15,0 0-15,-1 0 0,-16 0 0,16 0 16,1 17-16,-19-17 0,19 0 15,-1 0-15,-16 19 0,16-19 16,1 0-16,0 0 0,-1 17 0,1-17 0,-2 0 16,2 0-16,0 17 0,-18-17 15,18 0-15,-1 18 0,-18-18 16,19 0-16,0 0 0,-1 18 0,-16-18 16,16 0-16,-18 18 0,19-18 15,-18 0-15,-17 0 0,16 17 0,-16-17 16,16 0-16,-16 0 0,18 0 0,-2 0 15,-16 0-15,16 0 0,-16 0 16,-2 0-16,20 0 0,-20 0 0,2 0 16,18 0-16,-20 0 0,-16 0 0,18 0 15,-2 0-15,-16 0 0,0 0 16,0 0-16,-1 0 0,0 0 0,2 0 16,-2-17-16,1 17 15,-1-18-15,-17 0 16,0-34-1</inkml:trace>
  <inkml:trace contextRef="#ctx0" brushRef="#br0" timeOffset="42971.55">14358 15253 0,'-17'35'0,"-2"-16"15,19-2-15,0 18 0,0 1 16,-17-19-16,17 18 0,0 1 16,0 16-16,-17-16 0,17 17 0,0-1 15,0 1-15,-18 1 0,18-2 0,0 1 16,0 0-16,0-18 0,0 1 15,0 16-15,0-16 0,0 16 0,0 1 16,0-17-16,0 16 0,0-16 16,0-1-16,0 1 0,0 16 0,0 19 15,18-35-15,-18-2 0,0 125 32,0-88-32,0 17 15,0-52-15,0-2 16,0 2-16,0-18 0,0 16 0,17-15 15,-17 16-15,0-18 0,0 71 16,0-69-16,0 15 16,0-16-16,0 0 0,0 0 15,0 16-15,0-15 0,0-2 0,0 1 16,0-1-16,0 0 0,0 2 0,0-2 16,0 1-16,-17-1 0,17 2 15,0-2-15,0 0 0,0 1 16,0 0-16,17 0 15,-34 16 1,34-16 0,-17 0-16,0 0 15,0-1 1,0 0-16,0 2 16,0-2-1,0 1 16,0-1-31,0 0 32,-17-17-17,17 19 1,-18-19 0,0 17-16,0-17 15,-16 18-15,16-18 16,0 0-16,0 17 0,1-17 0,0 0 15,-19 0-15,18 0 0,-18 0 16,19 0-16,0 0 0,-18 0 16</inkml:trace>
  <inkml:trace contextRef="#ctx0" brushRef="#br0" timeOffset="43955.87">8961 17564 0,'52'88'0,"-69"-71"16,17 1-16,-18-18 15,18 18-15,-17 0 0,-2-1 16,2 0 0,53-17 15,-19 0-16,1 19-15,-1-2 16,-17 1 0,-17-1 15,17 0-31,-18-17 0,18 19 0,-17-19 0,-2 17 16,-15-17-1,16 0-15,1 0 16,-2 0-16</inkml:trace>
  <inkml:trace contextRef="#ctx0" brushRef="#br0" timeOffset="45038.37">9332 17581 0,'-36'18'16,"18"-18"0,18 18-1,18 0-15,-18-1 16,17 0-16,2 1 16,-2 0-16,0 17 15,1-18-15,-18 2 16,0-2-16,-18 1 15,1 16 1,17-15-16,-17-19 0,-2 17 0,2-17 16,-18 18-1,16-18-15,2 0 16,0 0-16,-1 0 16,18-18-1,-18 18-15</inkml:trace>
  <inkml:trace contextRef="#ctx0" brushRef="#br0" timeOffset="45251.84">9508 17528 0,'17'19'16,"-17"-2"-16,0 0 15,0 1-15,0 0 0,17 0 16,-17 34 0,0-34-16,0 0 0,0-1 15,0 0-15</inkml:trace>
  <inkml:trace contextRef="#ctx0" brushRef="#br0" timeOffset="45512.29">9613 17581 0,'36'-53'16,"-19"36"-16,1-1 15,-1 18 1,2 0-16,15 18 16,-16-18-16,-18 17 15,17-17-15,-17 19 0,19-19 16,-19 17-16,0 0 0,0 1 15,-19 18 1,2-19-16,-1 0 0,1 1 0,0 0 0,-19 0 16,18-1-16,-18-17 0,19 17 0,-18 2 15,17-19-15,-17 17 16,18-17-16,-19 0 0</inkml:trace>
  <inkml:trace contextRef="#ctx0" brushRef="#br0" timeOffset="55577.25">5768 4299 0,'-194'36'16,"176"-19"-16,-70 0 15,70-17-15,18 19 0,18-2 16,0 1 0,52 18-1,-34-19-15,-19 0 0,19 1 0,-19-1 0,18 2 16,-16-2-16,-2-17 0,0 17 15,-17 1-15,18 0 0,-18 0 16,0 16-16,0-15 0,-18-2 16,1 1-16,0-1 0,-2 0 15,-16 2-15,18-2 0,-19-17 0,1 18 0,17-1 16,-17 2-16,18-19 0,-1 0 16,-18 17-16,19-17 0,0 0 15,-2 0-15</inkml:trace>
  <inkml:trace contextRef="#ctx0" brushRef="#br0" timeOffset="56327.02">6209 4423 0,'-17'-18'0,"-2"36"16,2-18-16,-18 17 16,-1 19-16,19 16 15,-1-33 1,18-2-16,0 18 0,0-17 15,0 0-15,0-1 0,18 0 16,-18 2-16,17-2 0,2 1 0,-2-1 16,0-17-16,1 17 0,-1-17 15,2 0-15,-2 0 0,0 0 16,19-17-16,-18 17 0,-1-17 0,19 17 16,-19-18-16,1 1 0,-1 17 15,0-19-15,2 2 0,16 0 16,-35-1-16,17 18 0,-17-18 15,19 18-15,-19 18 32,0 0-17,0-1-15,17-17 16,-17 17-16,17 2 0,1-19 16,0 17-1,0-17-15,16-17 16,-16 17-16,-18-19 15,18 2 1,-18 0-16,0-1 16,0 0-1,18 0-15,-1 18 16,0 0 15,2 18-15,-2 0-1,-17 0 1,18-18 0,-18-18 15,17 0-15,2 18-16,-2-18 15,0 18-15,1 0 16,-1 0-1</inkml:trace>
  <inkml:trace contextRef="#ctx0" brushRef="#br0" timeOffset="56584.76">7002 4547 0,'19'-19'16,"-55"38"15,36-2-15,-17-17-16,17 17 0,0 19 15,0-18 1,17-1 0,0-17-1,2 0-15,50 0 16,-15-17-1,34-1 1</inkml:trace>
  <inkml:trace contextRef="#ctx0" brushRef="#br0" timeOffset="57048.77">7656 4335 0,'-71'0'15,"54"0"-15,-2 17 0,2-17 0,-1 0 16,1 17-16,-2-17 16,19 19-16,0-2 15,0 1 1,19-1-16,16 2 0,-18-19 16,19 0-16,-1 0 0,-17 17 15,0-17-15,-1 0 0,0 0 16,1 0-16,18 0 0,-19 0 15,0 0-15,2 17 0,-2-17 16,1 18-16,-1-1 16,0 2-16,2-2 15,-19 36-15,0-35 0,0-1 16,0 19-16,-19-19 0,2 18 16,0 18-16,-1-35 15,1-1-15,-2 2 0,2-2 0,0 0 16,-1-17-16,0-17 31,54-36-15,-36 35-16,17 1 0,0-2 15,2 2-15,-2 0 0,18-1 16,-18 1-16,19-2 0,-18 2 0,-1 17 16,19-17-16,-1 17 0,-17-18 15,34 18-15</inkml:trace>
  <inkml:trace contextRef="#ctx0" brushRef="#br0" timeOffset="57555.44">9596 4123 0,'-88'17'16,"140"72"-1,-34-54-15,17 0 0,1 1 16,-19-2-16,18-15 0,1 16 15,-1 18-15,-18-36 0,2 37 16,-19-20-16,0-16 16,-19 0-16,19 0 0,-17-1 15,-35 19-15,-2-19 16,37 1-16,-19-18 0,19 0 16,-1 17-16,-18-17 15,36-17-15,-17 17 0,0 0 0,-1-18 0</inkml:trace>
  <inkml:trace contextRef="#ctx0" brushRef="#br0" timeOffset="57773.16">10001 4140 0,'17'0'15,"-17"19"-15,0-2 16,0 0-16,19 19 0,-19-18 15,0-1-15,0 18 0,0 1 0,0-19 16,0 19-16,0-19 0,17 18 16,-17 18-16,0-18 0,0 1 15,18-19-15,-18 1 0,0 0 16,0 0-16,0-1 0</inkml:trace>
  <inkml:trace contextRef="#ctx0" brushRef="#br0" timeOffset="58248.23">9896 4581 0,'-18'-17'32,"53"17"-17,-18-17-15,2 17 0,-2 0 0,18-19 16,-18 19-16,2 0 15,-2-17-15,1 17 0,-1 0 16,2-18-16,15 1 0,-16 17 16,0-17-16,0 17 0,-1 0 15,0 0 17,-17 17-17,0 0-15,18-17 16,-18 18-16,18-1 0,0 2 31,35-38-15,-36 19-16,1-17 15,-1 17 1,2-18 0,-2 18-16,0 0 15,1 18 1,-18 18-1,17-19 1,-17 0-16,0 1 16,19-18-1,-2 0-15</inkml:trace>
  <inkml:trace contextRef="#ctx0" brushRef="#br0" timeOffset="59427">10954 4123 0,'18'-18'0,"-18"53"15,0-16-15,0-2 16,0 0-16,0 1 0,0 18 0,0-19 16,0 18-16,0-17 0,0 17 15,0 1-15,0-19 0,0 1 16,0-1-16,0 2 0,0-2 0,0 0 15,-18-17 17,0 0-17,-17 0 1,18 0-16,-2 18 16,-33-18-16,35 17 0,-2-17 15,2 19-15,-1-2 0,1 0 16,-2 1-16,19 0 0,-17-18 15,17 18-15,17-1 16,2 0-16,-2-17 16,1 0-16,18-17 15,-2 17-15,1-17 16,-16 17-16,15-18 0,2 0 0,-18 0 16,-1 1-16,0 0 0,2-2 15,-2 19-15,-17-17 0,18 17 16,-18-18-16,17 18 0,-17-17 15,-17 52 32,34-35-15,0 0-32,2 0 15,-2 0 1,18 17-1,-16-17 1,-2 0-16,0 0 31,1 19-15,-1-19-16,2 0 16,-2 0-16,0 0 15,1-19-15,18 19 16,-19 0-16,-17-17 0,17 17 15,19-35-15,-18 35 0,-1-17 16,19-19-16,-19 1 16,1-1-16,-1 19 0,-17-1 15,19 0-15,-19-17 0,17 35 16,-17-35-16,0 70 47,0-18-47,0 1 0,0 0 15,0 0-15,0 70 16,0-71-16,0 2 16,0-2-16,-17 0 0,17 1 0,0-1 15,-19 2-15,2-2 0,-1 0 16,1-17-16,-2 0 16,2 0-16,0 0 15,17-17 1,17 0-1,-17-2-15,17 19 0,2-17 16,16-18-16,-18 35 16,2-17-16,-2-2 0,18 2 0,1-18 15,-19 35-15,0-19 16,19 19-16,-18-17 16,-1 17-16,0 17 0,2-17 15,-2 19-15,1-19 16,-18 17-16,0 1 15,17-18-15,-17 17 0,0 2 16,0-2-16,0 0 16,0 1-16,-17-18 0,17 17 15,0 2-15,-18-19 0,18 17 16,-17-17 0,-2 0-1</inkml:trace>
  <inkml:trace contextRef="#ctx0" brushRef="#br0" timeOffset="60125.46">7144 5252 0,'441'-36'0,"-282"19"16,-1-1-16,18 1 16,2 0-16,210-19 0,-178 1 0,214-1 15,-212 19-15,176-19 16,-194 18-16,476-70 15,-528 88-15,87-34 16,-124 15-16,90 2 16,-126 17-16,-15-18 0,-1 18 15,0-17-15,-35 17 0</inkml:trace>
  <inkml:trace contextRef="#ctx0" brushRef="#br0" timeOffset="60400.62">10037 5128 0,'105'-17'0,"-51"17"15,16 0-15,1-18 0,0 18 0,17 0 16,0-17-16,105-2 16,-105 2-16,107 0 0,-2-19 15,-140 18-15,1 1 16,-1 0-16,-1-1 0</inkml:trace>
  <inkml:trace contextRef="#ctx0" brushRef="#br0" timeOffset="61043.82">11694 4423 0,'0'-18'15,"18"18"-15,-36 18 0,54-53 0,-18 16 16,-1 19 0,-17-17-1,17 17-15,2 17 32,-19 19-17,17-36-15,-17 18 16,0-1-16,18-17 0,-18 19 0,0-2 15,17 0-15,-17 1 0,0-1 16,19-17-16,-19 19 0,-19-2 16,19 0-1,0 1-15,-17-18 0,17 18 16,-18-18-16,1 18 0,-2-18 0,2 0 31</inkml:trace>
  <inkml:trace contextRef="#ctx0" brushRef="#br0" timeOffset="61183.71">12030 4669 0</inkml:trace>
  <inkml:trace contextRef="#ctx0" brushRef="#br0" timeOffset="67534.78">27481 1777 0,'19'0'0,"-2"0"15,0 0 1,1-17-1,-53 17 48,-36 17-47,54 1-16,-2-18 0,2 17 15,-18-17-15,18 0 0,-2 17 16,2-17-16,0 19 0,-1-19 15,18 17-15,0 1 16,0-1 0,18 2-16,-1-19 0,-17 17 0,17-17 0,2 17 15,-2-17-15,1 18 16,-1-1-16,0-17 0,2 19 0,-2-19 16,1 17-16,-1 0 0,2-17 0,-2 18 15,-17 0-15,17-18 0,-17 18 16,0-1-16,0 0 0,0 2 15,-17-19-15,17 17 0,-17 1 16,-19-1 0,18 0-16,1-17 0,-2 0 0,19 19 15,-17-19-15,0 0 0,-1 0 16</inkml:trace>
  <inkml:trace contextRef="#ctx0" brushRef="#br0" timeOffset="67967.95">27958 1760 0,'-18'0'16,"18"-19"0,-35 38-1,35-2-15,-17-17 0,17 18 0,-19 52 16,19-52 0,0 35-16,0-36 0,0 1 15,0-1-15,0 2 0,0-2 16,19 0-16,-2 1 0,18 18 15,-17-36-15,0 17 0,-1-17 16,0 0-16,1 0 0,0 0 0,0-17 16,-1 17-16,0 0 0,2-18 15,-2 18-15,-17-18 0,18 0 0,-1 1 16,-17 0-16,0-2 0,0 2 16,0-1-16,-17 1 15,17 0-15,-18-2 0,18 2 0,-17-1 16,-2 1-16,2-2 0,0 2 15,-1 0-15,0 17 0,0-18 0,1 18 16,0 0-16,-1-17 0</inkml:trace>
  <inkml:trace contextRef="#ctx0" brushRef="#br0" timeOffset="71973.81">24448 8939 0,'300'-18'0,"-230"18"16,18-18-16,18 18 16,0 0-16,0 0 0,-1 0 0,2 0 0,15 0 15,-15-18-15,16 18 0,1 0 16,0 0-16,-19 0 0,19 0 0,-1 0 15,1-17-15,-2 17 0,2 0 16,-18 0-16,0 0 0,0-17 0,-18 17 16,-18 0-16,1 0 0,0 0 15,53-19-15,-90 19 0,1 0 16,1 0-16,-1 0 0,-17 0 0,0 0 16,-1 0-16,0-17 0,2 17 15,-2 0-15,-53 0 31,19 0-15,0 0-16,-19 0 0,1 0 0</inkml:trace>
  <inkml:trace contextRef="#ctx0" brushRef="#br0" timeOffset="72484.67">24853 9203 0,'53'0'0,"-35"0"0,18 0 16,33-18-16,-16 18 0,18 0 15,317-34 1,-53 34-1,-229 0-15,0 0 0,0 0 0,0 0 16,-1 0-16,-17 0 0,1 0 16,-18 0-16,-2 0 0,2 0 0,0 17 15,-18-17-15,-18 0 0,1 0 0,-2 0 16,-15 0-16,16 0 0,-18 0 16,2 0-16,-2 0 0,0 0 0,1 0 15,-1 0-15</inkml:trace>
  <inkml:trace contextRef="#ctx0" brushRef="#br0" timeOffset="73926.56">23565 10913 0,'248'-34'0,"-177"34"15,-1 0-15,18 0 0,-17 0 0,17 0 16,0 0-16,-17 0 15,17 0-15,-18 0 0,1 0 0,70 17 16,-89-17-16,2 0 0,-20 0 0,-15 0 16,16 0-16,-18 0 15,2 0-15,-2 0 0,0 0 0,1 0 0,-1 0 16,2 0 0,-19 17-16</inkml:trace>
  <inkml:trace contextRef="#ctx0" brushRef="#br0" timeOffset="77395.14">24130 12008 0,'106'0'32,"-53"0"-32,-18-19 0,35 19 15,1 0-15,17 0 0,-17 0 16,35 0-16,0 0 0,-18 0 0,17 0 16,2 0-16,-2 19 0,2-38 0,-2 38 15,19-19-15,-19 0 0,1 0 16,0 0-16,-18 0 0,18 0 15,-36 0-15,18 0 0,0 17 0,-17-17 16,17 0-16,1 0 0,-1 0 0,-17 0 16,0 0-16,17 0 0,-18 18 15,1-18-15,-19 0 0,19 0 0,53 0 16,-71 0-16,-18 17 16,35-17-16,-16 0 0,-20 0 0,20 0 15,-20 0-15,20 19 0,-20-19 0,20 0 16,-20 0-16,20 0 0,-18 0 0,16 0 15,1 0-15,-18 0 16,89 0-16,-71 0 16,-18 0-16,1 0 0,-2 0 0,-16 0 0,18 0 15,-2 0-15,-16 0 0,18 0 16,-19 0-16,19 0 0,-19 0 0,1-19 16,-1 19-16,2 0 0,-2 0 0,0 0 15,1 0 1,-1 0-16,2-17 0,-2 17 15,0 0 1,-17-18 0,18 18-16,-18-17 0,18-2 15,-18-15 1,0 16-16,18-18 16,-18 2-16,0 16 0,0 0 15,0-17-15,0 18 0,0-19 16,0 18-16,0-16 0,0 15 0,0-16 15,0-1-15,0 19 0,0-18 16,17 17-16,-17-17 0,0 18 0,0-19 16,0 18-16,0 1 0,0 0 0,0-2 15,0 2-15,0-1 0,0 1 16,0-2-16,0 2 16,0 0-16,-17-1 15,17 1 1,-18-2-1,0 2 1,0 17 0,-16-17-1,15 17 1,2 0-16,-1 0 0,1 0 16,-19-18-16,-16 18 15,33 0 1,2-18-16,-18 18 0,17 0 0,0 0 15,1 0-15,-18 0 16,17 0-16,0-18 0,-16 18 0,15 0 16,-16 0-16,-1 0 0,2 0 0,16 0 15,-18-17-15,2 17 0,-2 0 16,1 0-16,0 0 0,-1 0 0,2 0 16,-20 0-16,18-17 0,2 17 0,-20 0 15,20 0-15,-20 0 0,20 0 16,-20-19-16,20 19 0,-2 0 0,-18 0 15,2 0-15,16 0 0,-16 0 0,16-17 16,2 17-16,-20 0 0,20 0 16,-2 0-16,1 0 0,-1 0 0,19 0 15,-19 0-15,1 0 0,0 0 0,17 0 16,-17 0-16,-1 0 0,1 0 0,18 0 16,-19-18-16,1 18 15,-1 0-15,19 0 0,-18 0 0,17 0 16,-17 0-16,-1 0 0,1 0 0,18 0 15,-19 0-15,1 0 0,18 0 16,-19 0-16,1 0 0,-1 0 0,2 0 16,16 0-16,-18 0 0,2 0 0,-2 0 15,1 0-15,-1-17 0,19 17 16,-18 0-16,-1 0 0,1 0 0,-1 0 16,19 0-16,-18 0 0,-1 0 0,19 0 15,-19 0-15,1 0 0,18 0 16,-19 0-16,-52 0 15,71 0-15,-19 0 0,18 0 0,-16 0 16,-2 0-16,18 0 0,-16 0 16,15 0-16,-16 0 0,18 0 15,-19 0-15,19 0 0,-18 0 0,16 0 16,-15 0-16,16 0 0,-18 0 0,19 0 16,-19 0-16,19 0 0,-54 0 15,36 0-15,18 0 16,-2 0-16,-15 0 0,16 0 15,-18 0-15,19 0 0,0 0 0,-1 0 16,-18 0-16,19 0 0,0 0 0,-2 0 16,2 0-16,-18 0 0,18 0 15,-2 0-15,2 0 0,-1 0 0,1 0 16,-2 0-16,-15 0 16,-2 0-16,18 0 0,1 0 0,-18 0 15,17 0-15,0 0 16,1 0-16,-36 0 0,35 17 15,1-17-15,-19 0 0,19 0 0,-1 0 16,1 0-16,-19 0 0,19 0 16,-19 0-16,18 18 0,-34-18 15,34 0-15,0 0 0,-16 0 0,15 0 16,2 0-16,-1 17 0,1-17 0,-2 0 16,2 0-16,0 0 15,-1 0-15,1 0 0,17 19 0,-36-19 16,19 0-1,-1 0-15,18 17 16,-18-17-16,18 17 16,0 1-16,0 0 15,0 0-15,0-1 16,0 19-16,0-1 0,0-1 16,0 2-16,0-1 0,0 1 0,18-1 15,-18 1-15,0-19 0,0 18 16,18 1-16,-18-2 0,0-15 15,17 33-15,-17-33 0,0 15 0,0-16 16,17-1-16,-17 2 0,0-2 16,19 0-16,-19 1 0,17-18 15,-17 18-15,18-18 0,-1 18 16,0-18-16,2 0 16</inkml:trace>
  <inkml:trace contextRef="#ctx0" brushRef="#br0" timeOffset="83737.53">23477 14089 0,'177'0'16,"-54"0"-16,-52 18 0,-1-18 15,18 0-15,0 0 0,0 0 16,2 17-16,-20-17 0,18 0 16,-17 0-16,17 0 0,-17 0 0,-1 0 15,0 0-15,0 0 0,1 0 16,0 0-16,-1 0 0,-16 0 0,-1 0 15,-18 0-15,18 0 0,-18 0 0,18 0 16,-18 0-16,1 0 0,-2 0 16,2 0-16,-1 0 0,1 0 0,-1 0 15,1-17-15,-19 17 0,18 0 0,18-18 16,-18 18-16,-17 0 16,17-18-16,-18 18 0,19 0 15,-18-18-15,-1 18 0,0-17 0,2 17 16,-2 0-16,1-17 0,-1 17 15,2 0-15,-19-18 0,17 18 0,0-18 16,1 18-16,-18-18 0,17 1 16,2 17-16,-19-17 15,17-2-15,-17 2 0,17-1 16,-17 1-16,18 17 0,-18-19 16,0 2-16,0 0 0,18-1 15,-18 1-15,0-19 0,0 19 16,18-1-16,-18 0 0,0 0 0,0 1 15,0-18-15,-18 17 16,18-17-16,0 18 0,0-19 0,0 18 0,-18-18 16,18 2-16,0 16 15,-18-18-15,1 2 0,17 16 0,-17-18 16,-2 19-16,2-19 0,-1 1 0,1 1 16,-19-2-16,1 18 0,18-18 15,-19 2-15,1 16 0,-1-18 0,2 19 16,-2 0-16,1-19 0,-1 18 0,-16 1 15,16 0-15,-16-2 16,-19-16-16,35 35 0,-16-17 16,-1-2-16,17 2 0,-16 17 0,16-17 15,-16 17-15,16-18 0,-52 18 16,35-17-16,-18 17 0,19 0 0,16 0 16,-35 0-16,1 0 0,18 0 15,-19 0-15,0 0 0,18 17 16,-70-17-16,53 18 0,16-18 15,1 17-15,1-17 0,-1 17 0,-1 2 16,-16-2-16,18 1 0,-2-1 16,1 2-16,1 15 0,-19-16 0,18 18 15,-71 16-15,72-16 16,-1-2-16,17 2 0,-16-1 0,-19 36 16,35-35-16,-35 34 15,37-35-15,-20 36 16,37-37-16,-18 20 15,35-37-15,0 19 0,0-19 0,0 19 16,0 16-16,18-34 0,-1 18 16,-17-2-16,17-15 0</inkml:trace>
  <inkml:trace contextRef="#ctx0" brushRef="#br0" timeOffset="94273.03">24218 15059 0,'71'18'16,"52"-18"-1,-70 0-15,18 0 16,17 0-16,-18 0 0,125 0 16,-90 0-16,1 0 15,0 0-15,0 0 0,0 0 0,-18-18 16,123 18-16,-122 0 0,17 0 15,-36 0-15,1 0 0,0 0 16,-1-18-16,36 18 0,-53 0 16,-18 0-16,1 0 0,-19 0 15,18-17-15,-18 17 0,2 0 0,-2 0 16,0 0-16</inkml:trace>
  <inkml:trace contextRef="#ctx0" brushRef="#br0" timeOffset="94574.88">25736 15165 0,'0'0'0,"105"18"16,-52-18-16,-18 0 0,18 0 0,-18 0 0,18 0 15,-18 0-15,72 17 16,-90-17-16,19 0 0,-19 0 16,35 0-16,-33 0 15,-2 0-15</inkml:trace>
  <inkml:trace contextRef="#ctx0" brushRef="#br0" timeOffset="96495.77">11748 5940 0,'-71'71'0,"54"-37"15,-19 2-15,1-1 0,-18 1 16,18 16-16,-1-16 0,-16 16 0,16-16 16,1-1-16,-1 1 0,2-2 0,-37 37 15,54-54-15,-2 19 16,-16-18-16,35-1 0,-17-17 0,-2 19 15,2-2-15,0 0 0,-1 1 16</inkml:trace>
  <inkml:trace contextRef="#ctx0" brushRef="#br0" timeOffset="96788.01">10884 6540 0,'-19'35'0,"2"-18"16,53-69-16,-72 123 0,18-54 0,18 0 0,0 1 15,0-1-15,-17 2 0,17-2 16,0 0-16,0 1 0,17 18 0,-17-2 15,18-15-15,-1-2 0,2 1 16,-2-1-16,0 0 0,1-17 16,18 19-16,-19-19 0,19 0 0,-1 0 15,-1 0-15,2 0 0,-1 0 16,1-19-16,16 19 0,1-17 0,1 0 16,34-18-16,-35-1 0,-18 19 15</inkml:trace>
  <inkml:trace contextRef="#ctx0" brushRef="#br0" timeOffset="98116.83">13317 4652 0,'19'71'31,"-19"-37"-31,17 2 0,-17 18 16,17-20-16,1 54 16,-18-52-16,0-1 0,0 1 15,0-19-15,0 18 0,17 36 16,-17-54-16,0 2 15,0-2-15,0 0 16,19-51 15,-19 15-31,0 2 0,52-54 16,-34 54 0,0-1-16,-1 18 0,0 0 15,2 0-15,-2 0 16,-17 18-16,18-18 0,-1 17 15,0 2-15,2-19 0,-19 17 16,17-17-16,1 17 0,-1-17 16,2 0-16,-2 0 15,0 0-15,1 0 0,0-17 0,0 0 16,52-19 0,-52 18-16,-18 1 0,17-2 0,0-15 15,-17 16-15,19 0 0,-19 0 16,0 1-16,0 0 0,0-1 15,-19 0-15,-15 36 32,-2 34-17,36-34-15,-18 0 0,18 0 16,0-1-16,0 0 0,0 2 0,0-2 16,0 1-16,18-18 15,-18 17-15,18 2 0,0-2 16,-1-17-16,0 0 0,2 0 0,-2 0 15,1 0-15,-1 0 0,0-17 16,19 17-16,-1 0 0,-16-19 16,15 19-16,-16-17 0</inkml:trace>
  <inkml:trace contextRef="#ctx0" brushRef="#br0" timeOffset="98328.4">14341 4899 0,'0'-18'15,"0"72"-15,0-37 16,0 0-16,17 1 0,-17 0 0,0 0 16,18 16-16,-18-15 0,17-2 15,-17 1-15,0-1 0,19 2 16,-19-2-16</inkml:trace>
  <inkml:trace contextRef="#ctx0" brushRef="#br0" timeOffset="98467.26">14358 4740 0,'0'-17'0,"-17"17"31,-2 17-15</inkml:trace>
  <inkml:trace contextRef="#ctx0" brushRef="#br0" timeOffset="99409.36">14570 4828 0,'-36'19'0,"19"-2"16,17 0-1,17 37 1,1-37-16,-18 0 0,18 1 16,-18 0-16,18 0 0,-1-1 15,-17 0-15,17 19 0,-17-18 16,18-1-16,-18 2 0,0-2 0,18 0 16,-18 1-16,-18-18 0,18 17 15,0 2-15,18-55 47,17 1-31,-35 18-1,17-19-15,2 18 0,-2-35 16,1 36-16,-18-19 0,17 1 16,-17 0-16,0-1 0,19 2 15,-19-2-15,0 18 0,0-18 0,0 2 16,0 16-16,0 1 0,0-2 0,0 2 15,0 0-15,0-1 0,0 0 16,0 54 31,0-19-47,0 0 0,17 2 16,-17 16-16,17-1 15,1-15 1,-1-2-16,2 1 15,-2-18-15,0 0 16,1 0-16,18-35 16,-19 35-16,0-19 0,2 2 15,-19 0-15,17-1 0,-17 1 16,18-2-16,-18 2 0,17 0 16,-17-1-16,17 0 0,-17 0 15,19 36 1,-19 0-1,17 53 1,-17-54-16,0 1 16,0 52-1,0-52-15,0-1 16,0 2-16,0-2 16,-17-17-16,-2-17 31,19-2-16,0 2 17,19-1-32,-2 1 0,-17-2 15,18 2-15,-1 17 0,2-17 16,-2-1-16,0 1 0,54-2 16,-54 2-16,1 17 0</inkml:trace>
  <inkml:trace contextRef="#ctx0" brushRef="#br0" timeOffset="99947.88">15769 4423 0,'-71'53'15,"54"-53"-15,17 17 0,-17 1 0,17-1 16,-18 36 0,18-35-16,18 0 15,-1-18 1,0-18-16,1 18 15,0-18-15,0 18 16,-1-17-16,0 17 0,2-17 16,-19-2-16,35 19 15,-18 0-15,2 19 16,15 51 0,-16-52-16,-18 16 15,17 20-15,-17-1 0,0-18 16,0 18-16,-17 18 15,17-37-15,-18 20 0,1-20 16,17-15-16,-17-2 0,17 1 16,0-53 15,34-36-15,-16 35-16,-1 2 0,19-2 15,-19 1-15,1 18 0,18-37 16,-19 37-16,0-2 0,2-15 15</inkml:trace>
  <inkml:trace contextRef="#ctx0" brushRef="#br0" timeOffset="101111.63">16493 4317 0,'17'52'32,"-17"-16"-17,0-18-15,0 18 0,0-19 16,18 0-16,-18 1 0,0-1 0,0 19 16,0-19-16,0 1 0,0 0 15,0 0-15,0-1 16,17-17-16,-17 17 15,17-34 17,-17 0-32,19 17 15,-19-18 1,17 18-16,1 0 16,-1 0-16,2 0 15,-2 0-15,0 0 0,-17 18 16,36-18-16,-18 17 15,-1-17-15,0 17 16,1-17-16,0 0 16,0 0-16</inkml:trace>
  <inkml:trace contextRef="#ctx0" brushRef="#br0" timeOffset="101604.71">16933 4476 0,'0'-17'16,"-17"51"15,17-16-16,17 18 1,2-19 0,-2 0-1,0-17 1,18 0 0,-16-17-16,-2 0 15,-17-2 1,17 2-16,-17-1 15,18 1 17,-18 34-1,18 1 0,-18-1-31,18-17 16,-1 0-16,19 0 31,-19 0-15</inkml:trace>
  <inkml:trace contextRef="#ctx0" brushRef="#br0" timeOffset="102154.31">17286 4388 0,'0'-19'0,"0"55"47,0-18-32,0-1 1,0 2-16,18-2 0,-18 0 15,17-34 48,2 0-47,-2-2-16,0 19 31,1 0-31,-1 0 15,2 19-15,-2-2 32,-17 0-17,17-17-15,-17 18 16,18-36 15,0 1-15,17 0-1,-18-2-15,2 19 16,-2 0-16,1 0 0,-1 0 16,0 0-16,37 0 15,-18-17 1,-2 17 0</inkml:trace>
  <inkml:trace contextRef="#ctx0" brushRef="#br0" timeOffset="102896.98">17938 4264 0,'-52'0'16,"52"17"-16,-18 1 15,18 0-15,-18-18 16,18 18-16,0-1 16,0 0-1,0 2-15,18-2 31,0-17-15,0 0 15,-1-17-15,-17-2-16,17 2 16,-17 0-1,19 17 1,-2 17 31,-17 0-16,18-17-15,-1 19-1,0-38 1,2 19 15,-2-17-31,1 17 31,-1 0-15,2 0 0,-2 17 15,0-34-16,1 17 1,0-17 0</inkml:trace>
  <inkml:trace contextRef="#ctx0" brushRef="#br0" timeOffset="104302.01">18485 3893 0,'19'36'15,"-2"-18"1,-17-1-16,17 19 0,-17-19 16,18 18-16,-18-16 15,0-2-15,0 18 0,18 1 0,-18-19 16,0 0-16,0 1 0,0 0 16,0 0-16,18-54 46,-1 1-30,-17 18-16,17 17 0,-17-19 16,19 2-16,-2 17 0,1-18 15,-1 18-15,19 0 16,-19 0-16,1 0 16,-18 18-1,0-1-15,-18 2 16,18-2-16,-17 0 15,-2 1-15,-15 18 16,34-19-16,-18-17 16,18 17-16,-17 1 15,52-18 17,-18 0-32,0-18 15,2 1-15,-2 0 0,18 17 0,-16-18 16,-2 0-16,0 0 0,1 18 15,0-17-15,-18 0 0,18-2 0,-1-16 16,0 18-16,-17 0 16,18-2-16,-18 2 15,0 53 48,0-2-48,18-34-15,-18 18 16,18-1-16,-1-17 16,0 0-16,2 0 15,-2 0 1,-17-17-16,18-1 0,16 1 16,-34 0-16,19-2 15,-19 2 1,17 17-16,-17-18 0,18 1 15,-18 34 32,0 18-31,0-16 0,17-19-16,-17 17 0,19-17 15</inkml:trace>
  <inkml:trace contextRef="#ctx0" brushRef="#br0" timeOffset="104613.43">19280 3859 0,'-18'-18'0</inkml:trace>
  <inkml:trace contextRef="#ctx0" brushRef="#br0" timeOffset="105112.1">19438 3911 0,'-17'18'31,"-2"0"-15,19 16-1,0-15 16,19-2-31,-19 1 32,17-18 46,18-18-63,-35 1 1,36 17-16,-36-19 0,17 19 16,1 0-16,-1-17 15,2 17-15,-2-17 0,0 17 16,1-18 0,0 18-16,0 0 31</inkml:trace>
  <inkml:trace contextRef="#ctx0" brushRef="#br0" timeOffset="110189.24">8149 14336 0,'-17'123'16,"-1"-105"-1,18 17-15,0-18 0,0 2 0,0 16 16,0-18-16,-18 36 0,18-18 16,0 1-16,0 35 15,-18-37-15,18-15 0,0 16 0,0-1 16,-17 2-16,17-1 0,0 1 16,-17 17-16,17-1 15,-18-34-15,18 18 0,0-19 16,0 19-16,-18-19 0,18 1 0,0-1 15,0 2-15,-18-2 0,18 0 16,0 18-16,0-16 0,0-2 16,-17-17-16,17 17 0,0 19 15,0-18 1,0-1 0,-17 0-1,17 1 1,17 0 31,0-18 15,1 0-46,0 0 15,34 0-15,-34 0-16,0 0 0,0 0 15,-1 0-15,19 18 0,-19-18 0,1 0 16,18 0-16,-19 0 0,35 0 16,1 0-16,-17 0 15,-18 0-15,16 0 0,2 0 16,16-18-16,2 18 0,16 0 15,18-18-15,-34 18 16,-1-18-16,16 18 0,-15 0 16,70-17-16,-72 17 0,18 0 15,-16-17-15,16 17 0,54 0 16,-72 0-16,-16-18 0,16 18 16,2 0-16,70 0 0,-90 0 15,20 0-15,34-18 0,-35 18 16,-18 0-16,18 0 0,70 0 15,1 0 1,-88 0-16,-2 0 16,1 0-16,-16 0 0,15 0 15,2 0-15,-18 0 0,16 0 16,-16 0-16,0 0 0,0-18 16,-1 18-1,0 0-15,2 0 16,-2 0-16,1 0 15,-1 0 1,2 0 0,-19-17-16,17 17 15,0 0 1,1 0-16,-1-17 16,2 17-1,15-19-15,-16 19 16,0 0-16,0 0 15,-1-17-15,0 17 16,2 0 0,-2 0-16,1 0 15,-1 0 1,0 0 0,2 0-16,-19-18 15,17 18 1,1 0-16,-1-17 15,2 17 1,-19-17 15,17 17-31,-17-19 16,0 2 0,17-1-1,-17 1-15,0-2 16,0-15-1,0-2-15,18 1 16,-18-18-16,0 35 0,17-16 16,-17 15-16,19-33 15,-19-1-15,17-18 16,-17 18-16,0 35 16,0-16-16,17-37 15,-17 35-15,18 19 16,-18-18-16,0-1 15,0 1-15,0 17 0,0 0 16,0-16-16,0 16 16,0 0-16,0 0 15,0 1 1,0 0-16,0-2 31,0 2-15,0-1-1</inkml:trace>
  <inkml:trace contextRef="#ctx0" brushRef="#br0" timeOffset="111569.92">20532 3859 0,'0'-36'0,"17"36"15,19-18-15,-19 18 16,71-17 0,-34 0-16,-37 17 0,0 0 15,1 0-15,0 0 0,0 0 16,-18 17-1</inkml:trace>
  <inkml:trace contextRef="#ctx0" brushRef="#br0" timeOffset="111751.93">20602 4000 0,'0'17'0,"0"-34"15,35 34 16,-16-17-31,-2-17 16,0 17-16,1 0 0,0 0 0,0-19 16,16 19-16,-16-17 0,18 17 15,-2 0-15,2-17 0,-1 17 0</inkml:trace>
  <inkml:trace contextRef="#ctx0" brushRef="#br0" timeOffset="112364.88">22084 3417 0,'-35'36'31,"18"-18"-31,17-1 0,-19 18 0,19-17 16,-17 0-16,17-1 16,-18 19-16,18-19 0,0 1 0,0-1 15,-17 36-15,34-35 0,-17-1 16,0 2-16,0-2 0,18-17 15,-1 35-15,2-35 0,-2 18 16,0-18-16,1 0 0,-1 18 16,2-18-16,15-18 15,-16 18-15,0-18 16,-18 0 0,18 18-16,-18-17 0,0 0 15,0-2-15,0 2 0,0-1 16,0 1-16,0-2 15,-18 19 1,18-17-16,-18 17 16</inkml:trace>
  <inkml:trace contextRef="#ctx0" brushRef="#br0" timeOffset="112853.88">22366 3435 0,'18'-18'15,"-1"18"1,2 18-16,-2-18 0,18 36 15,-35-19-15,17 0 16,-17 1-16,19-18 16,-19 18-16,0 0 0,0-1 0,0 0 0,0 19 15,0-18-15,0-1 16,-19 0 0,19-51 30,19 34-46,-19-18 0,0 1 0,17-2 16,-17 2-16,17 0 16,-17-1-16,0-18 0,0 19 15,18 0-15,-18-1 0,0 0 0,-18-17 16,18 18-16,0-2 16,0 2-16,-17 17 0,17-18 15,-17 18-15,-2 0 16,2 0-16,-1 0 15,1 18-15,0-1 16,17 2 0</inkml:trace>
  <inkml:trace contextRef="#ctx0" brushRef="#br0" timeOffset="113066.83">22984 3312 0,'0'0'16,"0"17"-16,0 18 15,0-16-15,-18-2 16,18 0-16,-18 19 0,18 16 16,-18-34-16,18 0 15,-17 17-15,0-18 0,-1 37 16,0-37-16</inkml:trace>
  <inkml:trace contextRef="#ctx0" brushRef="#br0" timeOffset="113211.82">22842 3488 0,'-17'-17'0</inkml:trace>
  <inkml:trace contextRef="#ctx0" brushRef="#br0" timeOffset="113360.92">23106 3576 0,'0'0'15</inkml:trace>
  <inkml:trace contextRef="#ctx0" brushRef="#br0" timeOffset="115361.49">8908 9185 0,'-247'652'16,"211"-528"-16,1 0 15,-53 106-15,52-125 0,2-17 16,-20 88-16,37-105 15,-19-1-15,19-16 0,17-1 16,-18-18-16,18 1 0,-17 16 0,34-35 16</inkml:trace>
  <inkml:trace contextRef="#ctx0" brushRef="#br0" timeOffset="115739.95">9508 9044 0,'-71'141'0,"35"-70"0,-16 52 16,-1 1-16,-1 0 0,2-2 0,-54 161 15,54-124-15,-2-1 0,-122 284 16,123-284 0,18-16-16,-18-20 0,0 20 15,18-18-15,-53 69 0,52-86 16,1-37-16,-1 18 0,19-17 0,-36 69 15,35-87-15,1 1 16,0-1-16,17-18 0,0-18 16,17-17-16</inkml:trace>
  <inkml:trace contextRef="#ctx0" brushRef="#br0" timeOffset="116144.82">10089 9009 0,'-35'71'0,"70"-142"0,-87 194 0,16-70 16,1 35-16,-18 18 0,0 35 0,1-17 15,-19 35-15,0-1 0,1 1 16,-72 212-16,1-18 16,70-160-16,19-17 0,-1 2 0,-71 191 15,19-33 1,51-177-16,2-1 0,-1-16 0,0-1 15,18-1-15,-18 72 0,18-105 16,-1 51-16,19-87 16,-1-19-16,1 36 0,17-52 15,0-19-15,0 1 0</inkml:trace>
  <inkml:trace contextRef="#ctx0" brushRef="#br0" timeOffset="116537.13">10408 9220 0,'-212'583'16,"105"-283"-16,55-124 16,-1 0-16,-71 194 0,53-192 15,2-2-15,15 0 0,-16 0 16,-1 18-16,0-35 0,18 17 0,-16-17 15,15-1-15,-52 161 0,54-179 16,-2 1-16,20 1 0,-2-18 16,1-36-16,16 17 0,-15-17 0,-1 71 15,16-89-15,2 1 16,17 17-16,0-69 0,0 15 0,0-16 16</inkml:trace>
  <inkml:trace contextRef="#ctx0" brushRef="#br0" timeOffset="116921.06">10796 9608 0,'-36'71'0,"72"-142"0,-107 212 0,35-70 0,1 17 16,-1 36-16,-16 0 0,-1 16 16,-52 179-16,-19 15 15,18 1-15,53-158 16,0-1-16,18 0 0,-18 0 15,18 2-15,-18-2 0,-1 0 0,1 1 0,1-18 16,-1-1-16,-53 124 0,70-158 16,-16 0-16,34-19 15,-17-17-15,-1 0 0,-16 71 16,35-89-16,-2-34 0,2 52 16,-1-34-1,1-37-15,17 0 0</inkml:trace>
  <inkml:trace contextRef="#ctx0" brushRef="#br0" timeOffset="117283.84">10830 10844 0,'-34'228'16,"15"-157"-16,2 35 0,-1-18 0,-18 54 15,2-20-15,-2 20 0,-52 158 16,36-159-16,-55 159 0,55-141 15,-1-18-15,-1 0 16,2-1-16,16-16 0,-17 0 0,-18 70 16,54-106-16,-18 0 0,-18 53 15,36-88-15,17-18 16,-18-16-16,18 15 0,-18-16 16</inkml:trace>
  <inkml:trace contextRef="#ctx0" brushRef="#br0" timeOffset="117615.16">10848 12025 0,'-18'18'0,"18"18"16,0-19-16,-17 18 0,17 18 16,-17 18-16,-2-1 0,-16 72 0,18-54 15,-2 0-15,-15 88 16,-2-88-16,18 0 0,-16 1 15,16-1-15,-18-17 0,-17 70 16,18-36-16,18-51 0,17-20 16,-17 2-16,17-1 15</inkml:trace>
  <inkml:trace contextRef="#ctx0" brushRef="#br0" timeOffset="118020.07">10884 13031 0,'-36'70'0,"36"-35"16,36-140-16,-90 263 0,37-123 0,0 36 16,-2-18-16,2 18 0,-1-1 0,1 1 0,-2 17 15,2-17-15,17-18 16,-17 16-16,-1-15 0,18-1 0</inkml:trace>
  <inkml:trace contextRef="#ctx0" brushRef="#br0" timeOffset="123708.73">28786 3012 0,'36'-17'0,"-72"34"47,19-17-31,-18 17-1,17-17-15,0 18 0,1-18 16,17 17-16,-17-17 0,17 19 16,17-2-1,18 0 1,-17 1-1,0-18-15,-1 0 0,0 18 16,19 0-16,-18-1 16,-1 0-16,-17 2 15,0-2-15,0 1 16,0-1-16,-17-17 0,-1 17 16,18 2-16,-17-19 15,17 17-15,-19-17 0,2 0 0,0 18 16,-19-18-16,1 0 15,18 0 1</inkml:trace>
  <inkml:trace contextRef="#ctx0" brushRef="#br0" timeOffset="124030.04">28346 2924 0,'-36'17'0,"19"1"0,70-53 15,-106 87-15,53-33 0,-17-2 0,17 0 16,0 54-16,0-54 15,0 19-15,0 35 0,17-36 16,-17-1-16,17 2 0,37 52 16,-20-70-1,2 18-15,-18-36 16,-1 0-16,19 17 0,-19-17 0,1 0 16,35-17-16</inkml:trace>
  <inkml:trace contextRef="#ctx0" brushRef="#br0" timeOffset="124352.64">29086 2659 0,'176'124'16,"-157"-90"-16,16 2 16,18 52-16,-36-34 0,1-20 15,0 108-15,-18-108 16,0 2-16,-18 16 0,0 2 15,-16 34-15,15-52 16,-16-2-16,-53 54 16,71-69-16</inkml:trace>
  <inkml:trace contextRef="#ctx0" brushRef="#br0" timeOffset="126972.47">30692 1671 0,'-18'18'16,"18"0"-16,0-1 15,-17 36 1,17-35-16,0 16 0,17-15 16,-17 16-16,0-18 15,18 2-15,-18 15 0,17-34 0,-17 18 16,19-1-16,-2 2 0,0-2 16,1-17-16,-1 0 15,2 0-15,-2 0 16,0 0-16,1-17 0,0 17 15,-18-19-15,18 19 0,-18-17 0,34-18 16,-34-1-16,18 19 16,-18-1-16,0 1 0,0-2 15,0 2-15,-18-18 0,18 18 16,-17-2-16,17 2 0,-17 17 16,17-17-16,-18 17 0,18-18 15,-18 18-15,0 0 0,1-18 16,0 18-16,-2 18 15,2-18 1,17 18 0</inkml:trace>
  <inkml:trace contextRef="#ctx0" brushRef="#br0" timeOffset="127151.84">31150 1760 0</inkml:trace>
  <inkml:trace contextRef="#ctx0" brushRef="#br0" timeOffset="127631.19">31521 1600 0,'-53'0'31,"35"0"-15,18 19-16,-17-19 0,-2 17 15,2-17 1,17 17-16,17 1 16,2-18-1,-19 18-15,17-18 0,1 18 16,-1-18-16,-17 17 0,19-17 16,-2 17-16,0 2 15,-17-2 1,-17 1-1,0-1-15,-2-17 16,2 17-16,-1 2 16,1-19-1</inkml:trace>
  <inkml:trace contextRef="#ctx0" brushRef="#br0" timeOffset="128072.47">31909 1653 0,'0'0'32,"0"36"-17,-17-18 1,17-1 0,0 0-16,0 2 15,0-2 1</inkml:trace>
  <inkml:trace contextRef="#ctx0" brushRef="#br0" timeOffset="128276.78">31909 1424 0,'-17'0'16,"-2"0"0</inkml:trace>
  <inkml:trace contextRef="#ctx0" brushRef="#br0" timeOffset="128810.44">32050 1636 0,'0'35'0,"0"-17"15,0 0-15,0-1 32,0 0-32,18-17 31,16 0 0,-15-17-31,-2 17 16,1 0-1,-1 0-15,2 0 16,-2 0 0,0-17-1,1 17 1</inkml:trace>
  <inkml:trace contextRef="#ctx0" brushRef="#br0" timeOffset="128932.99">32297 1689 0,'35'-18'31,"18"18"16,-53-18-31</inkml:trace>
  <inkml:trace contextRef="#ctx0" brushRef="#br0" timeOffset="131823.91">28664 4017 0,'-36'18'0,"36"18"15,-18-36-15,18 17 16,0 18-16,-17-18 0,17 2 0,0-2 15,0 18-15,0 1 0,0-19 16,0 0-16,0 1 0,0 18 16,0-19-16,17 0 15,-17 2-15,18-2 16,-1 1-16,2-18 16,-2 0-1,0-18 1,1 1-16,0-2 15,0 2-15,-18 0 16,0-1 0,17 0-16,-17 0 15,0 1-15,0 0 32,-17-1-17,-1 18 1,0-18-1</inkml:trace>
  <inkml:trace contextRef="#ctx0" brushRef="#br0" timeOffset="132268.78">28822 4052 0,'35'0'16,"-18"0"-16,2 19 16,-2-19-16,1 17 15,-1 0-15,2-17 0,-2 18 0,18 35 16,-17-18 0,-18-17-16,0 0 0,0 16 15,0-16-15,0 0 16,0 0-16,-18-18 15,18 17 1,0-52 15,0 17-31,18 18 16,-18-35-16,18 0 16,-18 17-16,0 0 15,0 1-15,0 0 16,-18-2-16,18 2 0,0-1 15,-18 1 1,0 17-16,18-17 0,-17 17 16,0 0-16,-2 0 15,2 0-15,-1 0 16</inkml:trace>
  <inkml:trace contextRef="#ctx0" brushRef="#br0" timeOffset="132452.37">29245 3981 0,'36'36'0,"-36"-18"15,-19-1-15,19 2 0,0-2 16,0 0-16,0 1 0,-17-1 15,17 2-15,0-2 0,-17-17 0</inkml:trace>
  <inkml:trace contextRef="#ctx0" brushRef="#br0" timeOffset="132600.87">29174 4176 0,'0'-17'15,"-17"17"-15</inkml:trace>
  <inkml:trace contextRef="#ctx0" brushRef="#br0" timeOffset="137208.67">32209 3964 0,'-17'-17'0,"34"17"16,0 0-16,1 0 15,-53 17 48,18-17-48,-2 0-15,2 0 0,-18 17 16,-1 2 0,19-2-1,-1-17 1,18 18 0,35-1-1,-18 2-15,2-19 16,-2 17-1,1-17-15,-1 0 0,-17 17 16,19-17-16,-19 18 16,0-1-1,0 2 1,-19-19 0,2 17-16,-1-17 15,1 0 1,17 17-16</inkml:trace>
  <inkml:trace contextRef="#ctx0" brushRef="#br0" timeOffset="137376.35">32297 4088 0,'17'-17'16</inkml:trace>
  <inkml:trace contextRef="#ctx0" brushRef="#br0" timeOffset="137868.72">32668 3964 0,'-36'17'31,"18"-17"-15,1 19-16,0-19 15,-2 17 1,38 1 15,-2-1-15,0 2-16,1-2 16,-18 0-1,0 1 1,0-1-1,-18-17-15,1 19 16,-54 15-16,-17-16 31</inkml:trace>
  <inkml:trace contextRef="#ctx0" brushRef="#br0" timeOffset="138876.01">30550 4088 0,'-17'17'31,"0"1"-31,17-1 15,-18-17-15,18 19 0,-18-2 0,0 0 16,1 1-16,0 0 0,-2 0 16,19-1-16,-17-17 0,17 17 15,-18 1-15,1 0 16,17 0 0,17-1-1,1-17 1,18 0-16,-19 0 15,0 0-15,1 0 16,0-17-16,0 17 16,-1 0-16,0-18 15</inkml:trace>
  <inkml:trace contextRef="#ctx0" brushRef="#br0" timeOffset="139107.98">30550 4159 0,'-17'17'31,"17"0"-31,0 19 16,0-1 0,0-18-16,0 1 0,0 0 15,0 0-15,0-1 16,0 0-16,-17 2 0,17-2 15,0 1-15,0-1 0,0 2 16,17-2 0</inkml:trace>
  <inkml:trace contextRef="#ctx0" brushRef="#br0" timeOffset="139277.45">30692 4369 0,'0'-17'0</inkml:trace>
  <inkml:trace contextRef="#ctx0" brushRef="#br0" timeOffset="139705.1">30868 4211 0,'-18'18'16,"1"-18"-16,17 18 15,-17-18-15,17 17 16,0 0-16,0 1 31,17-18-31,-17 18 16,17 0-1,-17-1-15,0 0 16,-53 19 15,36-36-31,-1 18 16</inkml:trace>
  <inkml:trace contextRef="#ctx0" brushRef="#br0" timeOffset="140809.19">30709 4652 0,'0'36'15,"0"-19"16,0 1-31,0-1 16,0 0 0,19 2-1,-2-2 1,18-17 0,-18 0-16,2 0 15,-2 0 1,0-17-16,37 17 0,-37 0 15,18 0-15,18-19 0,-17 19 16,16 0-16,-16-17 16,35 17-16,-19-17 0,-16 17 0,-2 0 15,2-18-15,16 18 16,-16 0-16,35-17 0,-19 17 16,-16-19-16,35 19 0,-37-17 15,2 17-15,-1 0 0,1 0 16,-1-17-16,1 17 0,-2 0 0,20-18 15,16 18-15,1-18 16,0 18 0,-37 0-16,1 0 0,-16 0 15,15 0-15,2 0 0,-1 0 0,1 0 16,-19 0-16,18-18 16,-18 18-16,2 0 0,-2 0 15,1 0-15,-1 0 16,2 0-16,-2 0 15,0 0 1,1 0 0,-1 0 15,2-17-15,-19 0 15,17-2-31,-17 2 31,0-1-31,0 1 16,0 0-16,0-2 15,-17 2 1,17-1 0,-19 18-1</inkml:trace>
  <inkml:trace contextRef="#ctx0" brushRef="#br0" timeOffset="142057.04">30550 3841 0,'18'18'16,"-18"-54"31,18-16-31,-18 33-16,0-16 15,-18 18-15,18-36 16,0 18-16,-18 16 0,18 2 15,0 0-15,-17-19 0,17 18 16,0 1-16,0 0 16,0-1-16,0 0 15,17 0 1,1 18-16,0-17 16,34 0-16,-33 17 0,16 0 0,1-19 15,-2 19-15,1-17 16,1 17-16,17-18 0,17 18 0,-17-17 15,106-19-15,-106 19 16,0 17-16,53-35 16,-53 35-16,-18-19 0,35 2 15,1 0-15,-18-1 16,-18 18-16,-18 0 0,19-18 16,-18 18-16,-1 0 0,36-18 15,-35 18-15,-1 0 0,2 0 16,-2-17-1,0 17-15,1 0 0,-18 17 16,18-17 0,0 0-16,-18 18 15,17-18-15,0 36 16,1-19-16,-18 0 0,18 2 16,0 16-1,-1 35-15,0-16 16,-17-37-16,19 36 0,-19-18 15,17 18-15,-17-35 16,0-1-16,0 0 0,18 2 16,-18 16-16,0-18 0,0 0 15,0 2-15,0-2 0,0 1 16,0-1-16,0 2 16,-18-19-1,1 0 1</inkml:trace>
  <inkml:trace contextRef="#ctx0" brushRef="#br0" timeOffset="142587.81">31080 3664 0,'-18'36'16,"1"16"15,17-33-31,0-2 0,0 0 0,0 1 16,-19 0-16,38 0 15,-19-1-15,0 0 0,17 1 16,1 0-16,-1 0 15,2-18 1,-2 0-16,0 0 16,-17-18-1,0 0 1,0 0 0,-17 1-16,0 0 15,-2 17 1,-16-18-1,18 18 1</inkml:trace>
  <inkml:trace contextRef="#ctx0" brushRef="#br0" timeOffset="143032.66">31309 3647 0,'36'17'15,"-36"0"-15,17 2 16,1 16 0,-18-18-1,17 2-15,-17-2 16,0 0-16,0 1 0,-17 0 15,-1 0 17,18-54-1,0 18-15,0 1-1,0-19-15,0 19 16,0-37-1,0 37-15,0 0 16,-17-1 0,17 1-16,-19-2 15,2 19 1,0 0-16,-1 19 16</inkml:trace>
  <inkml:trace contextRef="#ctx0" brushRef="#br0" timeOffset="143285.97">31573 3541 0,'0'0'0,"53"18"15,-35 16-15,-18-15 16,0-2-1,-18 18-15,18-18 0,-17 19 16,17-18-16,0-1 16,-17 2-16,-2-2 15,19 0-15,-17 1 16,17 0 0</inkml:trace>
  <inkml:trace contextRef="#ctx0" brushRef="#br0" timeOffset="143442.56">31504 3717 0,'-19'0'15,"38"0"-15,-19-17 0,17 17 16</inkml:trace>
  <inkml:trace contextRef="#ctx0" brushRef="#br0" timeOffset="143566.59">31768 3681 0,'17'19'15</inkml:trace>
  <inkml:trace contextRef="#ctx0" brushRef="#br0" timeOffset="147914.47">25277 2324 0,'0'17'31,"0"1"-31,0 0 0,17-18 15,-17 18-15,0 16 16,0-16-16,0 18 16,18-19-16,-18 0 15,0 2-15,0-2 0,0 1 16,0-1 0</inkml:trace>
  <inkml:trace contextRef="#ctx0" brushRef="#br0" timeOffset="148293.31">25629 2359 0,'-52'18'16,"33"-18"0,2 0-16,17 18 0,-17-18 15,17 17-15,-18 0 16,18 1 0,18 0-16,-1-18 15,0 18-15,2-18 16,-19 17-16,17-17 15,1 17 1,-18 2-16,0-2 31,-18 1-15,1-1 0,-2-17-1</inkml:trace>
  <inkml:trace contextRef="#ctx0" brushRef="#br0" timeOffset="148523.91">25753 2271 0,'0'-18'0,"-53"106"15,106-158-15,-36 70 16,1 0-1,-18 17-15,0 2 16,18-2-16,-18 0 16,18 1-16,-18 0 0,0 0 15,17-1-15,-17 0 16,0 1-16,0 0 16</inkml:trace>
  <inkml:trace contextRef="#ctx0" brushRef="#br0" timeOffset="148691.06">25858 2412 0,'54'-35'0</inkml:trace>
  <inkml:trace contextRef="#ctx0" brushRef="#br0" timeOffset="149791.94">23936 3647 0,'88'-18'31,"-70"18"-31,-18 18 16,0-1-1,0 0-15,-18 19 0,0-1 16,-16 1-16,16-19 16,0 19-16,0-18 31,1-1-31,34-17 47,19 0-47,-18-17 15,34 17-15,-52-18 16,53 18-16,-17-18 16,-1 0-16,-18 1 15</inkml:trace>
  <inkml:trace contextRef="#ctx0" brushRef="#br0" timeOffset="150153.1">24236 3647 0,'0'34'31,"0"-68"-15,17 51-1,-17 0-15,19 2 16,-19-2 0,0 1-1,17-36 17,0 1-1,1 17-31,-18-19 15,18 19 1,0 0-16,-1 0 16,-17 19-16,17-19 15,1 0-15,0 17 16,0-17 0</inkml:trace>
  <inkml:trace contextRef="#ctx0" brushRef="#br0" timeOffset="150530.79">24677 3435 0,'0'-18'16,"0"54"0,17-36-1,-51 0-15,68 18 0,-51-54 0,34 89 0,-17-36 16,18-17-16,-18 18 15,0 0 1,0 0 0,-18-18-1,18 17 1,-17-17-16,0 17 0,-2-17 16,2 36-16,-1-36 15,18 18-15,-17-1 16,0 0-1,34 2 1,0-19 0,18 0-1,-16-19-15,-2 19 16,-17-17-16,35 17 16,-35-17-16</inkml:trace>
  <inkml:trace contextRef="#ctx0" brushRef="#br0" timeOffset="152023.34">25048 3364 0,'17'-17'31,"0"17"-31,1 0 16,0-18-16,0 18 15,-1 0 17,-34 18-1,-1-1-31,0-17 16,18 19-16,-18-19 0,1 17 15,0 0 1,-2 1-1,38-18 17,-2 18-17,0-18 1,1 18-16,0-18 16,0 0-16,-1 17 15,-17 0 1,0 1-1,0 0-15,-17 0 16,-1-1 0,0-17-1,18 17-15</inkml:trace>
  <inkml:trace contextRef="#ctx0" brushRef="#br0" timeOffset="152404.04">25258 3400 0,'-17'17'31,"34"-34"-31,-17 52 16,0-17-16,0 0 0,0-1 15,19-17-15,-19 17 16,17-17-16,-17 18 0,18-18 16,-1 0-16,2 0 15,-2 0-15,0 0 0,1-18 16,0 18-16,0-17 16,-1 0-1,-17-1 1,-17 0-16,17 0 15,-18 18-15,18-17 16,-36 0-16,19 17 16,0 0-16,-2 0 15,2 0 1</inkml:trace>
  <inkml:trace contextRef="#ctx0" brushRef="#br0" timeOffset="152707.48">25700 3171 0,'17'0'31,"-17"17"-16,0 0-15,0 2 0,0-2 16,0 1-16,0-1 16,0 0-16,0 19 15,0-18-15,0-1 16,0 2-16,0-2 16,0 0-16,0 1 15,0 0 1,19-18-1</inkml:trace>
  <inkml:trace contextRef="#ctx0" brushRef="#br0" timeOffset="152994.65">25577 3417 0,'17'-34'0,"1"15"31,-1 19-31,2 0 0,-2-17 16,0-1-1,1 18-15,-1 0 16,2-17-16,-2 17 16</inkml:trace>
  <inkml:trace contextRef="#ctx0" brushRef="#br0" timeOffset="153263.76">25629 3629 0,'19'18'15,"-2"-18"-15,18-18 16,-18 18-16,2-17 16,-2 17-16,0 0 15,1-19-15,0 2 16,0 17-16</inkml:trace>
  <inkml:trace contextRef="#ctx0" brushRef="#br0" timeOffset="154181.1">26053 3171 0,'17'-18'31,"1"0"-15,-1 18 0,2 18-16,-2-18 15,-17 18-15,0-1 16,0 19-16,-17-19 0,-2 1 16,19-1-1,-17 0-15,17 2 0,-18-19 0,18 17 16,-17 1-16,17-1 15,-17 2 1,34-19 0,0 0-1,1 0 1,18-19-16,-19 19 0,0-17 16,19 17-16,-18-18 15,-1 1-15,0 17 16,2 0-16</inkml:trace>
  <inkml:trace contextRef="#ctx0" brushRef="#br0" timeOffset="154555.79">26458 2871 0,'-17'17'16,"0"0"-1,17 2-15,0-2 0,0 1 0,-19 18 16,19-2-16,0-16 15,-17 35-15,17-18 16,17 1-16,-17-19 16,0 0-16,19 2 15,-19-2 1,17 1-16,0-18 16,1 0-1,-1 0 1</inkml:trace>
  <inkml:trace contextRef="#ctx0" brushRef="#br0" timeOffset="154912.14">26670 3064 0,'0'-17'15,"-17"17"-15,-2 17 31,2 2-31,17-2 16,0 0 0,17 1-1,37-53-15,-72-1 16,1 125-16,34-89 16,1 0-1,-1-18-15,0 18 16,-17-18-16,19 1 15,-38 0 1,19-2 0,0 2-16,-17 17 15,0-18-15,-1 18 16,1 0 0</inkml:trace>
  <inkml:trace contextRef="#ctx0" brushRef="#br0" timeOffset="155101.84">26970 2976 0,'18'-17'16,"-36"34"15</inkml:trace>
  <inkml:trace contextRef="#ctx0" brushRef="#br0" timeOffset="155596.32">27164 2800 0,'0'0'15,"-18"35"1,1-35 0,0 18-1,17 0 16,17-18-31,0 17 16,1-17 0,-1 17-16,2 2 15,-2-2 1,-17 1 0,0-1-1,0 2-15,-17-19 16,17 17-16,-19 0 15,2-17-15,-1 0 16</inkml:trace>
  <inkml:trace contextRef="#ctx0" brushRef="#br0" timeOffset="155892.59">27181 2553 0,'36'0'0,"-1"0"16,-106 0-16,160 18 0,-71-18 0,-1 17 16,0-17-16,19 36 15,16-1-15,-16 1 16,-1 16-16,-35-16 15,0-2-15,0-16 16,0 18-16,-17-2 0,-18 56 16,-18-21-16,35-16 0,-52 18 15,34-35-15,1-19 16,-1 18-16</inkml:trace>
  <inkml:trace contextRef="#ctx0" brushRef="#br0" timeOffset="158476.79">25329 3471 0,'-17'52'15,"17"-34"1,17-18 15,2-18-15,-2 0-1,-17 1-15,0 0 16,0-1 0,0 0-16,-17 18 15,-2 18 1,2 0 0,17-1-16,-18 0 0,18 1 15,0 18 1,18-36 15,-1-18-15,-17-18-1,19 54 63,-2-18-31,-17-18-31,0 1 15,0 52 16,0 1-47,0-2 16</inkml:trace>
  <inkml:trace contextRef="#ctx0" brushRef="#br0" timeOffset="159411.88">25365 4211 0,'17'0'0,"1"-18"0,0 18 16,-36 18 31,18 0-47,-18-18 0,1 18 15,0-1 1,17 0-16,-19 1 15,2-18-15,17 18 0,17 0 32,2-18-17,-2 0-15,0 0 16,1 0-16,0 0 16,0 17-16,-1-17 15,0 0-15,-17 17 16,18-17-16,-18 19 15,0-2 1,-18-17 0,18 18-16,-17-1 15,0 2 1</inkml:trace>
  <inkml:trace contextRef="#ctx0" brushRef="#br0" timeOffset="159939.94">25717 4105 0,'0'18'47,"0"-1"-47,0 2 15,19 15-15,-19-16 0,0 0 16,17 34 0,-17-16-16,0-18 15,17-1-15,-17 0 16</inkml:trace>
  <inkml:trace contextRef="#ctx0" brushRef="#br0" timeOffset="160148.57">25665 4281 0,'17'-17'0,"1"0"15,-1 17 1,2-18-16,15 0 0</inkml:trace>
  <inkml:trace contextRef="#ctx0" brushRef="#br0" timeOffset="160330.21">26000 4017 0,'-18'35'32,"18"-16"-32,0-2 0,0 0 0,0 1 15,0-1-15,0 19 16,18-19-16,-18 1 15,0-212-15,0 406 0</inkml:trace>
  <inkml:trace contextRef="#ctx0" brushRef="#br0" timeOffset="161316.01">26546 3964 0,'0'36'47,"-17"-36"-47,17 17 0,0 18 16,0-16-16,-17 15 15,17-16-15,0-1 0,0 2 16,0-2-16,17 18 0,-17-17 15,17 0 1,1-1-16,0-17 16,0 0-1,-18-17-15,17 17 16,-17-18 0,0 0-16,0 0 15,-17 1 1,-1 0-16</inkml:trace>
  <inkml:trace contextRef="#ctx0" brushRef="#br0" timeOffset="161541.1">26370 4000 0,'-36'52'15,"36"-33"-15,-17 15 16,17-16-16,-17 18 16,17-2-16,0 2 15,0-1-15,17-18 16,0 19-16,-17-18 16,36-1-16,-18 0 15,-1-17-15</inkml:trace>
  <inkml:trace contextRef="#ctx0" brushRef="#br0" timeOffset="161895.63">26653 3823 0,'52'18'16,"-35"-18"-16,19 35 15,18 0-15,-37-17 16,54 53-1,-37 0-15,-16-37 16,-18-16-16,18 52 0,-36-34 16,-34 87-1,34-70-15,-52 18 0,16 17 16,18-71-16,2 19 16</inkml:trace>
  <inkml:trace contextRef="#ctx0" brushRef="#br0" timeOffset="164811.26">29616 4247 0,'-18'17'47,"18"0"-47,-17-17 0,17 18 15,-19-18-15,19 18 0,-17-18 16,17 18-16,-17-18 0,17 17 16,-18-17-16,18 17 0,-18 2 15,0-2-15,18 1 31,-17-18-31,34 17 16,1-17 15,35 0-15,-36 0-16,-17-17 16,36 17-16,-18 0 15,-1-18-15,2 18 0,-2 0 16</inkml:trace>
  <inkml:trace contextRef="#ctx0" brushRef="#br0" timeOffset="165065.47">29652 4264 0,'-19'17'16,"2"19"0,17-18-16,0-1 15,0 0-15,0 19 16,0-18-16,0-1 0,0 2 0,0-2 16,0 18-1,0-18-15,0 2 0,0-2 0,0 0 16</inkml:trace>
  <inkml:trace contextRef="#ctx0" brushRef="#br0" timeOffset="166326.68">33302 3735 0,'0'-18'16,"-17"53"15,-2-35-15,19 19-16,0-2 0,-17 0 16,17 19-1,-17-18-15,17-1 0,0 0 0,0 1 16,17 0-16,-17 0 15,17-1 1,2-17-16,-2-17 31,-17-1-15,-17 18 15,-2-18-31,2 18 0,-18 18 16,-1-18-16,19 0 15,0 18-15,-19-18 0</inkml:trace>
  <inkml:trace contextRef="#ctx0" brushRef="#br0" timeOffset="167697.26">29740 4723 0,'-19'53'0,"19"-36"0,0 37 16,0-20-16,0 2 15,19-1-15,-19 0 0,0 125 16,0-126-1,17 1-15,-17 1 0,0-1 0,0 1 16,0 34-16,0-35 16,0 18-16,0-35 0,0 18 15,0-2-15,0-16 0,0-1 16,-17-17-16,17 19 0,0-2 16,0 0-1,17 1-15,0-18 31,1 0-31,0 0 16,0 0-16,-1 0 16,0 0-16,1 0 0,35-18 15,-17 18-15,-1-17 0,-18 17 16,71-17-16,1-2 16,17-16-16,-53 35 0,-1-17 15,19 17-15,35-17 16,-35-2-16,-19 19 0,89-17 15,-87-1-15,16 18 0,1-17 16,0 17-16,-2-19 0,-16 19 16,18-17-16,0 17 0,-1 0 0,53-17 15,-52 17-15,-18-18 0,0 18 16,70-18-16,1 0 16,-71 18-16,-1 0 15,19 0-15,-35-17 0,52 17 16,-35-17-16,-53 34 0,35-34 0,1 17 0,-19 34 15,54-68-15,-19 68 0,-33-86 0,33 87 16,-16-70-16,16 35 0,-70-18 0,54 18 16,-1 53-16,-35-106 0,53 53 0,-18-18 15,72 72-15,-126-108 0,55 72 0,-1-36 16,1 36-16,16-53 0,-16 52 0,-36-34 0,34 17 16,2 0-16,-1 0 0,1 0 15,-36 17-15,35-34 0,-18 17 0,19 0 0,-19-17 16,19 17-16,-1 0 15,-18 0-15,1 0 0,0 0 0,0 0 16,-1 0-16,0 0 0,2 0 16,-2 0-16,1 0 15,-1-19 1,2 19 0,-2-17 15,-17-1-16</inkml:trace>
  <inkml:trace contextRef="#ctx0" brushRef="#br0" timeOffset="168354.9">33673 5181 0,'0'-176'16,"0"-53"31,0 193-47,0 19 0,0-18 15,0 16-15,0-15 0,0 16 0,0 0 0,0 0 16,0-16-16,0 15 0,0 2 16,0-1-16,0 1 15,0-19-15,-17 19 16,17-1-16,0 1 0,0-2 16,0 2-16,-19 0 15,19-19-15,0 18 16,-17 18-1,17-17-15,0 0 0,0-1 16,-18 0 0,18 0-1,0 1 1,0 0 0,0-2 15,0 2 0</inkml:trace>
  <inkml:trace contextRef="#ctx0" brushRef="#br0" timeOffset="170034.63">23336 9944 0,'318'-36'0,"-247"36"16,-19 0-16,1-17 0,1 17 15,-2 0-15,-16 0 0,52-18 16,-54 18-16,-15 0 0,16 0 16,-18 0-16,0 0 0</inkml:trace>
  <inkml:trace contextRef="#ctx0" brushRef="#br0" timeOffset="170191.42">23848 10085 0,'53'0'0,"-36"0"0,19 0 15,-18 0-15,16 0 0,2 0 0,-1-18 0,1 18 16</inkml:trace>
  <inkml:trace contextRef="#ctx0" brushRef="#br0" timeOffset="171485.4">31414 5833 0,'54'-17'15,"-37"34"-15,2-17 0,-2 19 31,-17-2-31,0 1 0,-17-1 0,17 2 16,-19-19-16,2 17 0,17 0 16,-18 1-16,1-18 0,17 17 15,-19 2-15,2-19 0,17 17 16,-17 0-16,34-17 31,19 0-15,-1 0-16,-18 0 15,19 0-15,-19 0 16,18-17-16,-16 17 0,-2 0 16</inkml:trace>
  <inkml:trace contextRef="#ctx0" brushRef="#br0" timeOffset="171846.89">31802 5781 0,'19'18'32,"-19"-1"-17,0 0-15,0 2 16,0-2-16,-19-17 0,19 18 15,0-1 1,19-17 0,-2 0 15,1 0-15,-1 0-1,2 0 1,-2 0-16,0 0 15,1 0 17</inkml:trace>
  <inkml:trace contextRef="#ctx0" brushRef="#br0" timeOffset="172216.47">32244 5623 0,'-18'17'15,"36"-34"-15,-36 51 32,18-16-32,0 0 15,0 17 1,0-18 0,-17-17-16,17 19 15,-17-19 1,-2 17-16,2-17 15,-1 0-15,1 18 16,-2-18-16,19 17 16,-17-17-16,0 17 0,17 2 31,17-2-15,0-17-1,2 0-15,-2 0 16,1 0-16,-1 0 15,19-17 1</inkml:trace>
  <inkml:trace contextRef="#ctx0" brushRef="#br0" timeOffset="176942.77">25329 4776 0,'19'0'32,"-38"35"46,2-35-63,-1 0-15,-18 36 16,19-36-16,17 17 16,-17-17-16,-1 17 15,36 1 17,-18 0-32,53 0 15,-36-18-15,1 0 16,-1 17-16,2-17 15,-2 17 1,0-17-16,-17 18 0,0 0 16,0 0-1,-17-18-15,17 17 0,-17-17 16,-2 17-16,2 2 16,-1-19-16,-18 0 15</inkml:trace>
  <inkml:trace contextRef="#ctx0" brushRef="#br0" timeOffset="177523.45">25682 4757 0,'0'36'47,"0"-18"-32,0-1-15,0 2 16,0-2 0,0 0-16,18 1 15,-18 0 1</inkml:trace>
  <inkml:trace contextRef="#ctx0" brushRef="#br0" timeOffset="177731.65">25665 4847 0,'17'-19'16,"1"2"-1,-1 17-15,2 0 16,-2-18-1,0 18 1,1 0-16,0 0 16,-18 18-16</inkml:trace>
  <inkml:trace contextRef="#ctx0" brushRef="#br0" timeOffset="177960.64">25648 5057 0,'17'0'16,"35"0"15,-33-17-31,-2 17 15,18 0 1</inkml:trace>
  <inkml:trace contextRef="#ctx0" brushRef="#br0" timeOffset="179471.83">26141 4757 0,'17'-34'16,"1"34"-1,0 17 1,0-17 0,-18 17-16,17-17 0,-17 19 15,0-2-15,0 1 16,0-1-1,17-17 1,-17 19-16,19-19 16,-2 17-1,-17 0 1,0 1 0,0 0-1,-36 17 1,19-35-16,17 17 0,-17-17 15,17 18-15,-18-18 0,0 0 16,0 0-16</inkml:trace>
  <inkml:trace contextRef="#ctx0" brushRef="#br0" timeOffset="179763.97">26388 4723 0,'0'0'0,"0"34"31,0-15-15,0-2-16,0 1 0,0-1 15,-18 19 1,18-1-16,0-17 15,18 17 1,-18 0 0,17-17-1,2-18 1,-2 0-16</inkml:trace>
  <inkml:trace contextRef="#ctx0" brushRef="#br0" timeOffset="180188.57">26634 4828 0,'-17'19'32,"0"-2"-32,17 0 15,0 1 1,17 0 0,0 0-1,2-18-15,-2 0 16,-17-18-16,18 18 15,-1-18 1,-17 0-16,0 1 16,0 0-1,-17-2 1,-1 2 0,1 17-1,-2 0 1</inkml:trace>
  <inkml:trace contextRef="#ctx0" brushRef="#br0" timeOffset="180421.9">26900 4793 0</inkml:trace>
  <inkml:trace contextRef="#ctx0" brushRef="#br0" timeOffset="180792.82">27129 4688 0,'-53'17'32,"18"1"-17,16-18-15,19 17 16,0 0 0,19 2-1,-2-2 1,1-17-16,-1 18 15,2-1 1,-19 2 0,0-2-1,-19-17 1,2 17-16,-1-17 16,1 18-1</inkml:trace>
  <inkml:trace contextRef="#ctx0" brushRef="#br0" timeOffset="181052.67">27234 4405 0,'36'18'0,"-72"-36"0,90 36 0,-1 18 16,-53-19-16,17 0 16,1 1-16,-1-1 0,-17 2 15,17 15-15,2-16 0,-19 0 16,0 34-16,0-33 16,0-2-16,-19 1 0,19 16 0,-17-15 0,17-2 15,-17 1-15,-1-1 0</inkml:trace>
</inkml:ink>
</file>

<file path=ppt/ink/ink13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5:57:37.504"/>
    </inkml:context>
    <inkml:brush xml:id="br0">
      <inkml:brushProperty name="width" value="0.05292" units="cm"/>
      <inkml:brushProperty name="height" value="0.05292" units="cm"/>
      <inkml:brushProperty name="color" value="#0070C0"/>
    </inkml:brush>
  </inkml:definitions>
  <inkml:trace contextRef="#ctx0" brushRef="#br0">349 1296 0,'-18'19'47,"36"-19"-16,16 0-31,125 52 31,18-52-31,263 0 16,-157 0-16,105 0 16,0 0-16,0 0 15,36 0-15,104 0 16,443 0-1,-495 0-15,548 53 32,-478 0-32,36-18 15,0-35-15,-52 0 16,-54 0-16,105 0 16,-52 0-16,1 0 15,475 0 1,-529 0-16,107 0 15,-107 0-15,-35 0 16,-70 0 0,-19 0-16,-123 0 0,54 0 15,-19-17-15,-52-18 16,0-18 0,-19 35-16,19 0 0,0 18 15,0 0 1,-1 0-16,-34 0 15,-1 0-15,-52 0 0,-55 0 16,73 0 0,-72 0-16,-16 0 0,-1 0 15</inkml:trace>
  <inkml:trace contextRef="#ctx0" brushRef="#br0" timeOffset="6593.99">17441 3025 0,'34'18'16,"-16"-36"-1,18 18-15,17 0 0,-36 0 16,18 0-16,1-17 0,16 17 16,55-19-16,105 2 15,-36 0 1,-142 17-1,54 0-15,2 0 16,-20-18-16,-18 18 16,-16 0-16,-18 0 15,16 0-15,-15 0 16,-2 0-16,1 0 16,-1 18-1</inkml:trace>
  <inkml:trace contextRef="#ctx0" brushRef="#br0" timeOffset="7156.48">17741 3255 0,'70'0'16,"-35"0"-16,18 0 15,35 0 1,-34 0-16,15 0 16,-33 0-16,52 0 15,-52-18-15,-1 18 0,18 0 16,52 0 0,-69 0-1,-1-18-15,0 18 16,-17 0-1,0 0-15,-18 18 16</inkml:trace>
  <inkml:trace contextRef="#ctx0" brushRef="#br0" timeOffset="8363">21003 3008 0,'54'0'31,"-37"0"-31,18 0 0,1 0 16,-2 0-16,2-19 0,70 19 15,-53 0-15,18 0 0,-1 0 0,1-17 16,0 17-16,69 0 15,1 0-15,-88-17 0,18 17 16,34 0-16,2 0 16,-72 0-16,35-18 15,-35 18-15,18 0 16,-17 0-16,-1 0 0,-18 0 16,1 0-16,18 0 15,-19 0 16</inkml:trace>
  <inkml:trace contextRef="#ctx0" brushRef="#br0" timeOffset="8894.62">21286 3167 0,'71'-18'16,"-54"18"-16,18 0 15,1 0-15,52-18 0,-35 18 16,18 0-16,51-18 0,-51 18 15,70-17-15,-87 17 0,16 0 16,0 0-16,54 0 16,-71 0-16,-18 0 0,18 0 15,-18 0-15,1 0 0,-19-17 0,54 17 16,-54 0-16,0 0 16,2 0-16,16 0 0,-18 0 15,2 0-15,-2 0 16,0 0-1,1 0 1</inkml:trace>
  <inkml:trace contextRef="#ctx0" brushRef="#br0" timeOffset="14395.06">17317 3996 0,'-18'0'16,"53"0"-16,1 0 0,-19 17 0,19-17 15,16 0-15,-16 0 16,35 0-16,-19 0 0,19 0 0,-1 0 16,1 0-16,0 0 0,-18 18 0,18-36 15,69 36-15,-70-18 16,-16-18-16,-20 18 0,20 0 0,-18 18 0,-2-18 16,2-18-16,16 18 15,-34 0-15,0 0 0,0 0 16,-1 0-16,0 0 0,2 0 15,-2 0-15,1 0 16,-18 18-16</inkml:trace>
  <inkml:trace contextRef="#ctx0" brushRef="#br0" timeOffset="15258.8">21479 4031 0,'36'0'15,"16"0"-15,-16 0 16,-1 0-16,36 0 0,-1 0 16,89 0-16,-71 17 15,124-17-15,-88 0 0,105 17 16,-106-17-16,1 0 16,17 19-16,123-19 0,-122 0 0,-18 0 15,157 17-15,2 1 16,-142-18-16,-18 0 15,125 17-15,-126-17 0,2 19 16,88-2-16,-106-17 0,-36 0 16,1 0-16,0 0 0,-1 0 15,18 17-15,-17-17 16,-54 0-16,1 0 0,35 0 16,-36 0-16,1 0 15,0-17-15,0 17 16,-36-17 15,0 17-31,0-19 0</inkml:trace>
  <inkml:trace contextRef="#ctx0" brushRef="#br0" timeOffset="35293.42">6681 8440 0,'-18'19'0,"18"-2"15,0 0 1,0 1-16,0-1 0,0 2 16,18-2-16,-18 0 0,0 19 15,0-18-15,17 16 0,-17 2 0,0-1 16,17 1-16,-17 16 0,0-16 0,19 16 16,-19 1-16,0 1 0,17-20 15,-17 20-15,18-1 0,-18-1 0,17 1 16,-17 1-16,0-2 0,19 1 0,-19 0 15,17-1-15,-17 2 0,17-1 16,-17 0-16,18 106 16,0-107-16,-18 1 0,0 1 0,18-2 15,-18-16-15,0 17 0,17-1 16,-17 1-16,0 1 0,17 86 16,-17-87-16,18 0 15,-18-1-15,0-16 0,18 70 16,-18-70-16,0-2 0,0 2 15,0-1-15,18 1 0,-18-1 0,0-1 16,0 20-16,0-18 0,17-2 16,-17 2-16,0-1 0,0 0 0,17-17 15,-17 17-15,0 1 0,19 35 16,-19-54-16,0 18 0,0-18 16,0 19-16,17-1 0,-17 1 15,0-19-15,0 19 0,0-19 0,18 18 16,-18 18-16,0-18 15,17-16-15,-17 15 0,0 2 0,0-18 16,0 16-16,19 2 0,-19-18 0,0 16 16,17 37-16,-17-54 15,17 19-15,-17-1 0,18 1 0,-18-19 16,0 19-16,17-1 0,-17 0 0,0 1 16,19-19-16,-19 19 0,0-1 15,17 1-15,-17-19 0,0 18 0,0 1 16,17 34-16,-17-35 0,0-18 15,18 19-15,-18-1 16,0 1-16,18-1 0,-18-18 0,0 19 16,18-1-16,-18 1 0,0-2 0,17 2 0,-17-1 15,0 1-15,0-1 16,17-1-16,-17 2 0,0-1 0,18 1 16,-18-1-16,0 1 0,18-2 15,-18 2-15,0-1 0,18 1 0,-18-1 16,0 1-16,17-2 0,-17 1 15,0 1-15,0-19 0,17 19 0,-17-18 16,0 16-16,0-16 0,0 0 0,0 0 16,0 16-16,0-15 0,0-2 15</inkml:trace>
  <inkml:trace contextRef="#ctx0" brushRef="#br0" timeOffset="36316.12">6451 13608 0,'54'0'0,"68"-17"16,-51-1-1,17 18-15,1-17 0,17 0 0,-1-2 16,178-16-16,-125-1 16,18 19-16,2 0 0,15-19 0,-17 18 15,1 1-15,17-18 0,18 17 16,-19 0-16,19-16 0,0 15 0,0 2 16,-1-18-16,1 16 0,17-15 15,-17 16-15,247-18 0,-247 2 16,17 16-16,-18 0 0,1 0 15,0 1-15,0 0 0,-2-2 0,-15 2 16,176-1-16,-37-16 16,-192 34-16,-18-19 0,105 2 15,-106 17-15,-35 0 0,-18 0 16,18-18-16,-52 18 16,-18 0-16,-1 0 0</inkml:trace>
  <inkml:trace contextRef="#ctx0" brushRef="#br0" timeOffset="40822.74">7386 13415 0,'36'-18'47,"-19"18"-31,1 0-16,-1 0 0,2-18 16,-2 18-16,18-18 15,18 1 1,-36 17-16,37-17 15,-37-1-15,0 18 0,19-18 0,-18 0 16,16 18-16,-15-17 0,16 17 16,-18-17-16,2-2 0,50 2 15,-50-1-15,-2 1 16,0 17-16,1-19 0,0 19 16,0-17-16,-1 0 0,0 17 0,-17-18 0,19 18 15,-2-17-15,1 17 0,-18-19 0,17 2 16,0 17-16,-17-17 15,19-1-15,-2 18 0,-17-18 0,18 0 16,-1 18-16,-17-17 0,19 0 0,-2-2 16,0 2-16,-17-1 15,18 18-15,-18-17 0,18 0 0,-18-2 16,18 19-16,-1-17 0,-17-1 0,17 1 16,-17-2-16,18 2 15,0 0-15,-18-1 0,18 18 0,-18-18 16,17 0-16,-17 1 0,0 0 15,17 17-15,-17-18 0,0 0 16,19 0-16,-19 1 0,0 0 0,0-2 16,17 2-16,-17-1 0,0 1 15,18 17-15,-18-17 0,0-2 0,0-16 16,0 18-16,17-19 16,-17 19-16,0-1 15,0 0-15,0 0 0,19 1 16,-19 0-16,0-1 0,0 0 0,0 0 15,17 1-15,-17 0 0,0-2 16,0 2-16,17-18 0,-17 16 0,0 2 16,18 0-16,-18-1 0,0 1 15,17-19-15,-17 19 0,19-19 16,-19 18-16,17-16 0,0 16 0,-17 0 16,18-17-16,-18 18 0,18-2 15,-18 2-15,18-18 0,-18 16 16,17-15-16,0-1 0,2-18 15,-19 35-15,0 0 16,17 0-16,-17 1 0,18 0 0,-18-2 16,0 2-16,17-1 0,-17 1 0,0-19 15,17 19-15,-17-1 0,19 1 0,-19-19 16,0 19-16,17-1 0,-17 0 16,18 0-16,-18-16 0,17 16 15,2-35-15,-19 36 0,0-2 0,17-16 16,-17 18-16,17-19 15,-17 19-15,18-18 0,-18-1 0,17 19 16,-17-19-16,19 18 0,-19-16 0,17 16 16,-17-18-16,17 2 0,-17 15 15,18-16-15,-18 18 0,18-19 16,0 1-16,-18-1 0,17 2 16,-17 16-16,17 0 0,-17 0 15,19 1-15,-19-19 0,17 19 16,-17-1-16,0 1 0,18-19 0,-1 19 15,-17-1-15,17 1 0,-17-19 0,19 19 16,-19-1-16,17 1 0,1-36 16,-1-1-16,-17 37 15,19 0-15,-19-19 0,17 18 16,-17 1-16,17-19 0,-17 19 0,18-1 16,0-18-16,-18 19 0,0 0 15,18-1-15,-18 0 0,17-17 16,-17 0-16,17 17 0,-17 0 0,18-16 15,-18 15-15,0 2 0,18-1 16,-18 1-16,0-2 0,18 2 0,-18 0 16,0-1-16,17 1 0,-17-2 15,0 2-15,17 0 0,-17-1 0,0 0 16,19 18-16,-19-35 16,17 18-16,-17-2 0,18 2 15,-18-1-15,17 1 16,-17 0-16,17-2 0,2 2 15,-2-1-15,-17 1 0,18-2 16,-1-15 0,2 16-16,-19 1 15,17-2-15,-17 2 0,17 17 16,-17-17-16,18-1 16,-18 0-16,18 18 0,-18-18 15,18 18-15,-18-17 0,0 0 16,17 17-16,-17-19 0,17 2 15,-17-1-15,18 18 0,-18-17 16,18 0-16,0-2 31,-18 2-15,17 17-16,-17-18 0,17 18 16,-17-17-1,19 17 1,-19-19-16,17 19 15,1-17 17,-1 17-17,2 0 17,-2 0-32,0 17 15,1-17 1,-1 19 15,2-19-31,-19 17 16,17 1-16,0-1 15,1 2 1,0-2 0,-18 0-1,18-17-15,-18 18 16,17-18-16,-17 17 15,17 2-15,2-2 16,-2 0 0,-17 1-16,18 0 15,-18 0 1,17-18-16,-17 17 16,17 0-16,-17 2 15,19-19-15,-19 17 0,17 1 16,-17-1-1,18-17-15,-18 17 0,17 2 16,-17-2-16,19-17 16,-19 18-16,17-1 0,-17 2 15,17-19-15,-17 17 16,18-17-16,-18 17 0,18-17 16,-18 18-16,18-18 0,-18 17 0,17 2 15,0-19-15,-17 17 16,18-17-16,0 17 0,-18 1 15,18-18-15,-18 18 0,17-18 0,-17 18 16,17-18-16,2 17 0,-2 0 16,1 2-1,-1-2-15,0 1 16,2-1-16,-19 0 16,35 2-16,-18-2 15,2 1-15,-2-1 16,-17 2-16,17-19 0,-17 17 15,18 0-15,0 19 16,0-36-16,-18 18 0,17-1 0,-17 0 16,17-17-16,-17 18 15,18 0-15,-18 0 0,36-1 0,-36 0 16,17 19-16,0-18 0,-17-1 16,19 2-16,-2-2 15,-17 0-15,18 1 0,-1-1 0,2 2 16,-2 33-16,0-34 15,1 0-15,-1-1 0,-17 0 16,36 19-16,-19-18 0,1-1 16,0 0-16,0 2 0,-18-2 15,17 1-15,0-1 0,1 2 0,0-2 16,0 0-16,-1 1 0,0-1 16,2 19-16,-2-19 0,1 1 15,-1 0-15,2 0 0,-2-1 16,0 0-16,18 19 0,1-1 15,-19 1 1,1-19-16,0 1 0,-18-1 16,35 2-16,-35-2 0,17 0 15,19 37-15,-18-37 16,-18 0-16,17 1 0,0 0 16,-17 0-16,19-18 0,-2 17 15,-17 0-15,18 2 0,-1-2 0,-17 1 0,19-18 16,-19 17-16,17 0 15,0 19-15,1-36 0,-18 18 16,18-1-16,-18 2 0,18-2 0,-1-17 16,-17 17-16,17 1 0,1 18 15,0-19-15,0 0 16,-1 19-16,0-36 0,-17 18 16,19-1-16,-19 0 0,17-17 15,-17 19-15,18-2 0,-1 1 16,2-1-16,-2 2 15,0-2-15,1 0 16,-1 1-16,-17-1 0,19-17 0,-2 19 16,0-2-16,1 0 15,0 1-15,0-18 0,-1 36 16,0-19-16,19 0 16,-18 2-16,-1-2 0,0 1 15,2-1-15,16 19 16,-35-19-16,53 18 15,-36-16-15,1 15 16,18-16-16,-19 0 16,0 0-16,19 16 15,-18-16 1,-1 0-16,0-18 16,-17 18-16,19-1 0,-2 0 15,1 2-15,-18-2 0,17-17 16,-17 18-16,17-18 0,2 17 15,-19 0-15,17 2 16,1-19-16,-18 17 0,17-17 0,-17 18 16,19-18-16,15 36 15,-16-36-15,-1 17 0,2-17 0,-2 17 16,18 1-16,-17 0 16,0 0-16,-1-18 0,19 34 15,-19-34-15,18 18 0,-18 0 16,2-18-16,-2 18 0,37-1 15,-2 0-15,1 2 16,-36-19-16,19 17 0,16-17 16,38 0-16,-56 0 0,108 0 15,-72 0-15,1-36 0,0 36 16,105-34-16,0-37 16,36-17-16</inkml:trace>
  <inkml:trace contextRef="#ctx0" brushRef="#br0" timeOffset="43170.12">10033 8793 0,'0'18'31,"0"-1"-31,0 2 16,0-2-16,17 18 0,-17-18 0,0 54 15,0-35-15,0 17 0,17-1 16,-17 1-16,0 1 0,0-2 16,0 1-16,0-18 0,0 18 15,0 0-15,0-18 0,0 1 0,0-1 16</inkml:trace>
  <inkml:trace contextRef="#ctx0" brushRef="#br0" timeOffset="43533.67">10121 9940 0,'0'17'16,"0"1"-16,17-1 16,-17 2-16,0-2 0,0 0 15,17 1-15,-17 0 0,0 0 16,0 16-16,18-15 0,-18-2 0,18 18 15,-18 1-15,18-1 16,-18-18-16,0 2 0,17-2 0,-17 18 16,0-18-16,0 2 0,17-2 0,-17 0 15,0 1-15,0 0 16,19-18-16,-19 18 0,0-1 0,17 0 0,-17 2 16,0-2-16,18 1 15,-18-1-15,0 0 0,17 2 16,-17-2-16,0 1 0,0-1 15,0 2-15,0-2 0,0 0 16,0 1-16,0 0 0,0 0 16,0-1-16,0 0 0,0 1 0,0 0 15,0 0-15,0 16 0</inkml:trace>
  <inkml:trace contextRef="#ctx0" brushRef="#br0" timeOffset="43682.06">10350 11192 0,'-19'35'0,"19"-17"0,0 0 0,0 35 31,0-36-31,0 1 0,0-1 0</inkml:trace>
  <inkml:trace contextRef="#ctx0" brushRef="#br0" timeOffset="43841.85">10367 11685 0,'18'19'0,"-36"-38"16,36 55-16,-18-18 15,0-1-15,0 36 32,0-35-32,0 0 0,0 17 15,0-18-15,0 1 16</inkml:trace>
  <inkml:trace contextRef="#ctx0" brushRef="#br0" timeOffset="43968.69">10421 12073 0,'0'0'0,"0"19"15,0-2-15,0 1 16,0-1-16,0 2 0,0-2 16,0 0-16,0 1 0,0 0 15,0 0 1,-19-1-16</inkml:trace>
  <inkml:trace contextRef="#ctx0" brushRef="#br0" timeOffset="44069.34">10438 12603 0,'0'18'16,"0"-36"-16,0 54 0,0-19 0</inkml:trace>
  <inkml:trace contextRef="#ctx0" brushRef="#br0" timeOffset="44227.29">10509 13168 0,'0'35'0,"0"-70"0,0 87 16,0-33-16,0-2 0</inkml:trace>
  <inkml:trace contextRef="#ctx0" brushRef="#br0" timeOffset="49828.24">18393 5195 0,'17'36'16,"-17"-19"-16,0 35 31,0-16-31,0 17 0,0-35 16,0 16-16,0-15 0,19-2 0,-19 18 0,0 1 15,0-19 1,0 1-16,0-1 0,0 2 16,17-19-16</inkml:trace>
  <inkml:trace contextRef="#ctx0" brushRef="#br0" timeOffset="50034.93">18817 5389 0,'0'-18'15,"0"54"32,0-19-16</inkml:trace>
  <inkml:trace contextRef="#ctx0" brushRef="#br0" timeOffset="50296.88">19117 5177 0,'0'0'16,"17"35"15,-17-16-31,0-2 0,0 0 15,0 18-15,-17-16 0,17-2 16,0 0-16,0 1 0,0 0 16,0 0-16,0-1 0,0 0 0,0 2 15,0-2-15</inkml:trace>
  <inkml:trace contextRef="#ctx0" brushRef="#br0" timeOffset="50886.88">19451 5319 0,'18'34'15,"-18"-16"-15,17 18 31,-17-19-31,0 0 16,0 2 0,19-2-1,-2-34 1,0 17 0,1 0-16,-18-19 0,18 19 0,0 0 15,-1 0-15,0-17 16,1 17-16,0 0 15,0 0 1,-1 0 0,0 0-1,2-17 1,-2 34 0,1-17 15,35-17-16,-36 17-15,1 0 0,-18-18 16,17 18-16,2 0 0,-2 0 16</inkml:trace>
  <inkml:trace contextRef="#ctx0" brushRef="#br0" timeOffset="51253.82">20651 5195 0,'0'-18'0,"18"36"31,-18 18-31,17-19 0,-17 0 16,0 1-16,0-1 15,17 2-15,-17-2 0,0 0 16,0 1-16</inkml:trace>
  <inkml:trace contextRef="#ctx0" brushRef="#br0" timeOffset="51437.51">20545 5371 0,'-18'-18'15,"53"1"1,-16 17 0,-2 0-16,18-17 15,-17 17-15,0 0 0,16 0 0,2 0 16,-1-19-16,1 19 0,-1 0 16,-18-17-16</inkml:trace>
  <inkml:trace contextRef="#ctx0" brushRef="#br0" timeOffset="51637.91">21374 5072 0,'0'17'16,"-17"35"-1,17-33-15,0-2 16,0 1-16,0-1 0,0 2 15,0-2-15,0 0 0,0 1 0,0-1 16,0 2-16,0-2 0,17 0 0</inkml:trace>
  <inkml:trace contextRef="#ctx0" brushRef="#br0" timeOffset="51786.84">21603 5319 0,'0'0'0,"18"-19"47</inkml:trace>
  <inkml:trace contextRef="#ctx0" brushRef="#br0" timeOffset="52134.79">21938 4948 0,'0'-17'0,"17"-2"0,2 19 16,-2 19-16,18-2 16,-35 0-16,19 1 0,-2 0 15,0 0-15,-17-1 0,18 0 16,0 2-16,-18-2 0,18 1 16,-18-1-16,17 0 0,-17 2 0,0-2 0,17 1 15,-17-1-15,0 2 16,18-2-16,-18 0 15,0 1-15,0-1 32</inkml:trace>
  <inkml:trace contextRef="#ctx0" brushRef="#br0" timeOffset="52286.98">22045 5248 0,'0'-17'0,"17"-2"31,0 19-31,1 0 16,-18-17-16,18 17 0,34 0 16,-34-18-1,0 18-15,0 0 0</inkml:trace>
  <inkml:trace contextRef="#ctx0" brushRef="#br0" timeOffset="52756.18">22521 5053 0,'17'0'32,"0"19"-17,-17-2 1,0 1-1,0-1-15,18-17 16,-18 17-16,18 2 16,0-19-1,-1-19 1,0 19 0,2 0-1,16 19 1,-18-19-1,2 17 1,-2-17 0,18 0-1,18 0 1,-36 0 0,1-17-16,0 17 0,0 0 15,-1 0-15,0-19 16,2 19-16,-2 0 0,1 0 15</inkml:trace>
  <inkml:trace contextRef="#ctx0" brushRef="#br0" timeOffset="53117.92">19698 5900 0,'159'-52'0,"-18"33"0,-53 2 16,0 17-16,0-17 0,36-1 15,-19 0-15,2 0 0,16 1 0,125 0 16,-126-1-16,-15 0 0,16 0 16,1 18-16,-19-17 0,2 0 15,-2 17-15,36-19 0,-89 19 16,2 0-16,-18 0 0,-2 0 15,-16 0-15,0 0 0</inkml:trace>
  <inkml:trace contextRef="#ctx0" brushRef="#br0" timeOffset="53463.49">21215 5953 0,'0'0'0,"71"0"0,-54 0 16,18 0-16,-16 0 15,15 18-15,-16-18 0,35 17 16,-18 2-16,-35-2 0,18-17 16,-18 17-16,0 1 0,0 18 15,-18-19-15,0 18 0,-16 1 0,16-19 16,0 19-16,18-19 0,-18 1 0,1-18 15,17 17-15,0 2 0,17-19 16,1 0 0,0 0-16,0 0 0,16-19 15,2 19-15,16-17 0,2-1 16,-1 1-16,18-2 0,-19 19 0,18-17 16,1-18-16,0 17 0,-1 0 0,1 1 15,0 0-15,-18-1 0,-1-18 16</inkml:trace>
  <inkml:trace contextRef="#ctx0" brushRef="#br0" timeOffset="53803.69">24019 5371 0,'142'-35'16,"-106"18"-1,-19 17-15,0 0 0,1 0 0,-1 0 16,2 17-16</inkml:trace>
  <inkml:trace contextRef="#ctx0" brushRef="#br0" timeOffset="53958.98">24073 5600 0,'17'19'0,"0"-19"0,2 0 15,16-19-15,-18 19 16,19 0-16,16-17 0,-16 17 16,-19 0-16,19-18 0,-1 18 15,1-17-15,-19 17 0</inkml:trace>
  <inkml:trace contextRef="#ctx0" brushRef="#br0" timeOffset="55022.9">26119 5141 0,'0'54'16,"0"-37"-16,0 2 0,0-2 0,0 0 15,0 1-15,18-1 0,-18 19 0,0-19 16,-18 1-16,18 0 0,0 0 0,0-1 16,0 0-16,18 2 0</inkml:trace>
  <inkml:trace contextRef="#ctx0" brushRef="#br0" timeOffset="55157.1">26383 5460 0,'-17'-19'0,"17"2"16</inkml:trace>
  <inkml:trace contextRef="#ctx0" brushRef="#br0" timeOffset="55439.08">26718 5231 0,'-35'34'31,"18"-34"-31,-2 18 0,2-1 0,0 2 16,-1-2-16,0 0 15,0 1-15,18 0 16,-17-18-16,17 18 0,0-1 15,0 0 1,17-17 0,1 0-16,0 19 0,0-19 0,-1 0 0,19-19 15,-19 19-15,1 0 0,-1 0 16,2 0-16,-2 0 0,0-17 16</inkml:trace>
  <inkml:trace contextRef="#ctx0" brushRef="#br0" timeOffset="55642.2">26789 5248 0,'-35'17'15,"35"1"1,0-1-16,0 2 16,0-2-16,0 0 0,0 1 15,0 0-15,0 17 0,0-18 0,17 2 16,-17-2-16,0 1 0,0-1 15,18 0-15,-18 2 0,17-2 0,2 1 16,-19-1 0,17-17-16</inkml:trace>
  <inkml:trace contextRef="#ctx0" brushRef="#br0" timeOffset="56065.3">27195 5336 0,'18'17'47,"-18"1"-32,17 0 1,0-18 0,-17 18-1,18-18-15,0-18 16,0 18-16,-1 0 0,0 0 0,2 0 15,-2 18-15,1-18 16,-1 0-16,2 0 16,15 0-16,-16 0 15,-1-18-15,2 18 0,-2 0 16,0 0-16,1-18 0,0 18 0,0 0 16</inkml:trace>
  <inkml:trace contextRef="#ctx0" brushRef="#br0" timeOffset="57789.75">10421 13944 0,'17'52'16,"-17"-33"-16,0-2 0,0 0 0,0 1 16,0 0-16,0 0 0,0-1 15</inkml:trace>
  <inkml:trace contextRef="#ctx0" brushRef="#br0" timeOffset="57967.04">10579 14085 0</inkml:trace>
  <inkml:trace contextRef="#ctx0" brushRef="#br0" timeOffset="58337.9">10826 13908 0,'0'19'15,"-17"15"17,-2-34-32,19 35 15,-17-35-15,17 19 16,0-2-16,0 0 31,17 1-15,2-18-1,-2 0-15,18 0 16,-17 0-16,0-18 16,-1 18-1,0-17-15,1 17 0,-18-17 16</inkml:trace>
  <inkml:trace contextRef="#ctx0" brushRef="#br0" timeOffset="58566.89">10914 13873 0,'-17'18'15,"17"-1"1,0 2-16,0-2 15,0 0-15,0 1 0,0-1 16,17 2-16,0 33 16,-17-34-16,18 17 15,-18-18-15,0 2 16,18-2 0</inkml:trace>
  <inkml:trace contextRef="#ctx0" brushRef="#br0" timeOffset="59230.4">11126 13891 0,'0'36'47,"0"-19"-32,0 0 1,0 1 0,0-1-16,17-17 0,-17 19 15,35-38 32,-16 19-31,-19-17-16,17 17 15,0-18 1,1 18 0,0 18-1,0-1 1,-1 2 15,0-19-15,1 0-1,0 0-15,0-19 0,-1 19 16,0 0 0,2 0-16,-2 0 0,1-17 15,-1 17-15,2 0 16</inkml:trace>
  <inkml:trace contextRef="#ctx0" brushRef="#br0" timeOffset="66898.74">5675 2073 0,'18'0'15,"-18"-18"32,0 0-16,-18 18-15,18-17-16,-17 17 0,17-17 16,-19 17-16,2-19 15,0 2-15,-1-1 16,-18 1 0,19 17-16,0-19 0,-1 19 15,0 0-15,0-17 0,1 17 0,0-17 16,-1 17-16,0-18 0,0 18 0,-16 0 15,15-17-15,2 17 0,-1-19 0,1 19 16,-2 0-16,-15 0 0,16 0 16,1-17-16,-2 17 0,2 0 0,0 0 15,-1 0-15,0 0 0,0 0 0,1 0 16,0 0-16,-2-17 0,2 17 16,-1 0-16,1 17 0,0-17 15,-2 0-15,2 0 0,-1 0 0,1 0 16,-2 0-16,2 0 15,0 17-15,-1-17 0,0 0 16,0 0-16,1 19 16,0-19-16,-1 0 15,0 17-15,0-17 0,18 18 16,-17-18-16,0 17 16,-2-17-16,2 17 15,-1 2-15,1-19 0,17 17 16,-19 1-16,2-18 0,17 17 15,-35 2-15,35-2 0,-17 0 16,-2 1-16,2-18 0,17 18 16,-17 0-16,-1-1 15,18 0-15,-18-17 0,18 18 16,-18 0-16,18 0 16,-17-18-16,17 17 0,0 0 15,-17-17-15,17 19 0,0-2 16,-18 1-16,18-1 15,-18 2-15,18-2 16,0 0-16,-18 1 0,18 18 16,0-19-1,0 0-15,0 1 0,0 0 0,0 0 16,0-1-16,0 0 16,0 1-16,0 0 0,18 17 15,-18-18-15,18 2 0,-18-2 16,18 1-16,-18-1 0,17 2 0,-17-2 15,17 0-15,1 1 0,-18-1 16,36 19-16,-19-19 0,0 1 16,2 0-16,-2 0 15,1-18-15,-1 17 0,0 0 0,2 2 16,-2-19-16,1 17 16,-1-17-16,2 18 0,-2-18 0,0 0 15,-17 17-15,18-17 0,0 17 16,0-17-16,-1 0 0,0 19 0,1-19 15,0 0-15,17 17 0,-18-17 16,2 0-16,-2 0 0,18 0 0,-16 18 16,-2-18-16,0 0 0,18 0 0,-16 0 15,-2 0-15,18 17 0,-17-17 16,0 0-16,16 0 0,-15 0 0,-2 0 16,1 0-16,-1 0 0,36 0 15,-35 0-15,-1 0 16,19 0-16,-19-17 0,1 17 15,18 0-15,-19 0 0,18-18 16,-17 18-16,0 0 16,-1-17-16,0 17 0,2 0 0,-2-19 15,1 19-15,-1-17 16,0 17-16,2-17 0,-2 17 16,1 0-16,-1-18 0,2 18 15,-19-17-15,17 17 16,0-19-16,1 19 15,0 0-15,-18-17 0,18 17 0,-1-17 16,0-1 0,1 18-1,-18-18-15,18 18 0,-18-18 16,18 18-16,-18-17 16,17 0-1,0-2 1,-17 2-16,19 17 15,-19-18-15,17 18 0,-17-17 16,0 0-16,18-2 16,-18 2-1,17 17-15,-17-18 0,0 1 16,19-2 0,-19-15-1,0 16 1,0-18-1,0 19 1,0 0-16,0-1 16,0 0-1,0 0-15,-19-16 32,19 15-32,0 2 15,0-1 1,-17 1-1,17 0-15,0-2 16,-18 2-16,18-1 16,-17 1-1,17-2 1,0 2-16,-19 0 16,2-1-1,0 0 16,-1 0-15,18 1-16,-18 17 31,18-17-31,-18 17 0,18-18 16,-17 0-16,17 0 16,-17 18-16,17-17 0,-18 17 15,18-17-15,-18 17 0,0-19 16,1 2-16,0-1 15,-2 1-15,2 17 16,-18 0-16,16 0 16,2 0-16,0 0 15</inkml:trace>
  <inkml:trace contextRef="#ctx0" brushRef="#br0" timeOffset="73163.42">24690 10416 0,'17'0'31,"-17"-36"1,-17 36-17,0-17-15,-1-1 16,-18 18-16,19 0 15,0-17-15,-2 34 0,-52 1 16,37-1 0,-1-17-16,16 19 0,2-2 0,-54 54 31,37-37-31,34-15 0,0-2 16,-19 1-16,19-1 0,19 0 15,-19 2-15,17-19 16,0 0-16,19-19 0,-18 19 15,-1 0-15,0-17 0,2 17 0,16-17 16,-18-1-16,0 18 0,2-17 16,-2-2-16,1 19 0,-1 19 15,2-19 1,-19 35-16,17-18 16,-17 0-16,0 2 0,0 33 15,0-16-15,0-19 0,0 19 0,0-18 16,0-1-16,0 18 15,0-17-15,0 0 0,0 16 16,0-15-16,0-2 16,17-17-1,1 0-15</inkml:trace>
  <inkml:trace contextRef="#ctx0" brushRef="#br0" timeOffset="73653.89">25061 10557 0,'-36'-17'15,"18"34"-15,1-17 16,0 18-16,-2-18 16,-16 17-16,18 0 15,-2-17-15,19 19 16,-17-19-16,34 17 15,-17 1-15,19-18 0,-19 17 16,17-17-16,54 36 16,-54-19-16,1 1 0,0 0 15,0 0-15,-1-1 0,0 0 0,1 1 16,-18 0-16,0 0 16,-18 16-16,1 2 15,0-18-15,-19-1 0,18 0 16,-16 2-16,-2-2 0,1 1 15,16-18-15,-15 17 16,16-17-16,1 0 0,-2 0 16,19-17-1</inkml:trace>
  <inkml:trace contextRef="#ctx0" brushRef="#br0" timeOffset="73958.42">25642 10540 0,'-17'35'16,"-1"-18"-16,1 19 16,-2-19-16,19 18 15,-17-16-15,0-2 0,-18 36 16,16-1-16,2-34 0,0 0 16,17 0-16,-18 16 0,0-15 15</inkml:trace>
  <inkml:trace contextRef="#ctx0" brushRef="#br0" timeOffset="74123.77">25413 10733 0,'18'-17'31,"0"34"-15</inkml:trace>
  <inkml:trace contextRef="#ctx0" brushRef="#br0" timeOffset="74266.48">25819 10909 0,'18'0'63</inkml:trace>
  <inkml:trace contextRef="#ctx0" brushRef="#br0" timeOffset="75739.99">24549 8987 0,'-54'18'0,"37"0"0,-18 16 16,35-15-16,-36 50 16,19-15-16,17-18 0,-17 33 15,-1-33-15,18 17 16,18-1-16,-18-33 0,17-2 16,-17 1-16,17-1 0,2 0 0,16 2 15,-18-2-15,0-17 0,2 0 16,-2 18-16,1-18 15,-1 0-15,2-18 0,-2 18 16,0-17-16,1-2 16,-18 2-16,0 0 15,0-1-15,0 1 0,0-2 16,0 2-16,-18 0 16,18-1-16,-17 0 15,0 18 1,-2 0-16,19-18 15</inkml:trace>
  <inkml:trace contextRef="#ctx0" brushRef="#br0" timeOffset="76502.38">24849 9040 0,'-18'17'15,"18"2"-15,0-2 16,18 1-16,-18-1 0,17 0 16,0 2-16,2-2 0,-19 1 15,17-1-15,1 2 0,-18-2 0,17 18 16,2-18-16,-19 2 0,0-2 15,0 0-15,0 1 0,-19 0 16,19 0-16,-17-18 16,17 17-16,-18-17 15,18 17-15,-17-17 0,-2 0 16,19-17 0,0 0-1,19-1-15,-19 0 16,17 0-16,1 1 15,-18 0-15,17 17 0,-17-19 16,19-16-16,-2 1 0,-17 15 16,0 2-16,0-18 15,0 16-15,0-15 0,-17 16 16,17 1-16,-19-2 16,2 2-16,-1 0 15,1 17 1,-19 0-16,19 0 15,-1 17-15</inkml:trace>
  <inkml:trace contextRef="#ctx0" brushRef="#br0" timeOffset="76780.89">25590 8969 0,'-36'71'16,"36"-54"0,-17 2-16,-1-2 0,1 54 15,-2-54-15,2 18 0,17 1 16,-17-19-16,-1 37 0,0-37 15,0 18-15,18-17 16,-17 0-16,17-1 0,-17 0 16,17 2-16</inkml:trace>
  <inkml:trace contextRef="#ctx0" brushRef="#br0" timeOffset="76953.82">25202 9164 0,'0'-19'16,"17"19"0,18 0-16,-16 0 15</inkml:trace>
  <inkml:trace contextRef="#ctx0" brushRef="#br0" timeOffset="77118.99">25854 9252 0,'17'0'32</inkml:trace>
  <inkml:trace contextRef="#ctx0" brushRef="#br0" timeOffset="80337.67">25025 12497 0,'18'-17'31,"0"0"-15,-36-2-1,18-16 1,-18 35-16,18-17 0,-18 17 0,1 0 16,-19-19-16,19 19 15,-1 0-15,1 0 0,-36 19 16,18-19-16,16 17 0,-15 1 16,16-18-16,0 17 0,0 2 0,1-19 15,0 17-15,-1 0 0,0 1 16,18-1-16,18 2 15,0-19 1,16 0-16,-16 0 16,18-19-16,-19 2 15,0 17-15,2-18 0,-2 18 16,18-17-16,-18 0 0,2 17 16,-19-19-16,17 19 15,1 19 1,-18-2-16,0 18 0,17-18 15,-17 36-15,-17-35 16,17 18-16,0-2 0,0-16 0,0 18 16,0-19-16,-18 19 0,18-19 15,0 1-15,0-1 0,0 2 0,0-2 16,0 0-16,0 1 0,18-1 16,-1-17-1,2 0-15</inkml:trace>
  <inkml:trace contextRef="#ctx0" brushRef="#br0" timeOffset="80877.99">25449 12532 0,'-54'-52'15,"37"52"1,0 0-16,-2 0 0,-16 17 15,1-17-15,-2 18 0,1-1 16,16 2-16,2-19 0,0 17 16,-1 0-16,0-17 0,18 18 15,-18 0-15,18 0 16,18-18 0,0 0-16,0 0 15,-1-18-15,0 18 0,19-18 0,-18 18 16,-1-18-16,2 18 0,-2-17 15,0 17-15,1-17 0,-1 17 16,2-19-16,-2 19 0,-17 19 16,17-2-1,-17 0-15,0 1 0,0 0 16,0 0-16,0-1 0,0 0 0,0 19 16,0-18-16,0-1 0,-17 19 15,17-19-15,0 1 0,0-1 0,-17 2 16,17-2-16,0 18 15,0-18-15,0 2 16</inkml:trace>
  <inkml:trace contextRef="#ctx0" brushRef="#br0" timeOffset="81041.96">25607 12832 0,'0'-17'16</inkml:trace>
  <inkml:trace contextRef="#ctx0" brushRef="#br0" timeOffset="81513.17">25871 12480 0,'19'0'16,"16"-17"-1,-1 17 1,2 17-1,-36 0-15,0 1 16,18-18 0,-18 36-16,0-19 0,0 0 15,0 37-15,0-37 0,0 0 16,-18 19-16,18-18 0,0-1 0,0 0 16,0 2-16,0-2 0,-17 37 15,17-20 1,0-16-16,0 18 15,0-19 1</inkml:trace>
  <inkml:trace contextRef="#ctx0" brushRef="#br0" timeOffset="81698.67">25854 12868 0,'-17'-17'0,"34"-2"16,36 2 15,-18 17-31,-18 0 16,2 0-16,16-18 0,35 18 16,-34-17-16,-18 17 0,16-19 15</inkml:trace>
  <inkml:trace contextRef="#ctx0" brushRef="#br0" timeOffset="81974.5">26754 12515 0,'0'0'16,"-17"17"15,-2 2-31,-16 15 15,18-16-15,-2 0 0,19 17 16,-34 0-16,16 1 16,0-19-16,0 0 0,1 19 15,0-1-15,17-16 0,-18-2 16,0-17-16,18 35 0,-18-18 16,18 2-16,-17-2 15,17 0 1,-17-17-16</inkml:trace>
  <inkml:trace contextRef="#ctx0" brushRef="#br0" timeOffset="82154.82">26401 12709 0,'0'0'0,"-18"0"0,1-18 16,52 36 31,-18-18-32</inkml:trace>
  <inkml:trace contextRef="#ctx0" brushRef="#br0" timeOffset="82307.28">26895 12815 0,'18'17'31,"-1"-34"16</inkml:trace>
  <inkml:trace contextRef="#ctx0" brushRef="#br0" timeOffset="84905.61">22221 10839 0,'70'-35'0,"-52"18"0,-1 17 0,2 0 16,-2 0-16,0 0 16,1 0-16,-1 0 0,2 0 0,-2 0 15,0 17-15,-17 0 0,18-17 16,-18 18-16,0 18 15,-18-19-15,1 0 0,17 2 0,-17-2 16,-2 1-16,2-1 0,-1 0 16,1 2-16,0-2 0,-2 18 15,2-35-15,17 19 0,-18-19 16,18 17-16,-17-17 16,69 0 15,-16-17-16,-1 17-15,-18 0 0,2-19 0,15 19 16,2-17-16,-1 17 0,0 0 16,-17-18-16,17 18 0,-18-17 0,19 17 15</inkml:trace>
  <inkml:trace contextRef="#ctx0" brushRef="#br0" timeOffset="85287.22">23014 10716 0,'-52'0'16,"33"0"-16,2 0 0,105 0 15,-211 17-15,105-17 0,0 18 16,18 0-1,18 0-15,0-1 16,0-17-16,-1 17 0,0 1 16,2-18-16,33 36 15,-35-36-15,-17 17 16,19-17-16,-2 17 0,-17 2 0,18-19 16,-18 17-16,0 1 15,0-1-15,0 0 16,-18 2-16,1-2 0,-2 1 15,2-18-15,0 17 16,-1-17-16,1 19 16</inkml:trace>
  <inkml:trace contextRef="#ctx0" brushRef="#br0" timeOffset="85501.32">23243 10769 0,'0'-18'16,"0"54"15,0-2-15,0-16-16,0 0 0,0 0 15,0-1-15,-17-17 0,17 17 16,0 2-16,0-2 15,0 1-15,0-1 0,-17 0 16</inkml:trace>
  <inkml:trace contextRef="#ctx0" brushRef="#br0" timeOffset="85825.03">23190 10733 0,'71'-17'0,"-53"17"16,0 17-16,-1-17 0,0 18 0,2 0 15,-2-18-15,1 18 0,-18-1 16,17 0-16,0 1 0,-17 0 0,0 0 16,0-1-16,0 0 0,-17 2 15,0-2-15,17 1 0,-18-1 0,1 0 0,-2 19 16,-15-18-16,16-1 16,0-17-16,0 19 0,18-2 0,-17 0 15,0-17-15</inkml:trace>
  <inkml:trace contextRef="#ctx0" brushRef="#br0" timeOffset="86680.81">22838 12727 0,'0'0'0,"17"-18"0,1 18 0,0 0 15,0 0-15,-1 18 16,-17-1-16,0 0 16,0 2-16,-35 33 15,35-33 1,-18-19-16,0 17 0,18 0 0,-17-17 15,17 18-15,17-18 16,1 0 0,0 0-16,0 17 0,-1-17 15,0 0-15,2 0 0,-2 0 16,1 19-16,-1-19 0,0 0 16,2 17-16,-2-17 15,-17 17 1,-17 1-16,-2 0 0,-33 0 15,35-1 1,-2-17-16,-15 0 0,-2 17 16,18-17-16,1 0 15,0 0-15,-2-17 16</inkml:trace>
  <inkml:trace contextRef="#ctx0" brushRef="#br0" timeOffset="87022.31">23367 12691 0,'-70'0'15,"70"18"-15,-18-18 0,18 18 16,-18-18-16,36 17 15,-18 0-15,18 19 16,-1-36-16,0 18 16,-17-1-16,19-17 0,-2 19 0,-17-2 15,18 0-15,-1-17 0,-17 18 16,17-18-16,-17 17 0,0 2 16,-17-2-1,17 0-15,-17 1 0,-1 0 16,-18 17-1,2-18-15,34 2 0,-54 16 16</inkml:trace>
  <inkml:trace contextRef="#ctx0" brushRef="#br0" timeOffset="87272.84">23561 12691 0,'0'0'0,"0"-18"0,18 18 16,-18 36 15,0-1-15,0-18-16,0 2 16,-18-2-16,18 1 0,0-1 0,0 2 15,0-2-15,0 0 0,0 1 16,0-1-16,0 2 0,0-2 15,0 0-15,0 1 0,0 0 16,0 0 0</inkml:trace>
  <inkml:trace contextRef="#ctx0" brushRef="#br0" timeOffset="87579.15">23579 12603 0,'18'-18'16,"-1"1"-16,-52 52 0,87-70 0,-34 35 0,0 0 16,0 17-16,16-17 15,-15 18-15,-2 0 0,1 0 16,-1-1-16,2 0 0,-2 19 0,0-18 15,-17-1-15,18 19 0,-18 16 16,0-33-16,-18 15 0,1-16 16,0 18-16,-2-2 0,-16 2 0,18-1 15,-19-18-15,1 19 0,-18-18 16,18 16-16,17-15 0,-88 16 16,89-35-16,-19 0 0,1 0 15,-1 0-15</inkml:trace>
  <inkml:trace contextRef="#ctx0" brushRef="#br0" timeOffset="88457.83">22255 9145 0,'19'19'16,"-19"-2"-16,0 1 15,17-1-15,-17 2 0,0-2 16,0 0-16,18 37 16,-18-37-16,0 0 0,0 1 15,0 0-15,0 0 0,0-1 16,0 0-16,17 2 16,2-19-1</inkml:trace>
  <inkml:trace contextRef="#ctx0" brushRef="#br0" timeOffset="88915.12">22767 9093 0,'-141'35'15,"106"-35"1,35 17-1,0 2-15,35 16 16,-18-18 0,2-17-16,33 19 15,-52-2-15,19-17 0,-2 17 16,0-17-16,-17 18 0,18-18 0,-18 17 16,17-17-16,-17 19 15,-17-2-15,-1 0 16,18 1-16,-17-18 0,0 18 0,-2-18 15,2 18-15,-1-18 0,18 17 16,-17-17-16,-2 0 0,2 17 0,-18-17 16</inkml:trace>
  <inkml:trace contextRef="#ctx0" brushRef="#br0" timeOffset="89173.77">22997 9111 0,'17'0'15,"-17"17"17,0 19-17,0-19-15,0 1 16,0-1-16,0 2 0,0-2 15,0 0-15,0 1 0,-17-1 0,17 2 16,0-2-16,0 0 16,0 1-16,0 0 15</inkml:trace>
  <inkml:trace contextRef="#ctx0" brushRef="#br0" timeOffset="89521.78">22943 9076 0,'36'-36'0,"-18"36"15,-72 36-15,125-89 0,-54 53 16,2 0-16,-2 0 0,1 0 16,-1 17-16,2-17 0,-2 0 15,35 36-15,-33-36 0,-2 17 16,0 1-16,1-1 0,0-17 0,-18 17 16,18 19-16,-36-18 15,18-1-15,0 2 0,-18-2 0,-17 35 16,18-33-16,-2-2 15,-16 18-15,-18 18 16,18-53-16,18 0 0,-2 17 16,2-17-16</inkml:trace>
  <inkml:trace contextRef="#ctx0" brushRef="#br0" timeOffset="97067">8657 13256 0,'0'-17'16,"17"51"31,-34 2-16,34-18-31,-17-1 0,0 0 16,0 1-16,0 0 0</inkml:trace>
  <inkml:trace contextRef="#ctx0" brushRef="#br0" timeOffset="97419.77">8638 13803 0,'19'17'0,"-19"19"16,0-19-1,0 1-15,0-1 16,0 2-16,0-2 16,0 0-16,0 18 15,0-16-15</inkml:trace>
  <inkml:trace contextRef="#ctx0" brushRef="#br0" timeOffset="97621.79">8779 13944 0</inkml:trace>
  <inkml:trace contextRef="#ctx0" brushRef="#br0" timeOffset="97869.8">8921 13803 0,'0'0'15,"17"34"1,-17-15 0,0-2-16,0 1 15,19-1-15,-19 2 16,0-2-16,0 35 15</inkml:trace>
  <inkml:trace contextRef="#ctx0" brushRef="#br0" timeOffset="99912.93">12713 12868 0,'0'52'15,"0"-33"-15,0-2 0,0 0 16,0 1-16,0 0 0,0 0 16,0-1-16,0 0 15,0 2-15,0-2 0,0 1 0</inkml:trace>
  <inkml:trace contextRef="#ctx0" brushRef="#br0" timeOffset="100512.68">12783 13449 0,'19'36'31,"-19"-18"-15,0-1-1,0 2 1,17-2 15,-34 0-31</inkml:trace>
  <inkml:trace contextRef="#ctx0" brushRef="#br0" timeOffset="100773.03">13066 13468 0,'0'-19'31</inkml:trace>
  <inkml:trace contextRef="#ctx0" brushRef="#br0" timeOffset="101375.27">13313 13239 0,'53'0'16,"-18"-19"0,-17 19-1,0 0-15,-1-17 16,0 17-1,1 17 1,0-17 0,-18 19-16,0-2 15,0 0-15,0 1 0,0 0 16,0 0-16,0-1 16,0 0-16,18 1 15,-18 18-15,0-19 16,0 0-16,0 2 15,0-2 1</inkml:trace>
  <inkml:trace contextRef="#ctx0" brushRef="#br0" timeOffset="101566.88">13366 13397 0,'35'0'16,"35"-18"15,-34 18-31,-18 0 0,52 0 16,-52-18-16,18 18 0</inkml:trace>
  <inkml:trace contextRef="#ctx0" brushRef="#br0" timeOffset="107962.66">8603 12497 0,'0'35'31,"0"-16"-15,0-2-16,0 18 0,0-17 16,0 0-16,0-1 0,0 0 0,-17 37 15,17-37 1</inkml:trace>
  <inkml:trace contextRef="#ctx0" brushRef="#br0" timeOffset="108202.15">8603 12885 0,'0'18'0,"0"-36"16,0 53-16,0-16 15,0-2-15,0 18 16,0-17 0,0 0-1,0-1-15,0 0 16,0 19-16,18-36 15,-18 18-15,0-1 0,0 0 16,17-17-16,-17 19 0,0-2 16,0 1-16,19 18 15,-19-19-15,0 0 0,0 1 16,0 0 0,0 0-16,0-1 15</inkml:trace>
  <inkml:trace contextRef="#ctx0" brushRef="#br0" timeOffset="109053.97">12749 12039 0,'0'53'0,"0"-36"15,0 1-15,0 18 16,0-2-16,0-16 0,0 18 0</inkml:trace>
  <inkml:trace contextRef="#ctx0" brushRef="#br0" timeOffset="109417.74">12749 12603 0,'-18'18'15,"18"0"1,0-1-16,-18 0 16,18 1-1,0 0-15,0 0 16,0-1-16,0 0 15,0 2-15,18-19 0,-18 17 0,0 1 16,0-1-16,0 2 16,0 15-1,0-16 1,-18 18 0,18-19-1,0 0-15,18 1 31,-18 0-15,18 0-16,-18-1 31</inkml:trace>
  <inkml:trace contextRef="#ctx0" brushRef="#br0" timeOffset="112642.76">8657 13627 0,'17'70'0,"-17"-52"15,17 34-15,-17-16 0,0-2 16,0 2-16,0-1 0,0 1 0,18-1 16,-18 1-16</inkml:trace>
  <inkml:trace contextRef="#ctx0" brushRef="#br0" timeOffset="112808.87">8850 14491 0,'0'53'31,"0"-36"-31,0 1 0,0-1 0,0 0 16,0 2-16,0-2 15,0 1-15,0-1 0,17 2 16,-17-2-16,0 0 0,0 1 16</inkml:trace>
  <inkml:trace contextRef="#ctx0" brushRef="#br0" timeOffset="112961.63">8903 14843 0,'18'18'0,"-18"0"31,-18-54-15,36 89-1,-1-53 17,2 0-17</inkml:trace>
  <inkml:trace contextRef="#ctx0" brushRef="#br0" timeOffset="113116.46">8991 14879 0,'18'0'31,"-1"0"-15,2 0 0,15-18-16,-16 18 0,0 0 0,17 0 15,-18 0-15,37-18 0,-1 18 16,70-18-16,-70 18 0,0 0 15,18 0-15,-19-17 0</inkml:trace>
  <inkml:trace contextRef="#ctx0" brushRef="#br0" timeOffset="113283.96">10897 14720 0</inkml:trace>
  <inkml:trace contextRef="#ctx0" brushRef="#br0" timeOffset="113425.63">11426 14613 0</inkml:trace>
  <inkml:trace contextRef="#ctx0" brushRef="#br0" timeOffset="113713.06">11761 14525 0,'17'19'0,"0"-19"16,2 0 0,16 0-1,-18 0 1,19 0-1,-1 0-15,-17 0 16,0 0 0,-1 0-16,0 0 15,1 0-15,-18-19 16,18 19-16,0 0 16,-18-17-16,17 17 0,0-17 15,2-1-15,-2 18 0</inkml:trace>
  <inkml:trace contextRef="#ctx0" brushRef="#br0" timeOffset="114115.11">12783 13220 0,'-17'36'15,"17"-19"1,17 1-16,-34 0 0,34 0 15,-17 34-15,0-34 0</inkml:trace>
  <inkml:trace contextRef="#ctx0" brushRef="#br0" timeOffset="114251.67">12731 13996 0,'0'36'16,"0"-19"-16,0 1 15,0 0-15,0 0 16,0-1-16</inkml:trace>
  <inkml:trace contextRef="#ctx0" brushRef="#br0" timeOffset="114572.7">12573 14525 0,'-107'19'0,"36"-2"0,37-17 16,-2 18-16,1-18 0,-1 17 16,-33-17-16</inkml:trace>
  <inkml:trace contextRef="#ctx0" brushRef="#br0" timeOffset="115416">10579 15779 0,'-18'-36'16,"0"18"-16,-16 18 31,-2 0-31,1 18 0,-1-1 16,1 2-16,18-2 0,-19 0 0,19 1 15,-1 0-15,1 0 16,-2-1-16,2 0 0,17 1 15,17 0-15,2-36 16,-2 18-16,18-18 16,-18 18-16,2-17 0,16 0 15,1-1-15,-19 18 0,0-18 16,1 18-16,0 0 0,0 0 16,16 36-1,-16-19-15,-18 0 0,0 19 16,18-18-16,-18 16 0,0-15 0,0 33 15,0-35-15,0 37 16,0-37-16,0 2 0,0 15 16,0-16-16,0 0 15</inkml:trace>
  <inkml:trace contextRef="#ctx0" brushRef="#br0" timeOffset="115754.94">10861 15901 0,'-71'36'0,"54"-18"16,17-1-1,0 0-15,17 2 16,2-19-16,-19 17 0,34 1 0,-16-1 16,0 0-16,0-17 0,-18 19 15,17-19-15,-17 17 0,17 1 16,-17-1-16,0 2 0,0-2 16,0 0-16,-17 1 15,17 0-15,-17 0 0,-1-1 16,0 0-16,0-17 0,18 18 15,-17-18 1</inkml:trace>
  <inkml:trace contextRef="#ctx0" brushRef="#br0" timeOffset="115940.86">11126 15849 0,'17'0'0,"-34"18"15,17-36-15,0 53 16,0-18-16,0 1 0,0 0 0,0 17 0,-17-18 16,17 2-16,-19 50 0,2-50 15,17 16-15,-18-18 16,18 19-16,-17-19 0,17 19 16,-19-18-16</inkml:trace>
  <inkml:trace contextRef="#ctx0" brushRef="#br0" timeOffset="116069.29">10985 16113 0,'0'-17'15,"0"-2"-15,0 2 16,17 17 0</inkml:trace>
  <inkml:trace contextRef="#ctx0" brushRef="#br0" timeOffset="116207.31">11497 16131 0,'17'0'0,"-34"0"16,34-18 0,0 18-1</inkml:trace>
  <inkml:trace contextRef="#ctx0" brushRef="#br0" timeOffset="126871.04">11497 12956 0,'17'0'0,"-17"17"16,0 1 0,0 0-16,0 0 15,0-1-15,0 0 16,0 2-16,0-2 15,-17 18 1</inkml:trace>
  <inkml:trace contextRef="#ctx0" brushRef="#br0" timeOffset="127617.42">9662 13080 0,'17'17'16,"-17"1"-16,0-1 16,-17 36-1,17-35-15,0 18 0,0-19 0,0 18 16,-19-17-16,19 0 0,0 16 15,-17 2-15,17-18 16</inkml:trace>
  <inkml:trace contextRef="#ctx0" brushRef="#br0" timeOffset="132674.56">9643 13168 0,'0'-19'47,"0"2"-31,0-18 15,0 18-31,0-2 0,19 2 15,-19 0-15,0-37 16,0 37-16,17-19 16,-17 19-1,0-1 1,0 1 0,18 17-16,-1-17 15,2 17-15,15 0 16,2-19-1,-18 19-15,-1 0 0,0 0 0,1 0 16,71-17 0,-72-1-16,18 18 0,53-17 15,-52 17-15,-1 0 0,18-19 16,106 2 0,-123 17-16,16-17 0,-16 17 0,-2 0 15,54-18-15,-17 18 16,-18-18-16,-18 18 0,1 0 15,-1 0-15,1 0 0,-2-18 0,2 18 16,-1 0-16,1 0 0,-19 0 16,18 0-16,-16-17 0,-2 17 0,0 0 15,18 0-15,-16 0 0,-2 0 0,0 0 16,1 0-16,0-17 16,0 17-16,-1 0 0,0 0 0,1 0 15,0 0-15,0 0 0,-18-18 16,17 18-16,0 0 0,2 0 15,-2 0-15,18-18 16,-16 18-16,-2 0 31,0 0-15,1 0-16,-1 0 16,2 0 15,-2 0 0,-17 18 16,0 0-31,0-1-16,0 0 0,0 1 15,0 0-15,0 0 0,0-1 16,17 0-16,-17 2 0,0-2 0,0 1 15,0-1-15,0 2 0,0 15 16,0-16-16,0-1 16,0 2-16,0-2 15,0 0 1</inkml:trace>
  <inkml:trace contextRef="#ctx0" brushRef="#br0" timeOffset="134558.53">8867 14649 0,'19'-17'0,"-19"52"31,17 1-15,-17-19-1,0 0-15,18 1 16,-18 0-16,0 0 0,0-1 16,0 0-16,17 19 15,-17-18-15,19 16 31,-2-34-31,-17 19 16,17-19-16,1 0 16,-1 0-1,2 0-15,15 0 16,2 0 0,-1 0-16,-18 0 15,2-19-15,-2 19 0,18 0 16,36 0-1,-35-17-15,-19 17 0,18 0 0,18 0 16,-18-17-16,1 17 0,-19 0 16,19 0-16,-19 0 0,18 0 15,-18-18-15,2 18 0,-2 0 0,18 0 16,-16 0-16,-2 0 0,18 0 16,-17-18-16,0 18 0,-1 0 0,0 0 15,19 0-15,-18 0 0,-1 0 0,0-18 16,2 18-16,-2 0 0,18 0 15,-16 0-15,-2 0 0,0-17 0,1 17 16,-1 0-16,2 0 0,-2 0 0,0 0 16,1 0-16,0 0 15,0 0-15,-1 0 0,0 0 0,2 0 16,-2 0-16,1 0 16,16-17-16,2 17 15,-18 0 1,-1 0-16,2 0 0,-2 0 15,0 0-15,1 0 0,0 0 16,17-18-16,-18 18 0,19 0 0,-18 0 16,16 0-16,2 0 0,-1-18 15,-18 18-15,19 0 0,52 0 16,-34 0-16,-20 0 0,20 0 0,-1 0 16,18-18-16,-19 18 0,1 0 15,0 0-15,-1 0 0,2 0 16,16 0-16,18 0 0,-34-17 15,-20 17-15,20 0 0,-20 0 0,20 0 16,-20 0-16,2 0 0,-1 0 16,36 0-16,-35 0 0,-19-17 15,18 17-15,-17 0 0,0 0 0,-1 0 16,0 0-16,2 0 0,-2 0 16,1 0-16,-1 0 15,2 0 1,-2 0-1,0 0-15,1 0 16,-1 0 0,19-19-1,-19 19 1,1 0-16,0 0 0,0 0 16,-18-17-16,17 17 0,0 0 15,19 0-15,-36-18 0,18 18 16,-1 0-16,0 0 0,2-17 15,-2 17-15,1 0 0,-1 0 16,2 0-16,-19-19 0,17 19 16,0 0-16,1-17 15,-1 17-15,2 0 16,-2-17 0,0 17-1,1-18 1,0 1-16,0 17 15,-18-19 1,17 19-16,-17-17 16,17 17-16,-17-17 15,0-1 1,19 18-16,-19-18 16,0 0-16,0 1 0,0 0 15,0-2-15,0-33 16,0-19-1,0 35-15,0 2 0,0 16 0,0-18 16,0 19-16,0-18 0,-19 17 16,19-17-16,0-1 0,0-16 15,-17 35-15,0-2 0,-1 2 16,0-18-16,0 16 16</inkml:trace>
  <inkml:trace contextRef="#ctx0" brushRef="#br0" timeOffset="135790.82">10067 12515 0,'0'36'31,"-17"-2"-16,17-16-15,0 0 16,0 0-16,0-1 0,0 0 16,0 1-16,0 0 0,17 0 15,-17-1 1</inkml:trace>
  <inkml:trace contextRef="#ctx0" brushRef="#br0" timeOffset="136222.73">11038 12373 0,'-19'19'0,"19"-2"0,0 1 16,0 18-1,0-19-15,0 0 0,0 1 0,0-1 16,0 19-16</inkml:trace>
  <inkml:trace contextRef="#ctx0" brushRef="#br0" timeOffset="136990.42">9467 14491 0,'18'70'32,"-18"-52"-17,0-1-15,0 0 0,0 2 0,0-2 16,0 1-16,0-1 0,18 2 15,-18-2-15,18-17 0</inkml:trace>
  <inkml:trace contextRef="#ctx0" brushRef="#br0" timeOffset="137660.6">12325 14279 0,'18'17'47,"-18"19"-32,0-19-15,18 18 16,-18-16 0,0-2-16,17 0 15,-17 1-15,0 0 0</inkml:trace>
  <inkml:trace contextRef="#ctx0" brushRef="#br0" timeOffset="141153.93">15235 7964 0,'0'36'63,"0"-19"-63,18 1 0,-18-1 0,0 19 15,0-1-15,0 1 0,0 16 16,0-34-16,0 0 0,0 16 15,0-16-15,0 18 16,0-19-16,0 0 16,18 2-16</inkml:trace>
  <inkml:trace contextRef="#ctx0" brushRef="#br0" timeOffset="141321.53">15447 8335 0,'-17'-18'31,"34"18"-15</inkml:trace>
  <inkml:trace contextRef="#ctx0" brushRef="#br0" timeOffset="141809.92">15711 7947 0,'36'-18'0,"-1"18"16,-18 0-16,2 0 16,-2 0-16,18 0 15,-16 0-15,-19 18 16,17-18-16,0 17 0,-17 0 16,0 2-16,18-2 0,-18 1 15,0-1-15,0 19 16,0-19-16,0 37 15,0-37-15,0 0 0,0 1 0,-18 0 16,18 0-16,0-1 16,18 18-1,-18-17 1,18-18-16,-18 18 16</inkml:trace>
  <inkml:trace contextRef="#ctx0" brushRef="#br0" timeOffset="142039.73">15818 8247 0,'-19'0'16,"38"0"-16,16 0 31,1 0-16,-2 0 1,-16 0-16,0-18 16,17 18-1,-18 0-15,1 0 0,0 0 16</inkml:trace>
  <inkml:trace contextRef="#ctx0" brushRef="#br0" timeOffset="142905.91">16558 8088 0,'19'-19'16,"33"38"-1,-35-19-15,2 0 0,-2 0 16,18 0-16,-17 0 16,0 0-16,16 0 0,-15 0 15,-2 0-15</inkml:trace>
  <inkml:trace contextRef="#ctx0" brushRef="#br0" timeOffset="143157.76">17141 7893 0,'17'0'16,"-34"0"-1,34 36 1,-17-1 0,0-18-16,0 2 15,0-2-15,0 1 0,0-1 0,17 0 16,-17 19-1,0-18-15,0-1 0,0 2 0,0-2 16,0 0-16,19-17 0,-19 18 16,17 0-1</inkml:trace>
  <inkml:trace contextRef="#ctx0" brushRef="#br0" timeOffset="143320.82">17387 8140 0,'0'0'0,"-17"-17"15</inkml:trace>
  <inkml:trace contextRef="#ctx0" brushRef="#br0" timeOffset="143702">17653 7947 0,'0'53'31,"0"-36"-15,0 1-16,0 35 15,0-36-15,0 1 0,17-1 16,-17 2-16,0-2 0,0 0 16,17 1-16,-17 0 15</inkml:trace>
  <inkml:trace contextRef="#ctx0" brushRef="#br0" timeOffset="144500.99">15623 8723 0,'-17'0'0,"0"0"16,69 0 0,-16 0-1,52-18-15,-18 18 16,1 0-16,0-18 0,34 18 0,2-18 15,121 1-15,-104 0 0,0 17 16,105-18-16,-88 0 16,-18 18-16,1 0 0,-1-18 0,-17 18 15,105-17-15,-140 17 16,70-17-16,-105 17 16,16 0-16,-33 0 0,15 0 0,-16 0 0,-1 0 15,19 0-15,-36 17 31,-17 0-31,-2-17 0,2 18 16,-1 0-16</inkml:trace>
  <inkml:trace contextRef="#ctx0" brushRef="#br0" timeOffset="145175.43">16787 9235 0,'-34'17'16,"16"0"-1,0-17-15,0 18 0,1-1 16,-19-17-16,1 36 0,18-19 16,0 1-16,-2-18 0,-16 18 15,18 0-15,17-1 0,-19-17 16,19 17-16,0 2 16,19-19-16,-19 17 0,17-17 15,1 0-15,18 0 16,-19 0-16,18 0 0,1 0 0,86-17 15,-86 17-15,-1 0 16,1-19-16,-1 19 0,1-17 0,-2 17 16,20-17-16,-37-1 15,0 0-15,1 18 0,-18-18 16</inkml:trace>
  <inkml:trace contextRef="#ctx0" brushRef="#br0" timeOffset="145355.03">16841 9252 0,'0'52'0,"-18"-33"0,53 174 31,-35-157-15,17-1-16,-17-18 0,19 19 15,-19-1-15,17-17 0,-17 0 0,0 16 16,18 2-1</inkml:trace>
  <inkml:trace contextRef="#ctx0" brushRef="#br0" timeOffset="146124.9">12590 8776 0,'17'35'16,"-17"1"-1,0-2-15,0-16 16,0 18-16,0-19 0,18 18 0,-18-17 16,-18 34-16,18-33 15,0 16-15,0-1 0,0-15 16,0-2-16,18 1 15,-18-1-15</inkml:trace>
  <inkml:trace contextRef="#ctx0" brushRef="#br0" timeOffset="146523.17">13154 8793 0,'-35'18'0,"17"-18"16,-17 0-16,18 17 0,-2 2 15,-16-2 1,35 18-1,0-18 1,18-17-16,35 36 16,-36-19-16,1-17 0,0 18 15,0-18-15,-1 18 16,0-18-16,2 18 16,-19-1-16,0 0 15,-19 2 1,2-2-16,0-17 0,-1 18 15,0-18-15,0 0 16,1 0-16</inkml:trace>
  <inkml:trace contextRef="#ctx0" brushRef="#br0" timeOffset="146758.75">13366 8776 0,'17'-19'32,"-17"55"-17,18-18-15,-18 35 16,0-36-16,0 1 16,0-1-16,0 2 0,0-2 15,0 0-15,0 1 0,18 0 16,-18 0-16,0-1 0,0 0 15,0 2 1</inkml:trace>
  <inkml:trace contextRef="#ctx0" brushRef="#br0" timeOffset="147071.32">13366 8776 0,'17'-19'16,"19"19"-16,-89 19 0,141-38 16,-71 19-16,1 19 15,0-19-15,17 17 0,-18 1 16,2-1-16,-2 2 15,-17-2-15,0 0 0,0 1 0,0-1 0,0 2 16,0-2-16,-17 18 0,17-17 16,-19 0-16,19-1 0,-17 0 15,17 2-15,-17-2 0,17 1 16</inkml:trace>
  <inkml:trace contextRef="#ctx0" brushRef="#br0" timeOffset="147370.28">14247 8740 0,'19'-17'0,"-2"17"16,1-18-16,-1 18 0,0 0 15,2-18-15,-2 18 0,1 0 16,-1 0-16,19 0 15,-19 18-15</inkml:trace>
  <inkml:trace contextRef="#ctx0" brushRef="#br0" timeOffset="147521.28">14318 8916 0,'17'19'16,"19"-38"-1,35 2 1,-54 17-16,1-18 0,0 18 16,0 0-16,-213 35 0</inkml:trace>
  <inkml:trace contextRef="#ctx0" brushRef="#br0" timeOffset="150061.85">15094 10839 0,'19'-35'0,"15"18"16,1 17 0,-16 0-16,15-18 0,37 18 15,-54 0-15,2 0 0,-2 0 16,1 0-16,-1 0 16,0 18-16</inkml:trace>
  <inkml:trace contextRef="#ctx0" brushRef="#br0" timeOffset="150219.32">15218 11016 0,'-17'0'0,"51"0"31,2 0-15,-18 0-16,52-19 15,-35 19-15,1 0 0,-1 0 16,18-17-16</inkml:trace>
  <inkml:trace contextRef="#ctx0" brushRef="#br0" timeOffset="150801.9">16717 10521 0,'-88'36'0,"88"-18"16,-18-1-16,18 0 0,0 19 15,-17-18-15,17 18 0,0-19 0,0 18 16,17-17-16,-17 0 0,18 16 0,-1-16 16,2 0-16,-2 0 0,0-1 15,1-17-15,0 17 0,0-17 0,16 19 16,-15-19-16,-2 0 0,1-19 16,-1 19-16,0-17 15,-17 0-15,0-1 0,19 18 16,-38-18-16,19 0 0,0 1 0,-17 0 15,17-19-15,-17 18 0,-1 1 16,18 0-16,-36-2 0,19 2 16,17-1-16,-17 18 0,17-17 0,-18 17 15,0 0-15</inkml:trace>
  <inkml:trace contextRef="#ctx0" brushRef="#br0" timeOffset="150940.81">16929 10609 0,'0'-17'15</inkml:trace>
  <inkml:trace contextRef="#ctx0" brushRef="#br0" timeOffset="151264.6">17405 10416 0,'-35'0'0,"18"17"0,17 1 16,-36 52-16,36-51 15,0 16-15,0-18 0,0 0 16,0 2-16,17-2 0,-17 1 16,19-1-16,-2 2 0,-17-2 0,53 0 15,-35-17 1,-1 0 0,0 0-16,-17-17 0,0 0 15,-17-2 1,0 2-16,-1 17 15,0 0-15,0 0 0,1 0 16,0 0-16,-2 17 0,19 2 16,-17-19-16</inkml:trace>
  <inkml:trace contextRef="#ctx0" brushRef="#br0" timeOffset="151606.53">16629 11351 0,'124'-35'0,"-107"35"0,19-19 16,16 2-16,55 0 15,-37-1-15,-18 0 0,2 0 0,104-16 16,-104 34-16,34-18 16,-71 18-1,0 0-15,1 0 0,0 0 0,0 0 16</inkml:trace>
  <inkml:trace contextRef="#ctx0" brushRef="#br0" timeOffset="152098.15">17282 11404 0,'-17'0'16,"-2"17"0,-16 1-1,18-1-15,-19 19 16,19-36-16,-1 17 0,0 1 0,0 0 16,18 0-16,-17-18 0,17 17 0,-17 0 15,17 2-15,0-2 16,17 1-1,0-18-15,1 0 16,0 0-16,17 0 0,1 0 16,-1-18-16,-18 18 15,2 0-15,15-17 0,-16-2 0,35-15 16,-36 34-16,1-18 16,-18 0-16,18 18 0,-18-18 15,0 1-15,0 0 16,0-2-16,0 2 15,-18 34 17,0 2-32,18-2 0,0 0 0,-17 1 15,17 0-15,0 34 16,0-33-16,0-2 0,0 1 0,0-1 16,0 19-16,0-19 0,0 1 0,17-1 15,-17 2-15,18 15 0,0-16 16</inkml:trace>
  <inkml:trace contextRef="#ctx0" brushRef="#br0" timeOffset="152589.6">16875 12868 0,'19'-17'0,"-2"17"0,1 0 0,-1 0 16,2-19-16,-2 19 0,36 0 16,-35 0-16,-1 0 0,0 0 15,1 0-15,-18 19 0</inkml:trace>
  <inkml:trace contextRef="#ctx0" brushRef="#br0" timeOffset="152786.68">16841 13132 0,'34'0'15,"2"0"1,-18 0-16,70-17 15,-70 17-15,17-18 0,-18 18 16,19 0-16,-18-17 0,16 17 16,-15-19-16,16 19 0,-18-17 0,19 17 15</inkml:trace>
  <inkml:trace contextRef="#ctx0" brushRef="#br0" timeOffset="153852.84">18429 12603 0,'0'-18'0,"-19"18"16,-16 36 0,35-18-16,-17-1 0,-2 54 15,19-54 1,0 0-16,0 2 0,0-2 0,0 18 16,19 1-16,-2-36 0,1 17 15,-1 1-15,2-18 0,-2 17 16,0-17-16,1 0 0,0 0 0,0 0 15,-18-17-15,17 17 0,0 0 16,1-18-16,-18 1 0,18 17 0,-18-17 16,0-2-16,0 2 0,-18-1 15,18 1-15,-18-2 0,1 2 0,17 0 16,-17-1-16,-1 0 0,0 0 16,0 1-16,1 17 0,17-17 0,-17 17 15,-2 0-15,2-18 16</inkml:trace>
  <inkml:trace contextRef="#ctx0" brushRef="#br0" timeOffset="154007.21">18781 12621 0,'17'0'31,"-17"18"-15</inkml:trace>
  <inkml:trace contextRef="#ctx0" brushRef="#br0" timeOffset="154313.51">18993 12532 0,'0'36'16,"-18"-19"-1,18 1-15,0 18 16,0-2-16,0 54 16,18-17-1,-18-52-15,0-2 0,17 0 16,0-17 0</inkml:trace>
  <inkml:trace contextRef="#ctx0" brushRef="#br0" timeOffset="154900.59">19327 12568 0,'19'-17'16,"-38"34"-1,2-17-15,0 0 0,17 17 16,-18-17-16,0 18 15,0-18-15,18 18 16,0 0-16,18-1 16,-18 0-16,18 1 15,0 0-15,-18 0 16,17-1-16,-17 0 0,17 2 31,-17-2-31,-17-17 0,17 18 16,-17-1-16,-1-17 15,18 19-15,-18-19 16,0 0-16</inkml:trace>
  <inkml:trace contextRef="#ctx0" brushRef="#br0" timeOffset="155398.9">19575 12585 0,'0'0'16,"0"18"0,18 0-16,-18 0 15,0-1-15,0 0 31,17 1-15,-17 0-16,17-18 31,1 0-15,0-18-16,0 18 16,-1 0-16,19 0 31,-36 18-31,17-18 15,1 18 1,-1-18 0,0 0 15,2 0-31,-2 0 16,1-18-16,-1 18 15,2 0-15,-2 0 16,0-18-16,1 18 15,0 0-15,0 0 16,-18 18 0</inkml:trace>
  <inkml:trace contextRef="#ctx0" brushRef="#br0" timeOffset="156245.82">18375 13273 0,'247'-53'0,"-194"36"16,18 17-16,0-18 0,17 1 0,0 17 0,0-19 15,0 2-15,-18 0 0,18 17 16,-17-18-16,-18 1 0,18 17 0,0-19 16,-19 2-16,18 17 0,-16-17 15,-1-1-15,-1 18 0,-16-18 0,-1 18 16,1-18-16,-2 18 0,2-17 0,-1 17 16,1-17-16,-1 17 0,1-19 15,-2 19-15,1-17 0,1-1 0,17 1 16,18-19-16,-54 19 15,18-1-15,1 1 16,-19-2-16,18-15 0,1 16 0,-1-18 16,18-16-16,-36 34 15,1 0-15,0 1 0,-18 0 0,18-2 16,-18 2-16,17-18 16,-17 18-16,0-19 0,0 18 0,0 1 15,-17-2-15,-19-33 16,18 16-16,-16 2 0,16-2 0,-18 18 15,2-16-15,-56-37 0,56 52 16,-20-15-16,20-1 0,-73-1 16,55 1-16,-19 17 0,18 0 15,0 1-15,1 0 0,-2-1 16,-70 0-16,72 0 0,-18 1 16,16 17-16,2 0 0,-18 0 15,34-17-15,-18 17 0,20 0 0,-37 17 16,36-17-16,-18 0 0,0 17 15,1-17-15,-2 18 0,1 0 0,-52 0 16,-19-1-16,53 0 16,19 1-16,-19 0 0,1 0 15,16-1-15,1 19 0,-18-19 0,19 1 16,-36 35-16,35-36 16,-35 54-16,52-54 0,1 19 15,18-1-15,-36 36 16,35-37-16,18-15 0,-17 16 0,17 1 15,-19-2-15,19 1 0,0 1 0,0-1 16,19 18-16,-2 0 0,1-1 16,-1 2-16,19-18 0,-1 16 0,1 1 15,69 35-15,-52-35 16,-1-18-16,19 1 0,0-1 0,-18 1 16,18-19-16,34 18 0,-52-17 15,1 0-15,-2-18 0,-16 17 0,16-17 16,-34 0-16,53 0 15,-36 0-15,-18 0 0,19 0 16</inkml:trace>
  <inkml:trace contextRef="#ctx0" brushRef="#br0" timeOffset="160734.59">19046 15320 0,'0'-19'0,"-19"73"15,19-37-15,0 2 16,0 15-16,0-16 0,-17 52 16,17-34-16,0-1 15,-17 1-15,17-19 0,-18 54 16,18-54-16,0 18 0,-17-16 16,17-2-16,0 18 0,0-17 15,0 0-15,-19-18 0,38 17 16</inkml:trace>
  <inkml:trace contextRef="#ctx0" brushRef="#br0" timeOffset="160909.16">19222 15743 0</inkml:trace>
  <inkml:trace contextRef="#ctx0" brushRef="#br0" timeOffset="161982.54">19734 15513 0,'17'0'0,"-34"18"32,-19 0-17,36 0-15,-17-1 0,-1-17 16,0 17-16,0 2 0,1-2 16,0 1-16,-1-1 0,0 0 0,0 2 15,1-19-15,17 17 0,-17 1 16,-2-1-16,19 2 15,19-2-15,-2-17 16,0 17 0,1-17-16,18 0 0,-19 0 0,0 0 15,19 0-15,-18 0 0,16 0 16,-15 0-16,16 0 0,18-17 16,-36 17-16,1 0 0,-1 0 15,2-17-15,-2 17 0,0 0 0,-17-19 16,18 19-16</inkml:trace>
  <inkml:trace contextRef="#ctx0" brushRef="#br0" timeOffset="162193.66">19803 15513 0,'-17'0'0,"17"18"0,-17 18 16,17-19-1,0 0-15,0 2 0,0 16 16,-18-18-16,18 19 0,0-1 0,0 1 16,0-2-16,0 2 0,-17-18 0,17 16 15,0 2-15,0-18 0,0 16 16,-19-15-16,19-2 0,0 1 0,0-1 16,0 0-16</inkml:trace>
  <inkml:trace contextRef="#ctx0" brushRef="#br0" timeOffset="164457.49">20527 15372 0,'0'-17'16,"-17"34"-1,17 19 1,0-19 0,17 1-16,-17-1 0,0 2 15,0-2-15,0 36 16,0-18 0,0-18-1,18-17-15</inkml:trace>
  <inkml:trace contextRef="#ctx0" brushRef="#br0" timeOffset="164667.44">20439 15567 0,'35'-18'16,"-18"18"-16,37-18 15,-18 18 1,-19 0-16,18 0 16,-17 0-16,0 0 0,-1 0 15,-17 18-15,17-18 0,1 0 0</inkml:trace>
  <inkml:trace contextRef="#ctx0" brushRef="#br0" timeOffset="164920.98">20422 15813 0,'35'0'31,"-18"0"-31,0 0 0,2 0 16,-2 0-16,1-17 0,18 17 15,-19 0-15,0 0 0,19 0 0,-1 0 0,0 0 16</inkml:trace>
  <inkml:trace contextRef="#ctx0" brushRef="#br0" timeOffset="165565.6">21303 15337 0,'-17'0'16,"0"18"-1,-2-1-15,19 2 0,-17 15 16,17-16-16,0-1 15,0 2-15,0-2 0,0 0 16,17 1-16,-17 0 0,19 0 0,-19-1 16,34 19-16,-16-36 15,-1 17-15,2-17 0,-2 0 0,0 18 16,19-18-16,-18-18 16,-1 18-16,0-17 15,1 17-15,-18-19 0,18 2 16,-18 0-16,0-1 15,0 0-15,-18 0 0,18 1 0,0 0 16,-18-2-16,18 2 0,-17-1 16,17 1-16,-17 17 0,-1-17 0,0 17 15,0-19-15,1 19 16,0 0-16,-2 19 16</inkml:trace>
  <inkml:trace contextRef="#ctx0" brushRef="#br0" timeOffset="165737.57">21674 15408 0,'0'17'31</inkml:trace>
  <inkml:trace contextRef="#ctx0" brushRef="#br0" timeOffset="166035.4">21921 15301 0,'0'36'15,"0"-18"1,-18-1-16,18 2 15,0-2-15,0 0 0,0 1 0,-17-1 16,17 36 0,-19-35-16,19 0 0,0 0 15</inkml:trace>
  <inkml:trace contextRef="#ctx0" brushRef="#br0" timeOffset="166466.53">22291 15301 0,'0'0'0,"-36"0"32,19 19-17,0-19-15,-1 17 16,0-17-16,18 18 16,0-1-1,18 2 1,-18-2-16,18-17 0,-1 17 31,0 18-15,-51 1-1,-2-19-15,1 19 16,18-36 0,-1 0-16,0 18 15</inkml:trace>
  <inkml:trace contextRef="#ctx0" brushRef="#br0" timeOffset="167125.87">22573 15337 0,'-18'18'31,"18"-1"-15,-17 2-16,17-2 15,0 0 17,17 1-17,1-36 17,0 18-17,-18-17-15,18 17 31,-1-17-31,0 17 16,2 0 15,-2 17-15,1-17 0,-18 17-1,17-17 32,2 0 0,-2 0-31,0 0-1,1 0 1,-1 0-1,2 18-15</inkml:trace>
  <inkml:trace contextRef="#ctx0" brushRef="#br0" timeOffset="168926.92">15923 15620 0,'-17'-19'0,"17"55"15,-17-36 1,17 18-16,0-1 0,0 19 15,0-19-15,0 1 0,-19 18 16,19-19-16,0 0 16,0 1-16,0 0 0,0 0 15,19-1-15,-2-17 16</inkml:trace>
  <inkml:trace contextRef="#ctx0" brushRef="#br0" timeOffset="169282.28">16435 15637 0,'-18'0'0,"-17"0"15,88 0-15,-123 0 0,52 18 0,0-18 16,0 0-16,1 17 0,0-17 0,-2 17 15,19 2 1,0-2 0,19-17-16,-19 18 0,17-18 15,-17 17-15,35-17 0,-35 19 16,18-19-16,-18 17 0,18-17 0,-1 17 16,-17 1-1,-17 0 1,-1 0-16,0-18 15,0 17-15,-16 0 32</inkml:trace>
  <inkml:trace contextRef="#ctx0" brushRef="#br0" timeOffset="169502.29">16629 15601 0,'0'0'0,"0"36"31,-18-1-15,1-18-16,17 2 15,0-2-15,-17 1 0,17-1 0,0 2 16,0-2-16,0 0 15,0 1-15,0 0 16</inkml:trace>
  <inkml:trace contextRef="#ctx0" brushRef="#br0" timeOffset="169800.78">16541 15567 0,'124'-18'16,"-107"36"-16,18-1 15,-17-17-15,0 17 0,-1 2 16,-17-2-16,17 18 15,-17-18-15,-17 2 0,17-2 16,-17 1-16,-19 35 0,18-18 16,1-17-16,-19 17 0,1-18 15,18 1-15,0 0 16,-37 17-16</inkml:trace>
  <inkml:trace contextRef="#ctx0" brushRef="#br0" timeOffset="170413.51">16082 16907 0,'17'0'0,"2"0"0,-2 0 15,1 0-15,-1 0 0,2 0 16,-2 18-16,-17 0 15,0-1-15,0 0 16,-17 1-16,17 0 16,-19 0-16,2-1 0,17 0 15,-35 19-15,16-18 0,19-1 16,-17-17-16,0 17 0,-1 2 16,53-19 15,-18 0-31,2-19 15,-2 19-15,1 0 0,-1 0 16,36-34-16,-18 34 16,-16-18-16,33 18 0,-34-17 15,0 17-15</inkml:trace>
  <inkml:trace contextRef="#ctx0" brushRef="#br0" timeOffset="170748.03">16665 16836 0,'-54'19'16,"37"-2"-1,17 0 1,0 1-16,17 0 16,-17 0-16,18-1 0,-18 0 15,17-17-15,-17 18 0,19 0 0,-19 0 16,0-1-16,0 0 16,0 2-16,0-2 15,-19-17-15,2 18 0,-1-18 16,1 17-16,0-17 0,-2 0 15,2 0-15,-1-17 16</inkml:trace>
  <inkml:trace contextRef="#ctx0" brushRef="#br0" timeOffset="170952.73">16841 16836 0,'0'19'16,"0"-2"0,0 0-16,0 1 0,0 18 15,0-19-15,-18 18 16,18 1-16,0-19 16,0 0-16</inkml:trace>
  <inkml:trace contextRef="#ctx0" brushRef="#br0" timeOffset="171213.87">16823 16872 0,'18'-17'16,"-36"34"-16,53-34 0,1 17 15,-19 17 1,1-17-16,-1 17 0,2 1 16,-19 18-16,-19-2 15,2-34-15,17 36 16,-35-1-16,16 1 16,2-19-16,0-17 0,17 18 15</inkml:trace>
  <inkml:trace contextRef="#ctx0" brushRef="#br0" timeOffset="171758.16">19346 16607 0,'0'-18'16,"0"72"0,0-37-1,0 0-15,0 37 0,0-37 0,0 0 16,0 37-16,0-18 16,0-2-16,0-16 0,0 0 15,0 17-15,0-18 16,0 1-16,0 0 15</inkml:trace>
  <inkml:trace contextRef="#ctx0" brushRef="#br0" timeOffset="171917.78">19557 16907 0,'0'-18'16,"0"36"-16,18-36 31</inkml:trace>
  <inkml:trace contextRef="#ctx0" brushRef="#br0" timeOffset="172262.97">20051 16677 0,'-18'19'15,"18"-2"1,-18 1-16,1-18 15,0 17-15,-1 19 16,0-19-16,0 1 16,1-1-1,17 2-15,0-2 16,35-17 0,-17 0-1,0 0-15,-1 0 16,0 0-16,1 0 0,0 0 0,0 0 15,-1 0-15,0 0 0,2 0 16,-2 0-16,1 0 0,-1-17 0</inkml:trace>
  <inkml:trace contextRef="#ctx0" brushRef="#br0" timeOffset="172463.02">20139 16660 0,'-17'17'16,"17"2"-16,17-55 0,-34 89 16,-2-35-16,19 16 0,0-15 15,0-2-15,0 18 16,-17-16-16,17-2 0,0 0 0,0 1 16,17 35-1,-17-36-15,0 1 0</inkml:trace>
  <inkml:trace contextRef="#ctx0" brushRef="#br0" timeOffset="174007.05">20703 16501 0,'0'-17'15,"-17"52"17,17-18-32,0 2 0,-17-2 15,17 18-15,0-17 16,0 0-16,0 16 15,0-15-15,0-2 16</inkml:trace>
  <inkml:trace contextRef="#ctx0" brushRef="#br0" timeOffset="174204.69">20615 16660 0,'36'-17'32,"-18"17"-17,-1-18-15,0 18 16,1 0-16,0 0 0,0 0 0,-1 0 16,0 0-16,2 0 0,-19 18 0,17-18 15</inkml:trace>
  <inkml:trace contextRef="#ctx0" brushRef="#br0" timeOffset="174377.87">20598 16907 0,'17'0'31,"1"-18"-31,0 18 0,-71 18 0,141-36 15,-71 18-15,19 0 0,-1 0 0,18-17 16</inkml:trace>
  <inkml:trace contextRef="#ctx0" brushRef="#br0" timeOffset="175277.81">21550 16572 0,'36'0'0,"-19"-17"16,1 34-16,-1-17 15,-17 17 1,19 1-16,-19 0 15,-19 0-15,19-1 0,-17 19 0,17-19 16,-18 1-16,18-1 16,-17 0-16,-2 2 15,19-2-15,-17-17 16,17 18-16,17-18 31,19 0-15,-18 0-1,18 0-15,-2 0 16,-16 0-16,-1 0 0,2-18 16,-2 18-16,0 0 0,1 0 15</inkml:trace>
  <inkml:trace contextRef="#ctx0" brushRef="#br0" timeOffset="176232.67">21991 16431 0,'-17'17'0,"-2"2"15,19-2-15,-17 0 0,17 1 16,-17 18-16,-1-19 0,18 18 16,0-17-16,-17 0 0,17-1 0,0 0 15,0 2-15,0-2 0,0 1 16,0 16-16,17-15 0,-17-2 16,0 1-16,18-18 0,-1 17 15,0-17 1,2 19-16,-2-19 0,18 0 15</inkml:trace>
  <inkml:trace contextRef="#ctx0" brushRef="#br0" timeOffset="176589.42">22238 16625 0,'-17'0'0,"34"0"0,-34-18 15,-1 18 1,0 18 0,18 0-16,-18-1 15,18 0-15,18 2 16,-18-2-16,0 1 0,18-1 16,0 0-16,-1-17 15,-17 19-15,17-19 16,2 0-16,-2 0 0,1 0 15,-1-19-15,2 2 16,-19 0 0,-19-18-1,19 16-15,-17 19 0,17-17 16,-18 0-16,1 17 16,-2-18-1</inkml:trace>
  <inkml:trace contextRef="#ctx0" brushRef="#br0" timeOffset="176757.29">22450 16572 0,'17'0'16,"-17"17"-1,0 1 1</inkml:trace>
  <inkml:trace contextRef="#ctx0" brushRef="#br0" timeOffset="177042.79">22802 16519 0,'0'36'15,"0"-2"16,0-16-31,0 0 0,0 0 0,0-1 16,0 0-16,0 2 0,19-2 16,-19 1-16,0-1 15,17-17-15,-17 17 0</inkml:trace>
  <inkml:trace contextRef="#ctx0" brushRef="#br0" timeOffset="177398.09">23243 16519 0,'-17'0'15,"-36"17"1,35-17-16,1 19 15,0-19 1,17 17-16,0 0 16,17 1-1,-17 0 1,17 0 0,-17-1-16,18 0 15,-36 2-15,18 16 16,-17-35-16,17 17 15,-17-17-15,17 17 0,-19-17 0,2 19 16,-1-19-16,1 0 16</inkml:trace>
  <inkml:trace contextRef="#ctx0" brushRef="#br0" timeOffset="177617.77">23279 16307 0,'18'0'15,"-1"18"-15,0-18 0,37 52 16,-37-33-16,0-2 16,-17 1-16,19 18 0,-19-19 0,0 35 15,0-33-15,0 15 16,0-16-16,-19 35 15,19-36-15,0 2 0,19-2 0,-19 1 0</inkml:trace>
  <inkml:trace contextRef="#ctx0" brushRef="#br0" timeOffset="178050.68">24407 16413 0,'36'0'16,"35"0"0,-19 0-1,-33 0-15,-2 0 0,0 18 16</inkml:trace>
  <inkml:trace contextRef="#ctx0" brushRef="#br0" timeOffset="178220.63">24531 16607 0,'35'0'31,"-16"0"-15,-2 0-16,18 0 0,-17 0 0,0 0 15,16 0-15,-16 0 16,18 0-16,-2 0 0</inkml:trace>
  <inkml:trace contextRef="#ctx0" brushRef="#br0" timeOffset="178594.52">25907 16272 0,'0'35'16,"0"-17"0,18 0-16,-18-1 0,0 19 15,0-19-15,17 1 16,-17-1-16,0 2 0,0-2 16,0 0-16,17 1 0,-17-1 0,19 2 15,-19-2-15</inkml:trace>
  <inkml:trace contextRef="#ctx0" brushRef="#br0" timeOffset="178761.29">26242 16484 0,'0'0'16,"-17"0"-16</inkml:trace>
  <inkml:trace contextRef="#ctx0" brushRef="#br0" timeOffset="179181.98">26842 16255 0,'-17'34'16,"-19"2"0,-16 16-1,52-33-15,-19-19 16,2 17-16,17 1 0,-18-1 0,1 2 31,17-2-31,-19 0 0,19 1 16,19-18-16,-19 17 15,17-17-15,1 0 0,-1 0 16,2 0-16,-2 0 16,18 0-16,-18 0 0,19 0 15,-19 0-15,1 0 0,0-17 16,0 17-16,-1 0 16</inkml:trace>
  <inkml:trace contextRef="#ctx0" brushRef="#br0" timeOffset="179367.76">26877 16325 0,'0'18'16,"-18"-18"-16,1 53 16,17-36-16,0 1 0,-17-1 15,17 19-15,0-19 16,0 18-16,0-16 0,17-2 0,-17 18 15,17-17-15,-17 0 0</inkml:trace>
  <inkml:trace contextRef="#ctx0" brushRef="#br0" timeOffset="179797.36">27530 16219 0,'-17'-18'0,"34"54"46,-17-18-46,0-1 0,0 0 16,0 1-16,0 18 16,17-19-16,-17 0 15,0 2-15,0-2 0,0 1 16,0-1-16</inkml:trace>
  <inkml:trace contextRef="#ctx0" brushRef="#br0" timeOffset="180015.75">27477 16360 0,'17'-17'16,"19"17"-1,-19 0-15,1-18 0,0 18 0,0 0 16,-1 0-16,0-18 0,1 18 15,18 0-15,-19 0 0,0 0 16,2 0-16,-2 0 0,-17 18 0,18-18 16</inkml:trace>
  <inkml:trace contextRef="#ctx0" brushRef="#br0" timeOffset="180213.6">27371 16589 0,'35'0'31,"1"0"-15,-19 0-16,18-17 0,1 17 0,35-17 16,-19 17-16,-16 0 0,34-19 15,-35 19-15,1-17 16</inkml:trace>
  <inkml:trace contextRef="#ctx0" brushRef="#br0" timeOffset="180872.17">28253 16184 0,'-18'0'0,"1"17"16,0-17-1,17 18-15,0 0 0,-19 0 0,19-1 16,0 0-16,0 1 0,0 0 16,19 0-16,-19-1 0,17 0 15,-17 2-15,17-19 0,1 17 0,-1 1 16,2-18-16,-2 0 0,0 0 15,1 0-15,0 0 16,0 0-16,-18-18 0,17 18 16,-17-36-16,17 19 0,-17 0 15,-17-1-15,17 0 0,0-17 16,-17 0-16,17 17 16,0 0-16,-18 1 0,0 0 15,0-2 1,1 19-16,0 0 15,-2 0 1</inkml:trace>
  <inkml:trace contextRef="#ctx0" brushRef="#br0" timeOffset="181005.01">28535 16237 0</inkml:trace>
  <inkml:trace contextRef="#ctx0" brushRef="#br0" timeOffset="182381.93">28694 16113 0,'0'-17'16,"17"17"-16,1 0 15,0 0 1,0 17 0,-1-17-16,-17 18 0,17-18 0,-17 17 15,0 2-15,0 15 16,-17-34-16,17 18 16,0 0-16,-17-18 0,17 18 15,0-1-15,-18-17 16,53 17-1,-18 1 1,2-18-16,-2 0 16,1 18-1,-1 0-15,-34-1 16,-1-17 0,-18 17-1,19 2-15,0-19 0,-1 0 0,0 0 16,0 17-16,1-17 15,0 0-15,-1-17 16</inkml:trace>
  <inkml:trace contextRef="#ctx0" brushRef="#br0" timeOffset="183576.52">29065 16167 0,'0'34'32,"0"-16"-1,-18-18-16,18 18-15,0 0 16,18-18 47,-1 0-48,0-18-15,2 18 31,-19-18-31,17 18 16,1 0 0,-1 0-1,-17 18 1,17 0 0,-17-1 46,19-34 297,-2 17-343,-17-18-16,18 18 16,-1 0-1,2 0 17,-2 0 14,-17 18-30,17-18 15,1-18-15,-1 18 0,19-36-1,-19 36-15</inkml:trace>
  <inkml:trace contextRef="#ctx0" brushRef="#br0" timeOffset="185357.49">26507 16889 0,'18'0'0,"-1"0"16,0 0-16,1 18 0,0-18 0,0 0 15,16 0-15,-15 0 0,-2 0 16,18 0-16,1 0 0,-1 0 0,1 0 16,-2 0-16,2 0 0,70-18 15,-36 1 1,-35 17-16,1-17 0,-19-2 0,19 19 15,-18-17-15,-1 17 0,71-71 16,-71 54 0,2-1-16,-2 1 15,-17-2-15,18 19 0,-18-17 0,17 0 16,-17-1-16,19 0 0,-19 0 16,0 1-16,0 0 0,0-2 15,0 2-15,0-1 0,0 1 16,0 0-16,0-19 15,0 18-15,-19 1 0,19-2 16,0 2-16,-17 0 0,17-1 0,-18 0 16,18 0-16,-17-16 0,-2 16 0,2 0 15,0 0-15,-1 1 0,0 0 16,0-2-16,1 2 0,0-1 0,-1 1 16,0-2-16,-17 2 0,18 0 15,-2-1-15,2 18 0,-18-17 0,16-2 16,2 2-16,-54-18 15,54 17-15,-18 0 16,17 18-16,-34-34 0,16 34 16,1-18-16,18 18 0,-19-18 0,18 18 15,-18-18-15,19 18 0,-18-17 16,-1 17-16,-52-17 16,71 17-16,-19 0 0,1 0 15,-18 0-15,18 0 0,18 17 16,-19-17-16,1 0 0,-1 17 0,19 1 15,-18-18-15,-18 36 16,17-19-16,1 18 0,-18 1 0,18-2 16,-1 2-16,-16 16 0,16 2 0,-34 34 15,35-35-15,18-18 16,-2 18-16,2 0 0,-1-18 0,18 18 16,0-18-16,0 1 0,18 17 0,-1-18 15,19 18-15,-1-18 0,35 1 16,-16-1-16,34-18 0,0 2 0,106 15 15</inkml:trace>
  <inkml:trace contextRef="#ctx0" brushRef="#br0" timeOffset="185676.66">29118 16765 0</inkml:trace>
  <inkml:trace contextRef="#ctx0" brushRef="#br0" timeOffset="187466.77">10631 13397 0,'0'35'16,"19"-18"-1,-19 2 1,0-2-16,17-17 16,1 18-16,-1-18 15,0 0 1,2 0-16,-2 0 0,1 0 16,-1 0-16,2 0 0,-2 0 15,88-18 1,-69 18-16,-1 0 0,1 0 0,-1-17 15,18 17-15,-1 0 0,1-19 16,1 19-16,104-17 16,-104 17-16,-20-17 0,1 17 15,18 0-15,-17-18 0,-1 18 16,1 0-16,-1 0 0,-1-18 0,37 18 16,-35-18-16,-1 18 0,-17 0 15,17 0-15,-18-17 0,19 17 16,-18 0-16,16 0 0,-15-17 0,-2 17 15,18 0-15,-16 0 0,-2 0 16,0 0-16,1 0 0,-1-18 16,2 18-16,-2 0 0,0 0 0,1 0 15,0 0-15,0 0 16,-1 0-16,0 0 16,1 0-1,0 0 1,0 0-16,-1 0 15,0-18 1,2 18 0,-2 0-1,18-18 1,-16 18 0,-2-17-1,0 0 1,-17-2-16,18 2 15,-18-1 1,0 1-16,0-2 0,0 2 16,17 0-16,-17-1 0,19-35 31,-19 36-31,0-1 0,17 0 16,-17 0-1</inkml:trace>
  <inkml:trace contextRef="#ctx0" brushRef="#br0" timeOffset="193621.77">10314 13273 0,'-17'0'47,"17"18"-16,0 0-15,-18 0-1,18-1-15,0 0 16,0 1-16,-17 35 16,17-36-1,0 2-15,0-2 0,-19 18 16,19-16-16,0-2 15,0 0 1,-17-17-16,17 18 16,-17-18-1,-1 17 1,0-17 0,0 0-1,1 0-15,0 0 16,-2 0-1,-16 0 1,-18 0 0,18 0-16,-18 0 15,36 0 1,-1 0-16,0 0 0,0 0 16,1 0-16,0 0 0,-1 0 15,0 0-15,-17 19 0,18-19 0,-2 0 16,-16 0-16,18 0 0,-36 0 15,35 17-15,-18-17 0,19 0 16,0 0-16,-19 0 0,18 0 0,1 0 16,0 17-16,-1-17 0,-18 0 15,19 0-15,0 0 0,-2 0 0,-16 0 16,18 0-16,-2 0 16,2 0-16,0 0 0,-1 18 15,1-18-15,-2 0 0,2 0 16,0 0-16,-1 0 15,0 0-15,0 0 16,1 0-16,0 0 16,-2-18-1,2 18 17,-1 0-17,1 0 1,0 0-1,-2 0 1,2-17 0,-1 17 15,1 0-31,-2 0 16,2 0 15,0 0-16,17 17 1,-18-17 15,1 18 47,-2-36-15,19 1-47,-17 0-16,17-2 15,-17-16 1,-1 1-1,18 15-15,-18-16 16,18 18 15,-18-2-31,18 2 32</inkml:trace>
  <inkml:trace contextRef="#ctx0" brushRef="#br0" timeOffset="199722.6">17229 2355 0,'0'106'0,"0"-71"16,-18 0-16,18 125 15,-17-108-15,17 1 0,0 0 16,0-1-16</inkml:trace>
  <inkml:trace contextRef="#ctx0" brushRef="#br0" timeOffset="203121.88">16365 17895 0,'17'-35'31,"0"35"-15,1 17 0,-18 1-1,0-1-15,0 2 0,0-2 16,0 0 0,0 18-1,36 1 1,-19-19 15,0 1-15,-17 18-1,-17-19 1,0 0-16,-1-17 16,0 19-16,0-19 15,1 0 1</inkml:trace>
  <inkml:trace contextRef="#ctx0" brushRef="#br0" timeOffset="203409.3">16770 17895 0,'-17'-18'0,"-1"18"15,0 0-15,0 0 16,18 35 15,18-16-31,0-2 16,-18 0-16,18 37 16,-18-37-16,17-17 15,-17 17-15,0 1 0,-17 18 16,-1-2-1,18-15-15,-18-19 16,0 17 0,1-17-16</inkml:trace>
  <inkml:trace contextRef="#ctx0" brushRef="#br0" timeOffset="203839.87">16894 17948 0,'17'-17'16,"-34"34"-16,17 0 15,0 1-15,0-1 16,0 2-16,0-2 0,17 18 16,-17 1-1,0-2-15,0-15 0,0-2 16,18 1-1,-1-36 17,-17 1-32,0-2 15,0 2-15,19 0 0,-19-1 16,0 0-16,17 0 0,-17 1 16,17 0-16,1-2 0,0 2 15,0 17-15,-1 0 0,18 0 16,-17 17-1,-18 2 1,18-2-16,-36 18 16,0-17-16,0 0 15,18-1-15,-17 0 0,0-17 16,17 19-16,-18-19 0,18 17 16,18 1-1,-1-36 1</inkml:trace>
  <inkml:trace contextRef="#ctx0" brushRef="#br0" timeOffset="204345.84">19610 17736 0,'0'-17'15,"0"34"-15,0 18 32,0 18-17,0-36-15,0 2 16,0-2-16,0 1 0,0 18 16,-17-2-16,34-16 0,-17-1 15,0 19-15,0-19 16,17-17-16,-17 18 0</inkml:trace>
  <inkml:trace contextRef="#ctx0" brushRef="#br0" timeOffset="204494.89">19893 17965 0,'-19'-17'15,"19"0"1,19 51-1</inkml:trace>
  <inkml:trace contextRef="#ctx0" brushRef="#br0" timeOffset="204819.2">20210 17771 0,'-36'18'16,"19"0"-16,-1-18 0,18 17 15,-17 0-15,-2 2 0,2-2 16,0 1-16,17-1 16,-18 2-16,18-2 15,0 0-15,0 1 16,0-1-1,18-17-15,-1 0 16,0 19-16,2-19 0,-2 0 16,1 0-16,-1 0 15,2 0-15,-2 0 0,0-19 16,1 19-16,-1-17 16</inkml:trace>
  <inkml:trace contextRef="#ctx0" brushRef="#br0" timeOffset="204995.5">20262 17824 0,'-35'71'31,"18"-54"-15,17 2-16,0-2 0,0 0 15,0 18 1,17-16-16,-17-2 0,35-229 15,-52 441-15,17-211 16</inkml:trace>
  <inkml:trace contextRef="#ctx0" brushRef="#br0" timeOffset="205378.73">20791 17560 0,'-17'35'15,"17"-18"-15,0 2 16,-17-2-16,17 0 0,0 1 16,0 0-16,0 0 0,0-1 0,0 0 15,0 1-15,0 0 0,0 0 16,0-1-16,17 0 0,-17 19 15,0-18 1,17-18-16</inkml:trace>
  <inkml:trace contextRef="#ctx0" brushRef="#br0" timeOffset="205584.05">20703 17860 0,'18'-36'16,"35"19"-1,-36 17-15,2 0 16,-2 0-16,18 0 16,1 0-16,-36 17 15,17-17-15</inkml:trace>
  <inkml:trace contextRef="#ctx0" brushRef="#br0" timeOffset="205790.12">20721 18124 0,'36'0'46,"-19"-17"-46,0 17 0,2 0 16,16-18-16,-1 0 0,-15 18 16,16 0-16,-18-18 0,36 1 15,-35 17-15,18-17 0</inkml:trace>
  <inkml:trace contextRef="#ctx0" brushRef="#br0" timeOffset="206516.85">21638 17631 0,'19'-19'16,"-2"19"-1,0 19 1,1-19-16,-18 34 16,-18 2 15,18-18-31,0-1 15,18 0 1,-1-17-16,-17 18 0,19-18 16,-2 18-16,0 0 0,1-18 15,0 17-15,-18 0 16,18 2-16,-36-2 16,18 1-16,-18-1 15,0-17-15,18 19 0,-34-2 0,15-17 16,2 17-16,-1-17 15,18 18-15,-17-18 16</inkml:trace>
  <inkml:trace contextRef="#ctx0" brushRef="#br0" timeOffset="206750.46">22097 17507 0,'-71'53'16,"54"-18"-16,-1-18 0,1 19 15,-2 17-15,19-35 0,0 34 16,0-34-16,0 17 0,19-18 16,-19 2-16,17-2 0,-17 1 15,18-1-15,18 2 0,-2-2 16,-16 0-16,18-17 15,-19 0-15,0 0 0,19 0 16</inkml:trace>
  <inkml:trace contextRef="#ctx0" brushRef="#br0" timeOffset="207226.28">22503 17683 0,'-18'0'16,"0"0"-16,18 18 0,-17 0 15,17-1-15,0 0 0,0 1 0,-17 0 16,17 0-16,17-1 0,-17 19 16,0-19-16,17 1 0,1-1 15,-18 2-15,18-19 0,0 17 0,16 0 16,-16-17-16,0 0 15,0 0-15,-1 0 0,0 0 0,2 0 0,-19-17 16,17 17-16,1-36 16,-18 19-1,0-1-15,0 1 0,-18-19 16,1 36-16,17-17 0,-19-1 16,2 18-16,17-18 0,-35 18 15,17-18 1,0 18-16</inkml:trace>
  <inkml:trace contextRef="#ctx0" brushRef="#br0" timeOffset="207398.4">22785 17736 0,'0'-17'15,"17"17"1,-17-18-1,-35 53 1,89-52 0,-90 34-16</inkml:trace>
  <inkml:trace contextRef="#ctx0" brushRef="#br0" timeOffset="207685.83">23067 17665 0,'-17'36'16,"17"-18"-16,0 16 16,0-16-16,0 0 15,-19 17 1,19-18-16,19 2 16</inkml:trace>
  <inkml:trace contextRef="#ctx0" brushRef="#br0" timeOffset="208039.35">23314 17665 0,'-17'0'0,"-1"0"15,53 0-15,-88 0 0,53 18 0,-18-18 16,18 18 0,0 0-1,0-1-15,18-17 16,-18 17-16,18 1 16,-18 0-1,18 0-15,-18-1 0,-18 0 16,18 2-1,-18-2-15,0 1 16,1-1-16,0-17 16,-2 19-1</inkml:trace>
  <inkml:trace contextRef="#ctx0" brushRef="#br0" timeOffset="208271.1">23367 17507 0,'52'17'31,"-33"2"-31,-2 15 16,-17-16-16,18-1 0,-18 19 15,0-1-15,-18 18 16,18 0-16,-17-35 0,17 16 15,0-15-15,0-2 0,0 18 16,17 1-16,1-19 16</inkml:trace>
  <inkml:trace contextRef="#ctx0" brushRef="#br0" timeOffset="208698.92">24585 17736 0,'17'-17'16,"0"17"-16,1 0 0,-18-18 0,18 18 16,0 0-16,-1 0 0,18 0 15,-17 0-15,0 0 16,-1 0-16,0 0 0,2 18 0,-2-1 16,-17 0-1</inkml:trace>
  <inkml:trace contextRef="#ctx0" brushRef="#br0" timeOffset="208872.55">24619 18019 0,'36'-19'32,"-18"19"-32,-1 0 15,0-17-15,1 17 0,0 0 16,0 0-16,-1 0 0,0 0 0,2-18 15,-2 18-15,18 0 0,-282 54 0,511-108 16</inkml:trace>
  <inkml:trace contextRef="#ctx0" brushRef="#br0" timeOffset="209323.75">25871 17736 0,'-17'35'31,"17"-17"-31,0 0 0,17-1 16,-17 0-16,-17 2 0,17 16 0,17-18 0,-34 2 15,17-2-15,17 0 16,-34 1-16,17-1 0,0 2 0,17-2 16,-17 0-16,0 1 0</inkml:trace>
  <inkml:trace contextRef="#ctx0" brushRef="#br0" timeOffset="209469.72">26154 18000 0,'-35'-17'31,"70"34"-31,-88-34 0</inkml:trace>
  <inkml:trace contextRef="#ctx0" brushRef="#br0" timeOffset="209831.42">26683 17701 0,'-17'18'15,"-2"-18"-15,2 34 16,0-34-16,-1 18 0,0 0 16,0-18-16,1 18 15,17-1-15,-35 19 0,17-19 16,0 1-16,18-1 0,0 2 15,0-2 1,18 0 0,0-17-16,0 18 15,-1-18-15,0 0 0,1 0 16,0 0-16,17 0 0,-18 0 16,2-18-16,-2 18 15,1 0-15</inkml:trace>
  <inkml:trace contextRef="#ctx0" brushRef="#br0" timeOffset="210031.67">26683 17771 0,'-36'18'16,"107"-18"-1,-142 18-15,54-1 0,0 19 16,87-125-16,-140 195 0,70-88 0,-18-1 0,18 2 15,0-2 1,0 0-16,0 1 0,0-1 0,18 2 16,-18-2-16,0 0 0,17 1 0,-17 0 15</inkml:trace>
  <inkml:trace contextRef="#ctx0" brushRef="#br0" timeOffset="210455.4">27265 17665 0,'0'-17'15,"0"52"1,0-17-16,0 0 16,0-1-16,0 0 15,0 19-15,0-18 0,0 35 16,0-36 0,0 1-16,18-1 0,-18 2 15,0-2-15</inkml:trace>
  <inkml:trace contextRef="#ctx0" brushRef="#br0" timeOffset="210663.05">27177 17912 0,'0'-17'16,"18"17"-16,0 0 15,-18-18-15,34 18 0,-16 0 16,0 0-16,0 0 0,-1 0 0,0 0 16,2 0-16,16 0 15,-18 0-15,2 0 0,-19 18 0</inkml:trace>
  <inkml:trace contextRef="#ctx0" brushRef="#br0" timeOffset="210907.84">27195 18265 0,'52'0'15,"-34"0"1,0-17-16,0 17 0,-1 0 15,0 0-15,2 0 0,16-19 16,-18 19-16,19-17 0,-19 17 16,1 0-16,-1-17 15</inkml:trace>
  <inkml:trace contextRef="#ctx0" brushRef="#br0" timeOffset="-213633.09">27901 17719 0,'-19'34'0,"19"-16"0,0 0 0,-17 0 15,34 16 1,-17-15-16,0-2 0,19 18 16,-19-16-1,17-2-15,-17 0 16,17-17-16,-17 18 0,18-18 16,0 0-16,34 0 15,-52-18 1,19 18-16,-19-17 0,17 0 15,-17-2-15,18 2 16,-18-18 0,-18 16-16,18 2 0,0 0 15,-17-1-15,-2 0 16,-15-17 0,16 18-16,-18 17 15,19-18 1,0 18-1</inkml:trace>
  <inkml:trace contextRef="#ctx0" brushRef="#br0" timeOffset="-213453.85">28289 17753 0,'0'-17'0</inkml:trace>
  <inkml:trace contextRef="#ctx0" brushRef="#br0" timeOffset="-212675.18">28711 17648 0,'18'-17'15,"-36"51"16,1-16-31,0 18 16,-19-19 0,36 0-16,-18 1 0,1-18 0,17 18 0,-17 0 15,-2-1-15,2 0 16,17 2 0,0-2-1,17 1 1,2-18-16,-2 0 0,0 0 15,1 0-15,0 0 0,0 0 16,-1 0-16,0 0 0,1 0 0,0 0 16,0 0-16,-1 0 0,0 0 0,2-18 15,16 1 1,-35-2 0,17 2-1</inkml:trace>
  <inkml:trace contextRef="#ctx0" brushRef="#br0" timeOffset="-212451.18">28835 17648 0,'-36'17'31,"36"1"-15,-17 0-16,17 0 0,0-1 15,-17 0-15,17 1 0,0 18 16,0-2-16,0-15 0,0-2 15,0 1-15,0-1 0,0 2 16,-18-2-16,36 0 0,-18 1 16,0-1-16,0 2 15,17-2 1</inkml:trace>
  <inkml:trace contextRef="#ctx0" brushRef="#br0" timeOffset="-212026.85">29206 17701 0,'-36'0'31,"1"18"0,35-1-31,-17 0 0,17 1 16,0 0 0,0 0-1,17-18 1,1 17-16,-1-17 0,0 17 15,-17 2 1,19-2 0,-38 1-1,19-1-15,-17-17 0,17 19 0,-17-19 16,-1 17-16,1-17 0,-2 17 0,2-17 16,17 18-16,-17-18 0,-1 17 15</inkml:trace>
  <inkml:trace contextRef="#ctx0" brushRef="#br0" timeOffset="-211495.29">29382 17753 0,'17'18'31,"-17"0"-15,0 0 0,0-1-1,18 0 1,0-17 15,0 0 0,-1-17-31,0 34 16,-17 2 0,19-19-1,-2 17 1,1-17 15,-1 0-31,0 0 16,19 0-1,-18 0 17,-1 0-17,2-17-15,-2 17 16,0-19-16,1 2 15,0 17-15,-18-17 0,18 17 16,-1-18-16,-17 0 0</inkml:trace>
  <inkml:trace contextRef="#ctx0" brushRef="#br0" timeOffset="-210539.82">29594 15567 0,'141'-71'0,"-89"54"0,2-2 16,-20 19-16,2-17 0,-1 17 15,1-18-15,-1 18 0,-18-17 16,19 17-16,-19 0 0,1 0 0,0 0 16,0 0-16,-1 0 0,18 17 15,-17 1-15,-18-1 16,18 2-16,-18 15 0,0-16 15,17 18-15,-17 17 0,17-1 16,-17 1-16,19 1 0,-19 16 16,17 18-16,18-17 0,-16-2 0,-2 21 0,0-20 15,18 18-15,-16 0 0,86 142 16,-69-160 0,-1 18-16,-1-17 0,90 141 15,-106-143-15,18 2 0,-2-18 16,-16 18-16,35 34 15,-53-51-15,17-18 0,-17 16 0,19-16 16,-19-19-16,0 18 0,-19 1 0,19-2 16,-17-16-16,-18 52 15,-1-51-15,-16 16 0,16-18 0,-17 2 16,-18-2-16,2 0 0,-2-17 0,-18 0 16,-16 0-16,-19 0 0,1 0 15,-1-17-15,-17-19 0</inkml:trace>
  <inkml:trace contextRef="#ctx0" brushRef="#br0" timeOffset="-209471.67">15518 15108 0,'-17'-17'0,"-19"17"16,18 0-16,-35 0 15,18 17-15,-159 36 16,106-35-16,17-1 0,-17 19 16,17-19-16,18 1 0,-18-1 0,19 0 15,-1 2-15,18-2 0,-1 1 16,2-18-16,16 17 0,0 2 0,0-2 15,18 0-15,0 1 0,0 18 0,0-2 16,0 2-16,18 16 0,18 19 16,-2 0-16,-16-1 0,18 18 15,-2-17-15,2 17 0,16 0 0,-33 19 0,52 105 16,-19-19 0,-16-88-16,-19 2 0,0-19 15,-17 17-15,18 2 0,-18-2 0,0 1 16,0 0-16,-18-18 0,18 18 15,-17-18-15,0 1 0,-1-1 0,0 0 16,18 0-16,-18-17 0,1-18 0,17-1 16,-17 1-16,17-17 0,0-1 0,-19-18 15,19 1-15,19 0 16,-19 0-16,0-1 0,17-17 0,0 0 0,1 17 16,0-17-16,17 0 0,36-17 15,-18 17-15,18-17 0,-2-1 16,20 0-16,-1 0 0,0-16 15,18 16-15,-18 0 0,1 0 0,16 1 16,1 0-16,-18-19 0,18 18 16,0 1-16,-18-2 0,0 2 15</inkml:trace>
  <inkml:trace contextRef="#ctx0" brushRef="#br0" timeOffset="-208811.52">14901 16113 0,'105'-70'0,"-34"16"0,-1 20 15,18-2-15,36-34 0,-18 0 0,18 16 16,-2-16-16,2-1 0,-18 18 16</inkml:trace>
  <inkml:trace contextRef="#ctx0" brushRef="#br0" timeOffset="-207915.98">15130 17436 0,'123'-105'15,"-53"51"-15,-16 20 0,16-2 16,1-18-16,0 2 0,-1-1 16,124-70-16,-124 70 0,1 0 0,0-1 15,-1 20-15</inkml:trace>
  <inkml:trace contextRef="#ctx0" brushRef="#br0" timeOffset="-206583.43">15677 18053 0,'141'-88'0,"-89"54"16,-16 15-16,17 2 0,-1-18 15</inkml:trace>
  <inkml:trace contextRef="#ctx0" brushRef="#br0" timeOffset="-203545.05">17441 15884 0,'88'0'0,"-71"0"0,0 0 0,2-17 16,16 17-16,1 0 16,16 0-16,-35-18 0,2 18 0</inkml:trace>
  <inkml:trace contextRef="#ctx0" brushRef="#br0" timeOffset="-201816.16">17793 16484 0,'194'-53'16,"-176"53"0,18 0-16</inkml:trace>
  <inkml:trace contextRef="#ctx0" brushRef="#br0" timeOffset="-200591.13">18234 17824 0,'105'-35'16,"-86"35"-16,-2 0 0,1-18 0,-1 18 15,2 0-15</inkml:trace>
  <inkml:trace contextRef="#ctx0" brushRef="#br0" timeOffset="-190956.05">490 6095 0,'0'-18'0,"0"53"32,17 36-17,-17-54-15,0 19 0,0-19 0,0 18 16,0 1-16,0-1 15,0 18-15,0-18 0,0 1 16,0-19-16,0 54 16,0-54-16,0 19 15,0-19 1</inkml:trace>
  <inkml:trace contextRef="#ctx0" brushRef="#br0" timeOffset="-188954.11">525 6217 0,'0'54'31,"0"-37"-31,0 19 0,0-19 16,0 18-16,17-16 0,-17 15 15,0 2-15,0-18 0,0 16 0,17-15 16,-17 16-16,0-18 0,0 0 16,19 19-16,-19-18 0,17-18 0,-17 17 15,18 2-15,-1-19 16,19 0-16,-1-19 16,-17 19-16,0-17 15,-1-1-15,0 1 0,-17-2 16,18 2-16,0 0 0,-18-1 0,18 1 15,-18-2-15,0 2 0,17 0 16,-17-1-16,17 18 0,-17-18 16,0 36 15,19 17-15,-19-18-16,0 2 0,17-19 15,-17 17-15,18 1 16,18-1-1,-2-34 1,1-1 0,-35 1-16,19-2 15,-2 2-15,-17 0 0,0-19 0,0 18 16,0 1-16,0 0 0,0-19 16,0 18-16,0-16 0,0 15 0,-17-16 15,17 18-15,0-19 0,0 19 0,0-1 16,0 0-16,0 0 15,-19 1-15,19 0 0,0-1 16,0 0 0,36 36-1,-36 0-15</inkml:trace>
  <inkml:trace contextRef="#ctx0" brushRef="#br0" timeOffset="-188297.91">1230 6517 0,'17'0'15,"2"-17"-15,-2 17 16,1-17-16,35-37 15,-36 1 1,1 36-16,-18-1 16,0 1-16,0 0 0,0-2 15,0 2-15,0-1 16,-18 18-16,1 18 31,17-1-31,0 36 16,-17-53-16,34 35 15,-17-16-15,0-2 0,0 0 16,17 1-16,1 0 16,-1 0-16,2-18 0,-2 0 0,0 0 15,1 0-15,0 0 16,17-18-16,-18 18 0,2-18 16,-2 18-16,18-35 15,-18 35-15,-17-17 0,19 17 16,-2-19-1,1 38 1,-1-2 0,2-17-16,-19 17 0,17 1 15,-17 0-15,17 0 32</inkml:trace>
  <inkml:trace contextRef="#ctx0" brushRef="#br0" timeOffset="-187386.73">2130 6183 0,'-36'17'15,"19"-17"-15,-1 17 0,1-17 0,0 0 16,17 19-16,-19-19 0,2 0 16,17 17-16,-18-17 0,18 18 15,0-1-15,18 2 16,-1-19-1,-17 17-15,19-17 0,-2 0 0,0 17 16,1-17-16,-1 0 0,2 0 0,-19 18 16,17-18-16,0 17 0,1-17 15,-18 19-15,18-19 16,-18 17-16,0 0 16,0 1-16,-18 18 15,0-19 16,1 0-15,52-51 15,-17 16-15,0 0-16,-18 0 0,17 18 16,-17-17-16,17 0 0,1-2 15,-18 2-15,18-1 0,-18-16 0,18 15 16,-18 2-16,0-18 0,17 16 15,-17 2-15,0-18 0,0 17 0,0-17 16,0 18-16,17-19 0,-17 18 16,0 1-16,0 0 0,0-2 0,0 2 15,-17-1-15,17 53 47,0-16-47,0 15 16,0-16-1,0 0-15,0 17 16,0-18-16,17 1 16,-17 0-1,0 0-15,19-1 16,-2 0-16,1-17 31,-1 0-31,2 0 0,-2 0 16,35 0-1,-33 0-15</inkml:trace>
  <inkml:trace contextRef="#ctx0" brushRef="#br0" timeOffset="-186799.16">2589 5971 0,'0'36'31,"0"-19"-31,0 0 16,0 1-16,0 0 15,0 0-15,0-1 0,0 0 0,0 1 16,0 0-16,-18 0 0,18-1 16,-18 0 15,0-34-16,18 0 17,18-1-32,18 0 15,-19 18-15,54-18 32,-54 1-32,0 17 0,2 0 0</inkml:trace>
  <inkml:trace contextRef="#ctx0" brushRef="#br0" timeOffset="-186331.09">3030 5971 0,'17'0'15,"-17"17"1,18-17-1,-18 19-15,0-2 16,0 0-16,17-17 16,-17 18-16,17 0 31,2-36 0,-2 18-15,1 0-1,-1 0 1,2 0 0,-2 0-1,0 0 17,1 0-17,0 0 1,0 0-1,-1-18-15,0 18 16,1 0-16,0 0 16,0 0-16,-1 0 0,0 0 15</inkml:trace>
  <inkml:trace contextRef="#ctx0" brushRef="#br0" timeOffset="-186022.2">3577 6041 0,'17'-17'0,"-34"34"0,51-51 15,-34 15 1,0 2 0,0-1-1,-17 18 1,0 18-1,-2-1-15,19 2 16,0-2 0,0 0-1,19-17-15,15 18 16,-16-18-16,0 0 0,0 0 0,-1 0 16,0 0-16,2-18 0,-2 18 15,18 0-15,-18-17 0,2 17 0,-2 0 16,1-17-16,-1 17 0</inkml:trace>
  <inkml:trace contextRef="#ctx0" brushRef="#br0" timeOffset="-185673.23">3965 5900 0,'-19'-17'15,"2"34"-15,-1-17 16,1 0-16,17 17 15,0 2 1,-17-19 0,17 17-16,17-17 15,0 0 1,1 0 0,-1 0-16,2 0 15,-2 0 1,18 0-1,-17 0 17,0 18-17,-1-18-15,0 0 16,2-18 0</inkml:trace>
  <inkml:trace contextRef="#ctx0" brushRef="#br0" timeOffset="-185336.09">4211 5812 0,'-17'17'31,"17"2"-31,0-2 16,0 1-1,0-1 1,17-17 0,-17 17-16,18-17 15,-1 0 16,2 0-31,-2-17 0,0 17 16,1 0 0,-18-17-16,18 17 0</inkml:trace>
  <inkml:trace contextRef="#ctx0" brushRef="#br0" timeOffset="-184857.86">5022 5619 0,'53'0'32,"18"-19"-17,-54 19-15,19 0 0,16-17 16,-33 17-16,16 0 0,-18-18 0,19 18 15,-1 0-15,-17-17 16,0 17-16,-1 0 0,0-19 16</inkml:trace>
  <inkml:trace contextRef="#ctx0" brushRef="#br0" timeOffset="-184651.95">5463 5389 0,'18'18'31,"18"-1"-15,-19 0-16,19 19 15,-36-18-15,17-18 0,-17 17 16,0 19-16,0-19 16,0 1-16,-17 18 0,17-19 0,0 0 15,-36 19-15,-35-336 0,142 618 16,-71-301-16</inkml:trace>
  <inkml:trace contextRef="#ctx0" brushRef="#br0" timeOffset="-183746.81">6275 5248 0,'0'35'47,"0"-18"-31,0 2-16,0-2 15,0 0-15,0 1 0,0 0 16,18 0-16,-18-1 16,17-52 31,0-35-32,-17 51 1,0 2-16,0-1 0,19 1 15,-19 0-15,0-2 16,17 19-16,1 19 31,-1-19-31,-17 17 16,19-17-16,15 17 16,-16-34-1,18 0 1,-19-2-1,0 2-15,1-1 16,0 18-16,0 0 16,-1 0-1,0 18-15,2-1 16,-19 19-16,17-19 16,1 1-16,-1 18 15,0-19-15,-17 0 16,19 1-16,-2-18 15,1 18-15</inkml:trace>
  <inkml:trace contextRef="#ctx0" brushRef="#br0" timeOffset="-183401.37">7193 5072 0,'-159'69'15,"140"-50"1,2-2-16,0 1 0,17 18 15,-18-19-15,18 0 16,18 1-16,-1-1 0,0 2 16,2-19-16,33 17 15,-33-17-15,33 0 16,-35 0-16,36 0 0,1-17 16,-20 17-16,2-19 15,-18 19-15,-1 0 16</inkml:trace>
  <inkml:trace contextRef="#ctx0" brushRef="#br0" timeOffset="-182703.52">7562 5001 0,'36'0'16,"-19"0"-1,19-18-15,35 0 16,-54 1-16,1 0 0,-1 17 0,0-19 15,19-16-15,-18 18 16,-18 0 0,17 17-16,-52 17 31,35 18-31,-17-18 16,-2 19-16,19-1 0,-17-17 15,17 17-15,0-18 0,0 19 16,0-18-16,0 35 0,17 35 15,-17-71 1,0 1-16,19-1 0,-19 2 16,17-2-16,1 0 0,-18 1 15,17-18-15,2 0 0,-19 18 0,17-18 0</inkml:trace>
  <inkml:trace contextRef="#ctx0" brushRef="#br0" timeOffset="-180054.49">859 7505 0,'19'18'31,"-19"0"-31,0 0 0,0-1 15,0 0-15,0 1 0,-19 35 16,19-36-16,0 2 0,0 16 0,0 1 16,0-19-16,0 0 15,0 1-15,0-1 0,0 2 0,0-2 16,0 0-16</inkml:trace>
  <inkml:trace contextRef="#ctx0" brushRef="#br0" timeOffset="-179640.03">842 7400 0,'53'-36'16,"-106"72"-16,124-89 0,-54 53 16,2 0-16,-2 0 0,0 17 15,1-17-15,-1 19 0,-17-2 16,0 0-16,19 1 0,-38-1 16,2 54-16,-1-53 15,18 0-15,-17 16 0,0-16 0,-2 0 16,2 0-16,-1-1 0,1 0 15,17 2-15,-19-19 0,19 17 16,-17-17-16,17 18 16,0-1-1,17 2-15,2-19 16,-2 0-16,1 17 0,18-17 16,-19 0-16,0 0 0,71 0 31,-52 0-31,-18 0 0,-1 0 15,18-17-15</inkml:trace>
  <inkml:trace contextRef="#ctx0" brushRef="#br0" timeOffset="-178852.32">1459 7559 0,'-17'-18'16,"34"36"-16,-51-36 16,15 18-16,2 0 15,-1 18-15,1-1 0,0-17 16,-2 17-16,2 1 16,-1 0-16,18 0 0,-17-18 0,17 17 15,0 0-15,0 2 16,0-2-16,17 1 15,1-18 1,18-18 0,-19 18-16,0-17 0,18-19 31,-35 19-31,0-1 0,19 0 16,-19 0-1,0 1-15,17 34 47,-17 1-47,17 0 16,-17 0-16,18-18 15,-18 17-15,18-17 16,0 17-16,-1-17 16,0 0 15,2-17-31,-2 0 15,1 17-15,-18-18 16,17 0-16,0 18 16,-17-18-16,19 18 15,-2 18 1,1-18-16,-1 18 16,2 0-1,-2-1 16,0-34 1,1-1-17,0 0 17,0 18-17,-1 18-15,18-18 16,-17 0-1,17 0 1,-35 18-16,17-18 0,2 0 16,16-18-16</inkml:trace>
  <inkml:trace contextRef="#ctx0" brushRef="#br0" timeOffset="-178227.27">2235 7471 0,'-17'-19'15,"0"38"1,17-2 0,0 18-1,0-17-15,0 0 0,17-1 16,-17 0-16,0 1 0,0 0 0,0 0 15,17-1-15,-17 0 0,0 2 16,0-2-16,-17 1 0,17-1 0,0 2 16,-17-2-16,17 0 15,-18-17-15,18 18 16,18-53 15,-1 35-31,-17-17 0,17-2 0,19-16 16,-18 18-16,-1-2 15,36-33 1,-53 34-16,18 0 0,-1 1 0,-17 0 16,19 17-16,-19-18 15,-19 53 17,19-18-32,0 1 31,0 0-31,0 0 0,19-1 15,-2-17 1,0 0-16,54-17 16,-36 17-16</inkml:trace>
  <inkml:trace contextRef="#ctx0" brushRef="#br0" timeOffset="-177950.68">3099 7400 0,'54'-17'31,"-37"17"-15,2-19-16,15 19 0,-16 0 15,18 0-15,-2-17 0,-16 17 0,52-18 32,-34 18-32,-18-17 0,-1 17 0,19-19 15,-19 19-15</inkml:trace>
  <inkml:trace contextRef="#ctx0" brushRef="#br0" timeOffset="-177745.94">3489 7171 0,'17'-18'16,"71"70"15,-71-34-31,1-18 0,0 18 16,-18 0-16,18-1 0,-18 0 0,0 19 15,0-18-15,0 18 0,-18-19 16,0 18-16,0-18 15,1 2-15,17-2 0,-17 0 0,-2 1 0,19 0 16</inkml:trace>
  <inkml:trace contextRef="#ctx0" brushRef="#br0" timeOffset="-177287">4617 6888 0,'17'36'31,"-17"-19"-31,0 1 16,0 16-16,0-15 0,0-2 0,0 54 15,0-54-15,0 19 0,0-18 16,0 16-16,0-16 0,0 0 16,-17 17-16,34-18 0,-17 2 15,0-2-15</inkml:trace>
  <inkml:trace contextRef="#ctx0" brushRef="#br0" timeOffset="-177075.71">4863 6924 0,'0'-19'16,"19"38"-1,-19-2-15,0 1 16,0 16-16,0-15 0,17-2 0,-17 18 15,-53-106-15,106 161 0,-53-56 0,-36-227 0,72 404 16,-18-158-16,-18-36 0,0 1 16,17 0-16,-17 0 0,0-1 0,0 0 15,0 2-15,19-2 16</inkml:trace>
  <inkml:trace contextRef="#ctx0" brushRef="#br0" timeOffset="-176887.01">4653 7223 0,'52'-35'31,"-34"18"-31,17 17 16,-18 0-16,19-18 0,-1 0 15,1 18-15</inkml:trace>
  <inkml:trace contextRef="#ctx0" brushRef="#br0" timeOffset="-176606.72">5182 6941 0,'17'0'0,"-17"52"31,18-33-16,-18-2-15,17 1 16,-17-1-16,17-17 0,-17 19 16,19-19-16,-19 17 0,17-17 15,1 17-15,-1-17 0,-157-176 16,299 335 0,-142-159-16,-17-17 15,0-2-15,17 2 16,-17-1-16,0-18 0,18 19 15,-18 0-15,18-1 16,0 18-16,52-36 16</inkml:trace>
  <inkml:trace contextRef="#ctx0" brushRef="#br0" timeOffset="-176343.01">5905 6959 0,'34'0'16,"-15"0"-1,33-18 1,-33 18-16,-2 0 16,0 0-16,18 0 0,-16-17 15</inkml:trace>
  <inkml:trace contextRef="#ctx0" brushRef="#br0" timeOffset="-176014.17">6381 6747 0,'-18'18'31,"36"-36"-15,-36 54-16,1-2 16,17-16-16,0 0 0,0 0 15,-19-1-15,19 0 0,0 2 0,-17 33 16,17-35-1,-17 2-15,17-2 16,0 1-16,17-18 0,-17 17 16,17-17-1,2 0-15,-2 19 0,1-19 16,18 0-16,-19 0 0,-17-19 16,35 19-1,1 0-15,-2-17 16,2 17-16,-18 0 0,-1-18 15</inkml:trace>
  <inkml:trace contextRef="#ctx0" brushRef="#br0" timeOffset="-175683.25">6681 6747 0,'-18'0'15,"1"0"-15,17 18 0,0 0 0,0-1 16,0 0-16,0 1 16,0 18-16,0-19 15,17-17-15,-17 17 16,18-17-16,-18 19 0,34-19 31,-15-19-31,-2 19 0,1-17 16,-1 0-16,2-1 15,-19 0-15,17 18 0,-17-18 16,17 1-16,1-18 16,-18 17-16,-159 36 0,336-54 0,-177 19 15,-194 52-15,406-70 0,-212 18 16,17-2 0</inkml:trace>
  <inkml:trace contextRef="#ctx0" brushRef="#br0" timeOffset="-171090.11">1054 8617 0,'0'-36'0,"-17"72"15,17-1 1,-19 0-16,19-17 16,0 17-16,0-18 0,0 19 0,19-1 15,-19-16-15,0 15 0,17-16 16,-17 18-16,0-19 0,17 0 0,1 1 16,0 18-1,0-19-15,-1-17 0,0 0 16,19 0-16,-18-17 0,-1 17 15,0-18-15,2-18 0,-2 19 16,-17 0-16,18-19 0,-18 18 16,17-16-16,-17-2 0,0 1 0,0-1 15,-17-17-15,-1 18 0,1-18 16,-2 18-16,2 18 0,0-19 16,-1 1-16,0 18 0,0-2 0,1 2 15,0 17-15,-1-18 0,0 1 0,0 17 16,1 0-16,0 0 0,-2 0 15,2 0-15,17 17 16,-18 1-16,18-1 0,0 2 0,0-2 16,0 18-16,18 1 0,-18-19 15,17 36-15,2-1 0,-2-16 0,0 16 0,1-16 16,0-1-16,0 18 0,-1-35 16,0 52-16,1-52 15,0 0-15,-18 0 0,18 16 0,-1-15 16,-17-2-16,17 1 15,-17-1-15,19-17 0,-19 17 0,17-17 16,-17 19-16,18-19 16,-1 0-1,2 0-15</inkml:trace>
  <inkml:trace contextRef="#ctx0" brushRef="#br0" timeOffset="-170219.36">1547 8757 0,'-17'19'16,"17"-2"-16,0 1 16,0-1-16,0 2 0,17-2 0,-17 0 15,0 1-15,19-1 16,-19 2-16,17-2 0,1 0 16,-1-17-1,19-17 1,-19 0-16,1-2 15,-18 2-15,17 17 16,-17-18-16,0 1 0,19 0 16,-19-2-16,0 2 15,17 17 1,-17 17 0,0 2-1,0-2 1,0 0-16,17 1 0,-17-1 15,0 2-15,18-19 0,-18 17 16,18-17-16,0 17 16,-1-17-16,0 0 0</inkml:trace>
  <inkml:trace contextRef="#ctx0" brushRef="#br0" timeOffset="-169130.87">2113 8776 0,'-19'0'0,"2"0"16,53 0-16,-90 0 0,37 0 15,0 0-15,-2 17 0,2 1 16,-1-1-16,1 2 16,17-2-1,0 0-15,0 1 0,0 35 31,17-53-31,1 17 16,-1-17-16,2 0 16,-2 0-16,0-17 15,-17 0 1,18-2-16,-18 2 16,17-1-1,-17 1 1,19 34 15,-2 18-15,-17-16-1,17-2 1,-17 0 0,18 1-1,-18 0 1,18-18-1,0-18 1,-1 0 0,0 1-1,-17 0-15,18 17 0,-18-19 0,18 19 16,-18-17-16,18-1 0,-1 1 16,0 17-1,2 17 1,-2-17-1,-17 18 1,18-1-16,-18 2 16,17-2-1,2-34 17,-2-37-17,0 37 1,-17-19-16,18 19 15,-18-1-15,17-18 0,-17 2 0,19-20 16,-2 20-16,-17 16 0,17 0 16,-17-17-16,0 18 0,18-2 15,0-16-15,-18 18 16,0 0-16,35 34 31,-35 0-15,0 18-16,17 1 15,-17-19-15,0 1 0,0 0 16,0 0-16,0 34 0,0-34 16,0 17-16,0-18 15,0 2-15,0-2 16,0 1-16,-17-18 16,34-18 15,2 1-31,-2-19 31,18 36-15,1 0-1,-36 17 1,17-17-16,-17 19 0,0 16 31,0-18-31,18 2 16</inkml:trace>
  <inkml:trace contextRef="#ctx0" brushRef="#br0" timeOffset="-168974.81">2835 8547 0,'-17'-19'15,"52"90"-15,-53-123 16,-16 52 0</inkml:trace>
  <inkml:trace contextRef="#ctx0" brushRef="#br0" timeOffset="-168536.16">3030 8335 0,'0'34'16,"-19"-15"-16,19-2 15,0 1-15,0-1 0,-17 19 16,17-19-16,0 18 0,-17 36 15,34-35 1,-17-19-16,0 0 0,17 1 16,-17 0-16,19-18 0,-2 18 0,18-18 15,-18 0-15,2-18 16,-2 18 0,-17-18-16,18 18 0,-1 0 0,-17-18 15,19 18-15,-2-17 16,-17 34-1,0 1 1,17 0 0,-17 0-16,18-1 15,0-17 1,0 17-16,16-17 16,-16 0-16,0 0 0,0 0 15,-1 0-15</inkml:trace>
  <inkml:trace contextRef="#ctx0" brushRef="#br0" timeOffset="-165635.53">1159 9781 0,'54'0'15,"-20"0"-15,-15 0 16,-2 0-16,18 0 0,18-18 16,-18 18-16,18-18 15,-35 18-15,18-17 0,-19 0 0,0 17 16,2-18-16,-2 18 0,1-18 16,-1 18-16,-17-18 15,17 1-15,-51 34 47,34 19-31,-18-18-16,18 34 15,-17-34-15,17 17 0,-19-18 0,19 19 16,-17-1-16,17 1 0,-17 16 16,-1-33-16,18 15 0,-18-16 15,18 0-15,-18 0 0,18-1 0,-17-17 16,17 17-16,-17 2 0,-2-19 15,2 0 1,53 0 31,-2-19-31,-16 19-16,0 0 0,17-17 15,-18 17-15,19 0 0,-18-17 16,16 17-16,2-18 0,-18 18 0,35-18 15,-36 0-15</inkml:trace>
  <inkml:trace contextRef="#ctx0" brushRef="#br0" timeOffset="-165119.47">2059 9693 0,'-17'0'16,"-19"18"0,36-1-16,-17 0 0,-1 1 15,18 0-15,0 17 0,0-18 0,-17 2 16,17-2-16,0 18 0,0-16 16,0-2-16,17 0 0,-17 1 0,0-1 15,18 2-15,-1-2 0,2 0 16,-2-17-16,18 0 15,-18-17-15,2 0 16,-2 17-16,-17-19 16,17 2-16,-17-1 0,0 1 0,0-19 15,0 19-15,0-1 0,0-18 16,0 19-16,0-18 0,-17 17 0,17-17 16,0 18-16,-17-1 0,-2-18 15,19 19 1,-17 17-16,17-17 0,-18 17 15,-16 17-15,34 0 16,0 1-16,0 0 16,0 0-16,0-1 0,0 18 0,0-17 15,0 17-15,17 1 0,-17-1 16,17-18-16,1 19 0,-18-1 0,17-18 0,2 19 16,-2-19-16,0 1 0,-17 0 15,18 0-15,0-1 0,0 0 16,-1 2-16,0-19 15,1 0-15,0 0 0,0 0 16,-1 0-16,0 0 0</inkml:trace>
  <inkml:trace contextRef="#ctx0" brushRef="#br0" timeOffset="-164546.98">2535 9640 0,'-17'0'15,"0"53"1,17-35 0,0-1-16,0 0 0,0 37 15,0-37-15,0 19 0,0-19 16,0 1-16,0-1 0,0 2 0,0-2 15,0 0-15,0 1 0,0-1 0,0 2 16,0-2 0,0-53 31,0 19-47,0-18 0,17-36 15,-17 54-15,0-19 0,17 1 0,-17-1 16,18 2-16,-18 16 0,18-18 15,-18 19-15,18 0 0,-1-2 0,0 19 16,-17-17-16,19 17 0,-2 0 16,18 0-16,-35 17 0,0 2 15,0-2 1,0 0-16,-17 1 0,17 0 16,-18 0-16,1-1 0,17 0 0,-19 1 15,2 0-15,17 0 0,-17-1 16,-1 19-16,18-19 15,-18 1-15,36-1 16,-18 2 0,18-19-16,-1 0 0,0 0 15,2 0-15,-2 0 0,1 0 16,-1 0-16,0 0 0,2 0 0,-2 0 16,18-19-16,-16 19 15</inkml:trace>
  <inkml:trace contextRef="#ctx0" brushRef="#br0" timeOffset="-164056.98">3418 9763 0,'17'-18'16,"1"18"-16,18-17 16,-19 17-16,0 0 0,1 0 15,-1 0-15,2-17 0,-2 17 0,0 0 16,1 0-16,0 0 0,0 0 16</inkml:trace>
  <inkml:trace contextRef="#ctx0" brushRef="#br0" timeOffset="-163794.2">3665 9569 0,'0'-17'15,"0"34"-15,34-17 16,-15 18-16,-2 18 15,1-19 1,-18 0-16,0 37 16,-18 16-1,18-35 17,-17-35-32,17 17 0</inkml:trace>
  <inkml:trace contextRef="#ctx0" brushRef="#br0" timeOffset="-163214.36">4123 9393 0,'-17'-18'16,"-19"71"-1,1 35 1,17-35 0,18-18-16,0-16 0,0-2 0,0 0 15,0 1-15,0 0 16,0 0-16,18 16 0,0-16 0,-1 0 15,0-18 1,19 0-16,-18 0 16,-1-18-16,19 0 15,-1-16-15,-35 16 0,17-18 16,-17 2-16,0-2 16,0 1-16,0-1 0,0-16 0,0 16 15,-17 19-15,17-19 0,-18 1 16,18 18-16,-17-2 0,17 2 0,-19-1 15,2 1-15,0 34 16,-1-17 0,18 18-16,-17 18 0,17-19 15,0 0-15,0 1 0,0 18 16,0-19-16,17 19 0,1 52 16,-18-53-16,17 1 0,0-19 15,-17 18-15,19-17 16,-19 17-16,17-18 0,-17 1 0,18 0 0,-18 0 15,17-1-15,2 0 0,-2 2 16,0-2 0,1-17-16,0 0 0,0 18 15</inkml:trace>
  <inkml:trace contextRef="#ctx0" brushRef="#br0" timeOffset="-162575.4">4582 9640 0,'17'0'0,"18"17"16,-16 1-1,-19 0 1,17 0-16,0-1 16,-17 0-1,18-17 1,0 18-16,0 0 16,-1 0-16,-17-1 15,0 0-15,0 2 16,0-2-16,0 1 15,-17-1-15,-1 2 16,0-2-16,-17 0 16,18-17-1,-2 18-15,2-36 16</inkml:trace>
  <inkml:trace contextRef="#ctx0" brushRef="#br0" timeOffset="-162330.45">4917 9499 0,'17'0'31,"2"0"-31,-2-18 15,0 18-15,1 0 16,-1 0-16,2 0 16,15-17-16,-16 17 0,0 0 15</inkml:trace>
  <inkml:trace contextRef="#ctx0" brushRef="#br0" timeOffset="-161729.72">5534 9269 0,'-17'0'0,"-1"0"16,-547 247-16,1094-476 15,-546 246-15,0 2 0,-495 157 0,1006-335 16,-494 176-16,-18 1 0,0 0 16,-16 34-16,34-33 15,-19-2-15,2 35 0,17-33 16,0-2-16,0 1 0,0 18 16,17-2-16,-17-16 15,19-18-15,-2 18 0,0 0 16,1-18-16,18 0 15,-19 0-15,18-18 0,1 0 16,-2 18-16,2-35 0,-36 18 16,18-2-16,-1-52 15,0 54-15,-34-35 16,17 16-16,0 19 16,-88-125-16,176 248 0,-105-158 15,-1 16-15,18 1 0,-17-1 16,-2 19-16,2 17 15,17-18 1,-17 36 0,-1-1-16,18 2 0,0 15 15,0-16-15,0-1 16,18 36-16,-18-17 0,17 16 16,0-33-16,2 33 15,-2-16-15,-17-19 0,18 1 16,-18-1-16,17 19 0,-17-19 15,17 1-15,2 0 0,-19 0 16,17-18 0</inkml:trace>
  <inkml:trace contextRef="#ctx0" brushRef="#br0" timeOffset="-161519.25">5939 9464 0,'0'88'16,"0"-71"-16,-17 37 16,17-20-16,0 2 15,-17-18-15,17-1 0,0 0 16,-18 1-16,18 0 0</inkml:trace>
  <inkml:trace contextRef="#ctx0" brushRef="#br0" timeOffset="-160821.11">3787 8335 0,'19'17'31,"-2"-17"-31,18 0 0,-16 0 16,-2 0-16,0 0 0,1-17 16,18 17-16,16-18 15,-34 18-15,0-18 0,-1 18 16</inkml:trace>
  <inkml:trace contextRef="#ctx0" brushRef="#br0" timeOffset="-160618.78">4053 8123 0,'17'0'0,"36"17"31,-18 2-31,-18-19 16,19 34-16,-36-16 0,18 0 15,-18 0-15,0 16 0,0-16 16,-18 18-16,1-2 0,-19 2 0,19-1 15,-71-352-15,141 670 0,-72-336 0,2 18 0,-18-16 16</inkml:trace>
  <inkml:trace contextRef="#ctx0" brushRef="#br0" timeOffset="-159765.24">4953 7911 0,'-36'36'16,"36"-19"-1,-18 0-15,18 2 16,0-2-16,0 18 0,0-18 0,0 54 16,0-35-16,0-1 0,0-17 0,0 17 15,0-18-15,18 1 0,-18 0 16,17 0-16,2-1 0,-19 0 0,17-17 16,0 19-16,1-19 0,-1 0 0,19-19 15,-19 19 1,1-17-16,0 17 0,0-17 0,-1-1 15,-17-18-15,17 19 0,2-18 16,-19 17-16,0-17 0,0-1 0,0 1 16,0-1-16,0 2 0,-19-1 15,2-1-15,17 1 0,-17-1 0,-1 19 0,18 0 16,-18-2-16,0 2 0,1-1 16,-19 1-16,19 34 15,-1-17-15,18 18 16,-17-1-16,17 2 15,0-2-15,0 0 0,0 19 16,17 16-16,1-16 16,-1 16-16,2-16 0,-19-18 15,17 18-15,0-19 0,1 36 16,18-18-16,-19 0 16,0-17-16,2 0 15,-2-1-15,1 0 16,-1-17-16</inkml:trace>
  <inkml:trace contextRef="#ctx0" brushRef="#br0" timeOffset="-159576.45">5463 8211 0,'36'88'16,"-36"-70"-16,18 88 31,-18-89-31,0 2 16</inkml:trace>
  <inkml:trace contextRef="#ctx0" brushRef="#br0" timeOffset="-158978.99">6046 8017 0,'17'0'16,"-17"18"-16,0-1 0,0 0 0,18 2 16,-18-2-16,0 1 15,0 18-15,0-19 0,0 36 0,-18-35 16,18 16-16,-17-16 0,17 0 15,-17 17-15,-2-18 16,19 19-16,-17-36 0,17 18 16</inkml:trace>
  <inkml:trace contextRef="#ctx0" brushRef="#br0" timeOffset="-158421.04">6451 7576 0,'-17'35'0,"17"-17"16,-17 0-16,17 16 0,0-15 0,0 16 16,0-18-16,0 19 0,0-1 15,0 1-15,0-19 0,0 18 16,0-17-16,17 17 0,0 1 0,-17-19 16,35 18-16,-16-35 15,-19 17-15,17-17 0,0 0 16,19-17-16,-18 17 0,-1-17 15,0 17-15,-17-35 0,19 16 0,-2-33 16,-17 16-16,0 2 16,0-2-16,-17-16 0,17 16 0,-19-18 15,19 37-15,-17-18 0,-18-18 16,35 36-16,-18-1 0,0 18 16,18-18-16,-17 18 0,-19 0 15,36 18-15,0 0 16,-17 16-16,17 2 15,0-1-15,0 18 16,17 18-16,-17-36 0,36 35 16,-19-34-16,1-18 15,0 16-15,0-15 0,-1-2 16,0 1-16,2-1 0,-2-17 16,18 17-16,-18 2 15,2-19-15</inkml:trace>
  <inkml:trace contextRef="#ctx0" brushRef="#br0" timeOffset="-158080.08">6963 7893 0,'18'-17'0,"-1"34"15,0-17-15,2 18 0,-19 0 16,0 0-16,0-1 16,-19 0-16,19 2 0,-17 16 15,0-18-15,17 0 0,-18-17 16,18 19-16,-18-2 0,18 1 16,-18-1-16,18 2 15,18-19 1,0 17-16,0-17 15,-1 0-15,0 0 16,2-17-16,-2 17 0,1 0 16,-1 0-16,19-19 0,-36 2 15,35 17-15,-18-18 0,-17 1 0</inkml:trace>
  <inkml:trace contextRef="#ctx0" brushRef="#br0" timeOffset="-157838.3">7510 7752 0,'35'124'15,"-35"-107"-15,0 1 0,0 18 16,0-19-16,0 0 0,0 19 15,0-18-15,-18 35 0,18-36 0,-17 1 16,17-1-16,-17 2 0,17-2 16,-19 0-16,19 1 15</inkml:trace>
  <inkml:trace contextRef="#ctx0" brushRef="#br0" timeOffset="-157273.74">8145 7259 0,'-18'-18'0,"1"36"16,-2-1-16,2 0 0,0 2 15,-37 52-15,37-19 0,0-16 16,-19 16-16,18-16 0,1 16 16,0 18-16,17 1 0,0-52 15,0 15-15,0-16 0,17-1 16,0 19-16,18-1 16,-16-17-16,33-18 15,-34 0-15,0-18 0,16 0 16,20 1-16,-37-19 15,36-16-15,-35-1 0,-1 18 16,2-72-16,-19 73 0,0-2 16,0-16-16,-19-2 0,19 1 15,-740 441-15,1463-811 0,-723 387 0,-18-16 16,1 34-16,17 0 0,-19 18 16,2-17-16,-18 34 15,35 1-15,-36 18 16,36-19-16,-17 0 0,17 19 15,0-1-15,-17 1 0,17-1 16,0 1-16,0-2 0,0 20 0,0-20 16,0 2-16,0-1 0,0 1 0,17 35 15,-17-37-15,17-16 16,-17 18-16,19-19 0,-19 0 0,17 1 16,1 18-16,-1-36 15,0 17-15,2-17 0,-2 0 0,1 17 16,-1-17-16,2 0 0</inkml:trace>
  <inkml:trace contextRef="#ctx0" brushRef="#br0" timeOffset="-156482.05">8586 7752 0,'17'19'0,"1"-19"15,-18 17-15,0 0 16,0 1-1,0-1 1,17-17-16,-17 19 16,19-19-16,-19 17 0,17-17 15,0 17-15,-17 1 16,18-18-16,-18 18 16,0 0-16,0 16 15,-18-15-15,1-2 16,0-17-16,-2 18 0,2-1 15,-18 0-15,18-17 0,-2 19 0,-16-2 16,18-17-16,-19 0 16,19 18-16,-19-18 0</inkml:trace>
  <inkml:trace contextRef="#ctx0" brushRef="#br0" timeOffset="-153770.59">1654 11192 0,'0'35'16,"0"-17"-16,0 0 0,0-1 16,0 36-16,0-18 0,0-16 15,0 15-15,0 1 0,0 18 16,0-35-16,0 0 0,0 0 16,0-1-16,-19 0 0,19 2 0,0-2 15,0 1-15,0-1 16</inkml:trace>
  <inkml:trace contextRef="#ctx0" brushRef="#br0" timeOffset="-153404.64">1654 11033 0,'35'-36'16,"-18"36"-16,2 0 0,-2-17 15,0 17-15,19 17 16,16 2-16,-34-19 0,0 17 15,0 1-15,-1 35 0,-17-36 16,0 1-16,0 35 16,-17-18-16,-1 1 0,0-19 0,0 19 15,-16-19-15,16 18 0,0-16 16,0-2-16,-16 0 0,-2 18 16,18-35-16,1 19 0,17-2 31</inkml:trace>
  <inkml:trace contextRef="#ctx0" brushRef="#br0" timeOffset="-152736.1">2042 11756 0,'17'-35'15,"-34"70"-15,52-87 16,-18 16-16,2 19 0,-19-1 16,0 1-16,17-36 0,-17 35 15,0 0-15,0 0 0,17 1 16,-34 0-16,17-2 15,0 2-15,-17 53 32,-2-36-32,19 17 15,0 0-15,0 1 0,19-18 16,-19 18-16,0 0 0,17-1 16,-17 0-16,17-17 0,-17 19 15,18-19-15,-18 17 0,18-17 16,0 18-16,-1-18 15,0 0 1,-17-18-16,0 1 16,18 17-16,-18-19 0,0 2 15,0 0-15,18 17 0,-18-18 16,0 0-16,18 0 16,-1 18-1,0 0-15,-17 18 16,19-18-1,-19 18-15,17-18 0,-17 18 0,0-1 16,0 0 0,18 2-1,-1-38 17,-17 2-17,19 0-15,15-37 16,-34 37-16,18 0 15,-1 17-15,2-19 0,-2 2 16,0-1-16,1 18 0,0 0 16</inkml:trace>
  <inkml:trace contextRef="#ctx0" brushRef="#br0" timeOffset="-151662.36">2711 11316 0,'-17'17'15,"17"1"1,-17 18-16,17-19 0,0 0 15,-18 1-15,18-1 0,18 19 16,-18-19-16,0 1 16,17 0-16,0-18 0,-17 18 15,19-18-15,-2 0 0,18 0 16,-16 0-16,-2-18 16,0 18-16,18-18 0,-16 0 15,-2 1-15,0 0 0,-17-2 16,18 19-16,-18-17 15,0 34 48,18 2-47,0-2-1,-1-17-15,0 17 16,19-17-1,-18 0 1,-1 0 0,0-17-16,2 17 0,-2 0 15,-17-17-15,18 17 0,-1 0 16,-17-19-16,19 19 0,-19-17 0,17-1 16,0 1-16,1 0 15,-18-19-15,18 1 16,0 16-16,-18-15 0,0 16 15,17 0-15,-17 0 0,17-16 16,-17 16-16,0 0 16,0 0-16,0 54 31,0-18-15,0-1-16,0 0 0,0 1 0,0 0 0,-17 0 15,17-1-15,0 0 16,-17 37-16,-1-37 0,18 2 15,-18-2-15,18 0 16,-18-17-16,18 18 0,18-53 47,0 35-31,17-17-16,-18-2 15,1 19-15,0 0 0,0 0 16,-1 0-1,0 0-15,2 0 0,-19 19 16,17-19-16,-17 17 0,18 0 16,-18 1-1,0-1-15,0 2 16,0-2 15</inkml:trace>
  <inkml:trace contextRef="#ctx0" brushRef="#br0" timeOffset="-151512.3">3541 11245 0,'-18'-18'15</inkml:trace>
  <inkml:trace contextRef="#ctx0" brushRef="#br0" timeOffset="-151194.3">3629 11068 0,'-18'71'31,"1"-53"-31,17 17 16,-17 0-16,17-17 0,0 0 15,52-213-15,-104 424 0,52-210 16,0-2-16,0 1 16,0-1-16,17-17 0,0 19 15,1-19 1,0-19-16,0 38 15,-1-19 1,0 0-16,2 0 31,-2 0-31,1 0 0,-1 0 16,0 17-16,2-34 0</inkml:trace>
  <inkml:trace contextRef="#ctx0" brushRef="#br0" timeOffset="-150881.2">3965 10592 0,'17'141'16,"-34"-53"-16,-37 124 31,54-141-31,-17-18 0,0-1 0,-2 2 16,2 16-16,17-35 15,0-16-15,0-2 0</inkml:trace>
  <inkml:trace contextRef="#ctx0" brushRef="#br0" timeOffset="-150503">4511 10892 0,'-17'36'31,"17"-1"-31,-19 35 16,19-35-16,0-16 16,-17 15-16,17-16 0,0 18 15,0-2-15,0-16 0,0 18 16,-17-19-16,34 0 15,-17 2-15</inkml:trace>
  <inkml:trace contextRef="#ctx0" brushRef="#br0" timeOffset="-150202.08">4511 10804 0,'106'-17'31,"-89"17"-31,-140 17 0,265-17 0,-108 35 16,2 18-16,-36-17 16,18-19-16,-18 35 0,0-16 15,0-18-15,-18-1 0,18 19 16,-18-1-16,0-17 0,1 17 0,-19 0 15,-16 1 1,33-19-16,2 0 0,0-17 0,-1 19 16,1-19-16</inkml:trace>
  <inkml:trace contextRef="#ctx0" brushRef="#br0" timeOffset="-149550.7">4793 11263 0,'36'-18'0,"52"-35"32,-71 36-32,2-1 15,-2 0-15,0 0 16,-17 1-16,0 0 0,18 17 15,-18-19-15,0 2 0,17 17 0,-17-18 16,-229 248-16,441-477 16,-230 264-1,1 1-15,17-1 16,-17 2-16,17-2 16,0 0-16,0 1 15,17 0-15,0 0 16,37-1-1,-37-34-15,0 17 0,19 0 16,-18 0-16,-1-18 0,0 18 16,19-18-16,-18 0 0,-1 18 0,0-17 15,2 0 1,-2 17-16,-17-19 0,18 2 16,-36 53 15,1-19-16,17 0-15,-19-17 16,19 18-16,0 0 16,19 0-1,16-18 1,1-18 0,-19 18-16,-17-18 15,35 18 1,-35-18-16,18 18 15,0 0-15,-1 18 32,-17 0-32,0 0 15,17-18 1,-17 17 0</inkml:trace>
  <inkml:trace contextRef="#ctx0" brushRef="#br0" timeOffset="-149169.39">5534 10963 0,'-17'0'32</inkml:trace>
  <inkml:trace contextRef="#ctx0" brushRef="#br0" timeOffset="-148778.89">5729 10699 0,'-19'34'15,"19"-16"-15,0 0 16,-17 0-16,17-1 0,0 0 0,0 1 16,-18 18-16,18-19 0,0 0 15,0 2-15,0-2 0,0 1 0,18-1 16,-18 0-16,17 2 16,2-19-16,-2 0 0,0 0 15,1 0-15,0 0 16,0-19-16,-1 19 0,0-17 15,1 17-15,-18-17 16,18 17 0,0 17-1,-1 0 1,0 2-16,2-19 31,-2 0-31,-17 17 0,18-34 16</inkml:trace>
  <inkml:trace contextRef="#ctx0" brushRef="#br0" timeOffset="-146766.7">666 11775 0,'123'-19'0,"-105"19"16,0-17-16,16 17 0,-15 0 0,16 0 15</inkml:trace>
  <inkml:trace contextRef="#ctx0" brushRef="#br0" timeOffset="-146525.72">1054 11509 0,'17'0'0,"19"18"16,-18-18-16,34 53 16,-34-36-16,0 2 15,-18-2-15,17 1 0,-17-1 0,17 0 16,-17 2-16,0-2 0,-17 18 16,17-16-16,-17-2 0,-1 18 15,18-17-15,-18 0 0,0-1 0,1 0 16</inkml:trace>
  <inkml:trace contextRef="#ctx0" brushRef="#br0" timeOffset="-146076.27">471 10292 0,'36'-17'31,"-18"17"-31,-1 0 0,54-18 16,-35 1-16,-19-2 0,18 19 15,-17-17-15,17 17 16,0-17-16</inkml:trace>
  <inkml:trace contextRef="#ctx0" brushRef="#br0" timeOffset="-145904.06">895 10011 0,'18'17'0,"-18"0"15,17 1-15,2 0 16,-19 0-16,0-1 0,0 19 0,-71-177 0,142 299 16,-71-123-16,-19 1 15,-16-265-15,53 493 0,-36-247 0,1 2 16</inkml:trace>
  <inkml:trace contextRef="#ctx0" brushRef="#br0" timeOffset="-145565.2">683 9128 0,'18'0'16,"-36"0"-16,72 0 16,-37 0-16,0-17 0,1 17 0,0 0 15,0-18-15,-1 18 0,0-17 16,2 17-16,-2-19 16</inkml:trace>
  <inkml:trace contextRef="#ctx0" brushRef="#br0" timeOffset="-145391.36">878 8899 0,'0'0'0,"17"17"16,-17 2-16,18-2 16,-18 0-16,0 1 0,0 0 15,0 0-15,0-1 0,0 0 16,-18 2-16,18-2 15</inkml:trace>
  <inkml:trace contextRef="#ctx0" brushRef="#br0" timeOffset="-144999.39">278 7647 0,'35'0'0,"-17"0"15,34-18 1</inkml:trace>
  <inkml:trace contextRef="#ctx0" brushRef="#br0" timeOffset="-144823.33">525 7435 0,'-18'53'15,"36"-106"-15,16 70 0,-15-17 16,-2 19-16,-17-2 0,18-17 16,-1 35-16,2-17 0,-2 0 15,-17-1-15,0 0 0,0 1 16,0 18-16</inkml:trace>
  <inkml:trace contextRef="#ctx0" brushRef="#br0" timeOffset="-144201.27">859 13256 0,'36'-17'0,"18"-2"16,-37 19-16,0 0 15,1-17-15,-1 17 0,2 0 16</inkml:trace>
  <inkml:trace contextRef="#ctx0" brushRef="#br0" timeOffset="-144002.02">1125 12973 0,'17'0'0,"0"18"16,1-18-16,-18 18 0,53 34 16,-17 19 15,-19-54-31,-17 19 0,0-18 15,0-1-15,-17 2 0,17-2 16</inkml:trace>
  <inkml:trace contextRef="#ctx0" brushRef="#br0" timeOffset="-140907.16">2289 12780 0,'17'35'15,"-17"-18"-15,0 19 16,0-19-16,0 1 0,0 18 0,17-2 16,-17-16-16,0 18 0,19-19 0,-19 0 15,0 2-15,17-2 0,-17 1 16,0-1-16,18-17 0,-18 17 0,17-17 16,2 0-1,-2-17-15,-17 0 0,17-1 16,1 1-16,-18-2 0,17-15 15,2-20-15,-2 20 0,0-20 16,-17 1-16,18 1 0,-18-1 0,18-1 16,-18 20-16,18-2 0,-18 18 0,0-16 15,0 15-15,0 2 0,0-1 16,17 18-16,-17 18 31,17 35-31</inkml:trace>
  <inkml:trace contextRef="#ctx0" brushRef="#br0" timeOffset="-140356.34">2994 12744 0,'-53'0'15,"35"17"-15,1 2 0,-36 33 16,53-33 0,-18-2-16,1 0 0,17 1 15,0-1-15,0 2 0,0-2 16,17-17-1,1 0 1,-1-17-16,2-2 16,-2 19-16,-17-17 0,17 17 15,1-18-15,18 1 16,-19 17-16,0 0 16,19 17-1,-18 1-15,-18-1 16,17 19-1,-17-19-15,0 1 16,0 0-16,0 0 16,17-36 15,2-18-15,-19 19-1,17 0-15,-17-2 0,0 2 16,18 17-16,-18-18 0,0 1 0,17 0 15,-17-2-15,19 19 16,-2-17-16,0-1 0,-17 1 16</inkml:trace>
  <inkml:trace contextRef="#ctx0" brushRef="#br0" timeOffset="-140207.91">3365 12673 0,'0'54'46,"17"-37"-46,-17 0 0,0 2 16,0-2-16,-17-141 0,34 266 0,-17-125 0,0 2 0,17-2 16,-17 0-16,-17 1 0,17-1 15,17 2-15</inkml:trace>
  <inkml:trace contextRef="#ctx0" brushRef="#br0" timeOffset="-140083.33">3399 12639 0,'0'0'0</inkml:trace>
  <inkml:trace contextRef="#ctx0" brushRef="#br0" timeOffset="-139260.09">3770 12603 0,'-17'0'0,"-18"0"15,16 18-15,2 0 16,0-1-16,17 0 15,-18 1-15,18 0 0,-18-18 0,18 18 16,0-1-16,-18 0 0,18 2 16,0-2-16,18 1 15,-18-1-15,18-17 16,0 0 0,-1 0-16,0-17 15,-17-1-15,19 18 0,-19-17 16,17-2-16,1-15 15,-18 16-15,17 18 0,-17-18 16,17 0-16,-17 1 16,19 17-1,-2 0 1,-17 17-16,18-17 16,-18 18-16,0 0 15,17 17 1,-17-18-1,19-17 1,-2-17 31,0 17-47,1-17 16,-1-1-1,2 18 1,-2 18-1,0-18-15,1 17 16,0 0 15,0-17 1,-1 0-17,0 0 16</inkml:trace>
  <inkml:trace contextRef="#ctx0" brushRef="#br0" timeOffset="-138559.09">4070 12797 0,'17'-36'16,"19"19"0,-36 0-16,18 17 0,-18-18 15,17 18-15,19 0 32,-36 18-17,17-1 1,1-17-1,18 0 1,-19-17-16,0 17 0,1-18 16,0 18-16,0-18 15,-1 18-15,0-18 0,-17 1 16,18 17-16,-18-17 0,18-1 0,0 0 16,-18 0-1,-18 36 16,18 0-15,0 0-16,0-1 16,0 0-1,18-17-15,-1 18 16,0-36-16,19 18 16</inkml:trace>
  <inkml:trace contextRef="#ctx0" brushRef="#br0" timeOffset="-137974.75">859 14737 0,'36'-17'16,"18"0"15,-20 17-31,-16-19 0,-1 19 0,36-17 15,-17 17-15,-18 0 16,16-18-16,20 1 0,-37 17 16,0-19-16,2 19 0</inkml:trace>
  <inkml:trace contextRef="#ctx0" brushRef="#br0" timeOffset="-137718.22">1125 14455 0,'52'0'31,"-34"18"-31,0-18 0,70 35 16,-52-18-1,-19-17-15,0 19 0,18 33 16,-35-35-1,-17 2-15,17-2 0,-18 1 16,1 18-16,0-19 0,-2 0 0,19 19 16,-17-18-16,-1-1 0,1 0 0,-2 1 15</inkml:trace>
  <inkml:trace contextRef="#ctx0" brushRef="#br0" timeOffset="-137010.02">2147 14420 0,'18'53'31,"-18"-18"-15,18-18-16,-18 2 0,18 16 31,-1-18-15,18-52-1,-17 18-15,-18-2 16,0-51 0,0 52-16,0-16 0,0-2 15,0 18-15,-18-16 0,18-2 0,0 18 0,0-18 16,0 19-16,0 0 0,0-1 16,18-18-16,-18 19 0,35-36 15,1 35-15,-19-16 0,37 15 16,-20 2-16,20-18 0,68-1 15,-51 19-15,17-18 0,-17 16 16,-1 2-16,18 0 0,-17-1 0,-18 0 16,18 0-16,-18 1 0,-1 0 15,-16 17-15,-1-18 0,-18 18 0,19-18 16,-18 18-16,-1 0 0,-17-18 16,19 18-16,-2 0 0,-53 18 46,19 0-46</inkml:trace>
  <inkml:trace contextRef="#ctx0" brushRef="#br0" timeOffset="-136507.41">2553 14296 0,'18'53'0,"-18"-18"16,0-16-1,0-2-15,0 0 0,18 1 16,-18 0-1,17 0-15,0-18 16,2 0 0,-2 0-16,-17-18 15,18 18-15,-18-18 0,17 0 0,0 1 16,2-19-16,-19 19 0,17-1 16,18-16-1,-35 15-15,19 19 0,-19-17 16,17 17-16,-17-18 15,17 18-15</inkml:trace>
  <inkml:trace contextRef="#ctx0" brushRef="#br0" timeOffset="-135853.52">3011 14244 0,'-17'17'0,"34"-34"0,-51 34 15,16 1-15,18-1 0,-18 2 16,18-2-16,-18 0 16,18 1-1,0-1-15,18 2 31,0-38-15,0 19-16,-1 0 0,-17-17 16,17 17-16,2-18 0,-2 1 15,1 17-15,-1-17 16,0 17-16,2 0 16,16 0-1,-35 17 1,17-17-16,-17 17 0,0 1 15,0-1-15,0 19 32,19-19-17,-2-51 17,0-2-17,1 18-15,-18 1 16,18 0-16,0-2 0,-1 2 0,18-18 15,-17 16 1,0 2 0,-1 17-16,-17-17 15,17 34-15,2-17 16,-2 36 0,-17-19-1,0 1-15,0-1 16,0 2-16,0-2 15,0 0-15,0 1 32</inkml:trace>
  <inkml:trace contextRef="#ctx0" brushRef="#br0" timeOffset="-135731.02">3399 14103 0</inkml:trace>
  <inkml:trace contextRef="#ctx0" brushRef="#br0" timeOffset="-135090.45">3753 14173 0,'-354'-70'0,"654"140"0,-317-52 16,53-36-16,-89 36 16,141-36-16,-176 53 0,70-18 0,0 2 15,18-2-15,-18 1 16,18-1-16,-17 2 15,17-2 1,17 0-16,1-17 16,0 0-1,0-17 1,-1 17-16,-17-17 16,17 17-16,-17-19 0,19 2 15,-19-1 1,17 1-16,-17-2 15,18 38 32,-18-2-15,0 1-32,17-18 15,0 0 1,2 0-1,-2 0 17,1 0-32,-1 0 31,2 0-15,-2 17-16,0-17 15,1 19 16,-1-19 1</inkml:trace>
  <inkml:trace contextRef="#ctx0" brushRef="#br0" timeOffset="-134631.66">3982 14225 0,'0'0'0,"0"36"47,-17-18-32,17-1 1,0 2-1,17-19 32,0 0-31,1 0 0,18-19 15,-19 19-31,0 0 15,2 0-15</inkml:trace>
  <inkml:trace contextRef="#ctx0" brushRef="#br0" timeOffset="-134311.04">4246 14173 0,'-35'0'62,"-1"71"-30,36-54-17,71-105-15,-142 194 16,90-106 0,-2-18-1,1 18 1,-1-17-1,2 17 1,-2 17 0,18-17 31</inkml:trace>
  <inkml:trace contextRef="#ctx0" brushRef="#br0" timeOffset="-134020.29">4634 13803 0,'19'0'16,"-2"0"-16,0 0 0,1 0 0,0-18 15,0 18-15,-1 0 0</inkml:trace>
  <inkml:trace contextRef="#ctx0" brushRef="#br0" timeOffset="-133844.31">4599 13979 0,'159'-35'47,"-124"35"-47,-17-17 15</inkml:trace>
  <inkml:trace contextRef="#ctx0" brushRef="#br0" timeOffset="-133329.58">5534 13591 0,'-53'0'15,"1"17"1,34 2-1,18-2 1,18 18 0,-1-17-16,0-18 15,-17 18-15,36-1 0,-18-17 16,-18 17-16,17-17 0,0 18 16,-17 0-16,19-18 15,-19 18-15,0-1 16,-19 0-16,2-17 15,0 19-15,-1-19 16,0 0-16,0 0 0,1 0 16,0 0-16,-1 0 15,0-19-15</inkml:trace>
  <inkml:trace contextRef="#ctx0" brushRef="#br0" timeOffset="-133110.55">5746 13591 0,'0'17'31,"0"2"-31,0-55 0,0 89 0,0-36 16,0 1-1,0 0-15,-17-18 0,17 18 0,0-1 16,0 0-16,0 1 15,0 0 1,0 0 0</inkml:trace>
  <inkml:trace contextRef="#ctx0" brushRef="#br0" timeOffset="-132801.84">5710 13556 0,'71'-36'0,"-35"36"16,-19 19-16,0-2 15,1-17-15,-18 17 0,18-17 0,0 35 16,-18-16-16,-18 33 16,18-34-1,-18 0-15,0 16 0,1-16 0,-54 35 16,54-36-16,-19 19 16,19-18-16,-18-18 0,-1 17 0</inkml:trace>
  <inkml:trace contextRef="#ctx0" brushRef="#br0" timeOffset="-131731.35">913 15972 0,'36'0'32,"-2"0"-32,-16 0 0,35 0 15,18-17 1,-37 17-16,-16-18 0,0 18 15,17-18-15,-18 18 0,2-18 0,-2 18 16,1-17-16,-1 17 0,-17-17 16</inkml:trace>
  <inkml:trace contextRef="#ctx0" brushRef="#br0" timeOffset="-131514.02">1354 15689 0,'17'19'16,"1"-2"0,-1 1-16,-17-1 0,-69-88 0,157 161 15,-159-180-15,159 197 0,-88-90 16,17 1-16,-17 0 0,0 0 0,0-1 16,0 0-16,0 1 0,0 0 15,0 17-15,-17-18 0,17 2 16,-17-2-16,17 1 0,0-1 15,-19-17-15</inkml:trace>
  <inkml:trace contextRef="#ctx0" brushRef="#br0" timeOffset="-127407.53">2394 15601 0,'19'19'16,"-19"16"0,0-18-16,-19 0 0,19 2 15,0-2-15,0 1 0,0-1 16,0 2-16,0-2 16,0 18-16,0-17 15,19-18 1</inkml:trace>
  <inkml:trace contextRef="#ctx0" brushRef="#br0" timeOffset="-127075.27">2730 15601 0,'-19'0'15,"2"0"1,0 0-16,-1 0 0,18 19 16,-17-19-16,17 17 15,0 1-15,0 16 16,17-15 0,-17-2-1,0 1-15,0 18 16,-17-19-16,-2 0 15,2 1 1,-18-18 0,35 18-1,-18-18 1</inkml:trace>
  <inkml:trace contextRef="#ctx0" brushRef="#br0" timeOffset="-126847.52">2853 15620 0,'17'-19'16,"-17"55"0,0-18-1,-17-1 1,17 0-16,0 2 0,0-2 15,0 1-15,0 18 16,-18-19-16,18 0 16,0 1-16</inkml:trace>
  <inkml:trace contextRef="#ctx0" brushRef="#br0" timeOffset="-126595.45">2870 15584 0,'0'-17'16,"0"34"-16,19-52 15,15 53 1,-34-1-16,18-17 16,-18 17-16,18 2 0,-18-2 15,0 1-15,18-1 0,-36 19 16,18-19-16,0 1 15,-18-18-15,18 36 16,-18-19-16,1 0 0,0 1 16</inkml:trace>
  <inkml:trace contextRef="#ctx0" brushRef="#br0" timeOffset="-126391.28">3135 15689 0,'18'19'16,"-18"-2"-1,0 1 1,0-1-16,0 2 0,-18-2 16,18 18-16,-17 1 15,17-19-15,0 18 16,0-17-1</inkml:trace>
  <inkml:trace contextRef="#ctx0" brushRef="#br0" timeOffset="-125867.24">3577 15460 0,'0'-17'15,"17"17"1,0 0-16,1 0 16,0 17-16,-18 2 15,18-2-15,-36-17 16,18 17-16,-18 37 15,18-37-15,-18 0 0,18 2 16,-17-2 0,17 1-1,0-1 17,35-17-17,-17 0-15,0 0 0,-1 0 16,0 0-16,2 0 0,-2 0 15,1 0-15,-1 0 0,0-17 0,2 17 16</inkml:trace>
  <inkml:trace contextRef="#ctx0" brushRef="#br0" timeOffset="-125519.2">4229 15372 0,'-54'19'16,"20"-2"-1,34 0 1,0 1-16,0-1 0,0 19 15,17-1 1,-17-17 0,0 0-1,0-1-15,-17 0 0,17 2 16,-18-19-16,18 17 16,-17-17-16,17 18 0,-36-18 15</inkml:trace>
  <inkml:trace contextRef="#ctx0" brushRef="#br0" timeOffset="-125338.54">4265 15443 0,'0'0'15,"17"17"1,-17 2-1,17-2-15,-17 0 0,-17 1 16,17 0-16,0 0 16,-17-1-16,17 0 0</inkml:trace>
  <inkml:trace contextRef="#ctx0" brushRef="#br0" timeOffset="-125039.03">4282 15443 0,'17'-18'16,"-34"36"-16,52-36 16,-17 1-16,0 17 15,-1 17-15,0-17 0,1 18 16,0-1-1,-18 2-15,0 15 16,0-16-16,0 0 16,-18 17-1,0-35-15,1 17 0,17 2 16,-17-19-16,17 17 0,-18-17 16</inkml:trace>
  <inkml:trace contextRef="#ctx0" brushRef="#br0" timeOffset="-124826.29">4723 15531 0,'-89'0'15,"178"0"-15,-71 18 0,-18 0 16,0-1-1,-18 0-15,18 2 16,0-2-16,-18 1 0,0 35 16,18-36-1</inkml:trace>
  <inkml:trace contextRef="#ctx0" brushRef="#br0" timeOffset="-124177.41">5305 15284 0,'36'0'15,"-19"0"-15,-70 0 0,123 0 16,-52 36-1,-36-19 1,18 1 0,0-1-1,0 2-15,18-2 16,0-17-16,-18 17 0,18-17 16,16 18-1,-34-1-15,18-17 0,-18 19 16,18-2-1,-36 0 1,18 1-16,-18-18 0,18 18 0,-17-18 0,0 0 16,-19 18-1,18-18-15,18 17 0</inkml:trace>
  <inkml:trace contextRef="#ctx0" brushRef="#br0" timeOffset="-123774.9">5905 15232 0,'-36'0'16,"18"17"-16,18 1 16,-17-1-1,17 19 1,17-19-16,-17 1 15,0-1-15,0 2 0,0-2 0,0 0 16,0 1 0,0-1-16,0 2 0,-17-19 0,17 17 15,-17 0-15,-1 1 16,-18 0 0,36 0-16,-17-18 0,0 0 0,-2 0 31</inkml:trace>
  <inkml:trace contextRef="#ctx0" brushRef="#br0" timeOffset="-123583.43">6010 15284 0,'0'0'0,"19"17"16,-19 19-1,0-18 1,0-1-16,0 2 16,0-2-16,0 0 15,0 1-15</inkml:trace>
  <inkml:trace contextRef="#ctx0" brushRef="#br0" timeOffset="-123212.45">6081 15267 0,'17'-18'0,"2"18"0,-2 0 15,0-17-15,1 17 0,18 17 32,-19 1-32,0-18 0,-17 17 15,18 0-15,-18 2 0,-18 16 16,1-18-1,0 2-15,-1-2 0,0 0 16,-17 1-16,-1-1 0,1 2 16,18-2-16,-36 0 0,-1-17 15</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4.734"/>
    </inkml:context>
    <inkml:brush xml:id="br0">
      <inkml:brushProperty name="width" value="0.025" units="cm"/>
      <inkml:brushProperty name="height" value="0.025" units="cm"/>
      <inkml:brushProperty name="ignorePressure" value="1"/>
    </inkml:brush>
  </inkml:definitions>
  <inkml:trace contextRef="#ctx0" brushRef="#br0">108 23,'33'-15,"-14"7,-41 16,17-7,1 1,0-1,0 0,1 2,-1 0,0-2,0 2,2-1,-2 1,1 0,-1 1,1-2,1 2,-1-1,0 1,-3 7,6-9,-2 1,2 1,-1-1,1-1,-1 1,1 0,0 1,0-2,0 1,1 0,-1 1,0-2,1 1,1 0,-2-1,1 1,0 0,1-1,-1 1,0 0,1-1,0 1,0 0,-1-2,6 4,-6-3,0-1,1 0,-1 1,0-1,1 0,-1 1,0-1,1 0,-2 1,1-1,0 2,-1-2,2 0,-2 1,1 0,-1 0,0-1,1 2,-1-2,0 2,0-2,0 0,0 2,0-2,0 1,0 0,-1 0,1-1,0 2,-1-2,1 0,-2 2,1-2,1 1,-1-1,-1 0,1 2,0-2,1 1,-2-1,-2 0,-4 6,-1-2,1 1,-1-1,-1 0,-19 6,21-8,-8 2</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5.833"/>
    </inkml:context>
    <inkml:brush xml:id="br0">
      <inkml:brushProperty name="width" value="0.025" units="cm"/>
      <inkml:brushProperty name="height" value="0.025" units="cm"/>
      <inkml:brushProperty name="ignorePressure" value="1"/>
    </inkml:brush>
  </inkml:definitions>
  <inkml:trace contextRef="#ctx0" brushRef="#br0">41 24,'86'-18,"-69"13,-58 17,37-11,1 1,-1-2,0 1,0 0,1 1,-1-1,2 2,-2-2,1 2,-1-2,1 2,1-1,-1 1,0 0,1-1,-1 1,0 0,-1 3,3-2,1 0,0 0,0 0,0 0,0 0,0 0,0 0,1 0,1 0,-1 0,-1 0,3-1,-2 1,0 0,1-1,0 1,2 2,-1-3,-2 1,2 0,-2-1,1 1,-1 0,0-2,-1 2,2 0,-2 0,1 0,-1 0,0 0,0 0,0-1,-1 6,-1-6,2-2,-1 2,0 0,-1-1,1 0,0 0,-2 1,2-2,-1 1,0 0,0 0,0-1,0 2,0-2,-1 0,2 1,-2-1,0-1,1 1,-1 1,2-2,-2 1,-4 0,-14 3</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4.130"/>
    </inkml:context>
    <inkml:brush xml:id="br0">
      <inkml:brushProperty name="width" value="0.025" units="cm"/>
      <inkml:brushProperty name="height" value="0.025" units="cm"/>
      <inkml:brushProperty name="ignorePressure" value="1"/>
    </inkml:brush>
  </inkml:definitions>
  <inkml:trace contextRef="#ctx0" brushRef="#br0">57 5,'-7'6,"2"0,0 1,-1 0,2-1,-1 1,1 1,0 0,1-1,-1 1,2 0,-1 0,-1 10,4-15,0-2,0 2,0 0,0-1,0 1,0-2,0 2,1 0,-1-1,2 0,-2 0,1 1,0-2,1 2,-2 0,1-2,0 0,3 5,-1-4,1 0,-1 0,-1 0,2 0,-1 0,1-1,-1 0,1 1,-2-2,2 1,0 0,-1-1,1 0,0 2,-1-2,5-2,1 2,2-1,-2 0,0-2,1 0,-1 1,0-1,1-1,-2 0,1 0,11-8,-17 11,-2-1,2 1,-1 0,0-1,0 0,1 0,-2 1,1-2,0 2,0-2,-1 2,0-2,1 1,-1 0,0 0,1-1,-1 0,-1 1,1-1,1 0,-2 1,0-1,1 0,-1 1,0-1,0 0,0 1,-1-1,1 2,0-2,-2 0,2 1,-1-1,0 0,1 1,-2-1,1 2,0-2,-1 0,1 1,-4-2,1 0,0 0,-2 0,2 1,-1-1,0 1,1 1,-2-1,1 2,-2-2,2 2,0-1,-1 1,1 0,-2-1,-10 2,-7-1</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5.546"/>
    </inkml:context>
    <inkml:brush xml:id="br0">
      <inkml:brushProperty name="width" value="0.025" units="cm"/>
      <inkml:brushProperty name="height" value="0.025" units="cm"/>
      <inkml:brushProperty name="ignorePressure" value="1"/>
    </inkml:brush>
  </inkml:definitions>
  <inkml:trace contextRef="#ctx0" brushRef="#br0">42 0,'19'0,"28"3,-47-3,1 0,-1 0,0 0,0 0,0 0,0 0,0 0,0 0,1 0,-1 0,0 0,0 0,0 0,0 0,0 0,0 0,0 1,0-1,2 0,-2 0,0 0,0 0,0 0,0 0,0 0,0 1,0-1,0 0,0 0,0 0,0 0,0 0,0 0,0 2,0-2,0 0,0 0,0 0,0 0,0 0,0 0,0 1,0-1,0 0,0 0,0 0,0 0,0 0,0 0,-2 0,2 1,0-1,0 0,0 0,0 0,0 0,0 0,0 0,-26 15,15-10,0 1,2-1,-2 2,2-1,-11 9,19-15,1 1,-2 1,1-2,1 1,-1 0,-1-1,2 2,-1-1,1 0,0 1,-1-2,1 1,0 0,-2 1,2-1,0 0,0 1,0-1,0 0,0 1,0-2,0 4,2-3,-1 2,0-2,1 2,-1-2,0 0,1 1,-1 0,0 0,1-1,0 0,0 1,0-1,0 0,0-1,0 2,0-1,4 0,-2 1,1 0,-1 0,0 0,0 1,0 0,0-1,0 1,0 0,-1 1,1-2,-2 2,1 0,1 0,-1 0,-1 0,0 0,3 8,-4-10,-1 0,0 0,2-1,-2 2,0-2,0 2,0-2,0 2,-2-2,2 0,0 2,0-2,-1 1,1 0,-1 0,-1-1,2 2,-2 1,-1-2,0 1,1 0,-1-1,0 1,-1 0,2-2,-1 2,-1-2,1 0,-1 2,0-2,-4 2,-17 4,1-5</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6.713"/>
    </inkml:context>
    <inkml:brush xml:id="br0">
      <inkml:brushProperty name="width" value="0.025" units="cm"/>
      <inkml:brushProperty name="height" value="0.025" units="cm"/>
      <inkml:brushProperty name="ignorePressure" value="1"/>
    </inkml:brush>
  </inkml:definitions>
  <inkml:trace contextRef="#ctx0" brushRef="#br0">73 1,'63'0,"-55"0,-42 0,26 1,-1 1,1-1,-1 2,1-2,-2 3,2-1,-10 6,15-8,0 1,2-2,-2 1,2 2,-2-2,2 0,0 1,-2-1,2 2,-1-2,1 2,0-2,-1 2,0 1,2-3,0 0,0 1,0-1,0 0,0 1,0-1,0 0,0 1,0-1,0 0,1 1,-1-1,0 0,1 1,-1-1,2 0,-2 1,1-1,0-1,-1 1,2 1,-1-1,-1 0,1-1,1 2,-1-2,2 2,50 22,-46-22,-1 0,0 0,0 0,1 1,-2 1,1-1,0 1,6 4,-12-7,2 2,-1-2,0 0,-1 2,2-2,-2 1,1 0,-1 0,0 0,1 0,-1 0,0 0,0-1,0 2,0-2,0 2,0-2,-1 2,1-2,0 2,-1-2,1 0,-2 2,1-2,1 1,-1 0,-1 0,1-1,0 0,-1 1,1 0,0 0,-2 0,-1 4,0-2,0 1,-1-1,1 1,-2-1,1 0,0-1,-1 1,1-1,0 1,-1-2,0 0,0 0,0 1,0-2,0 1,-8-1,-7 2</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7.794"/>
    </inkml:context>
    <inkml:brush xml:id="br0">
      <inkml:brushProperty name="width" value="0.025" units="cm"/>
      <inkml:brushProperty name="height" value="0.025" units="cm"/>
      <inkml:brushProperty name="ignorePressure" value="1"/>
    </inkml:brush>
  </inkml:definitions>
  <inkml:trace contextRef="#ctx0" brushRef="#br0">153 0,'-96'100,"88"-91,1 1,1 0,-1 1,2 0,-1-1,2 2,-8 22,12-30,-1-2,1 2,0 0,0-1,0 1,0 0,0-1,0 1,1-2,1 2,-2-1,1 1,0-1,1 1,-1-2,0 1,2 1,-2-1,2-1,-2 1,2 0,0-1,-1 1,1 0,0-2,-1 2,1-2,0 2,-1-2,2 0,-1 1,6 2,-2-3,-2 2,2-2,0 0,-2-1,2 2,-1-2,1 0,12-2,-19 2,1 0,0 0,-1-1,2 1,-1 0,-1 0,1 0,1-1,-2 1,1 0,0-2,-1 2,2 0,-2-1,1 1,0-1,-1 1,0-2,2 2,-2-1,1 1,-1-1,1-1,-1 1,0 0,0-1,0 0,0 0,-1 1,1 0,-1-1,1 1,-2 0,2-1,-1 0,1 0,-1 1,-1 0,1 1,0-2,1 1,-2 0,1-1,0 1,-2 0,-41-27,20 14</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2.038"/>
    </inkml:context>
    <inkml:brush xml:id="br0">
      <inkml:brushProperty name="width" value="0.025" units="cm"/>
      <inkml:brushProperty name="height" value="0.025" units="cm"/>
      <inkml:brushProperty name="ignorePressure" value="1"/>
    </inkml:brush>
  </inkml:definitions>
  <inkml:trace contextRef="#ctx0" brushRef="#br0">100 1,'-12'11,"1"2,1-1,-1 1,2 2,1-2,-15 31,20-38,1-2,0 1,1-1,-2 1,2 1,0-2,1 1,-2 0,2 1,-1-2,1 1,0 0,0 1,1-1,-1-1,2 1,-1 1,0-1,1-1,0 1,0-1,0 2,1-2,0 0,-1 1,8 6,-6-7,1-2,0 2,1-1,-1 0,0-1,1 1,-1 0,2-2,-2 0,2 1,-2-1,2 0,-2-1,2 0,-2 0,2 0,-2 0,2-1,-1 1,0-1,-1-2,2 2,-2-2,11-4,-9 5,-2-1,2 0,-2-1,2 0,-2 0,0 0,1 0,-1-1,-1 1,1-1,-1-1,0 1,0-2,0 2,-1 0,1-2,-1 0,-1 1,1 0,-2 0,3-13,-2 14,-2-1,1 1,-1 0,0-1,-1 0,1 0,-2 1,2 0,-1-1,0 1,-2 0,2-1,-2 1,0 0,1-1,-1 2,-5-8,3 8,1 0,-2 2,2-2,-1 1,0 0,-1 1,1-1,0 2,-2-2,2 2,-1-1,1 1,-2 1,2-1,-2 1,-7 0,-9 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8.256"/>
    </inkml:context>
    <inkml:brush xml:id="br0">
      <inkml:brushProperty name="width" value="0.025" units="cm"/>
      <inkml:brushProperty name="height" value="0.025" units="cm"/>
      <inkml:brushProperty name="ignorePressure" value="1"/>
    </inkml:brush>
  </inkml:definitions>
  <inkml:trace contextRef="#ctx0" brushRef="#br0">48 32,'-4'9,"0"-1,1 1,-1 1,1-1,1 0,0 1,1-1,0 0,-1 19,2-24,2-1,-2 0,1 1,-1-2,1 1,1 1,-1-1,0-1,1 1,-1 0,2-1,-2 1,2 0,-2-1,2 1,-1 0,0-2,0 2,1-2,0 2,-1-2,2 0,-1 1,0-1,-1 0,1 1,1-1,-1-1,1 1,-2-1,1 0,1 2,4-2,-4 0,0 0,0 0,0 0,0 0,-1-2,1 2,0-1,0 1,0-1,-2-1,2 1,0 0,-1-2,1 2,-1-2,1 2,-2-2,1 0,0 1,-1-1,1 0,0 1,-1-1,1 0,-2-1,2 2,-2-2,1 1,-1-1,0 0,1 1,-1-1,0 0,-1 0,2-6,-1 6,-1-2,0 1,0 1,0-1,0 1,-1-2,-1 2,2-1,-1 1,0 0,-2-1,2 1,-2 0,2 0,-2 0,0 0,1 0,-1 0,0 0,-1 1,2-1,-2 1,0 1,0-1,1 0,-1 1,-1-1,1 0,-6-1,-3 2,0-1,-1 0,1 2,0 1,-27 0,17 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9.858"/>
    </inkml:context>
    <inkml:brush xml:id="br0">
      <inkml:brushProperty name="width" value="0.025" units="cm"/>
      <inkml:brushProperty name="height" value="0.025" units="cm"/>
      <inkml:brushProperty name="ignorePressure" value="1"/>
    </inkml:brush>
  </inkml:definitions>
  <inkml:trace contextRef="#ctx0" brushRef="#br0">48 0,'0'5,"-6"6,1 5,0 4,1 4,-4-3,0-1,1 2,3-4</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0.685"/>
    </inkml:context>
    <inkml:brush xml:id="br0">
      <inkml:brushProperty name="width" value="0.025" units="cm"/>
      <inkml:brushProperty name="height" value="0.025" units="cm"/>
      <inkml:brushProperty name="ignorePressure" value="1"/>
    </inkml:brush>
  </inkml:definitions>
  <inkml:trace contextRef="#ctx0" brushRef="#br0">114 0,'-4'9,"-1"7,-6 6,1 2,-4 2,2 2,-2-5,2-2,2 1,-2-4,3-6</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1.505"/>
    </inkml:context>
    <inkml:brush xml:id="br0">
      <inkml:brushProperty name="width" value="0.025" units="cm"/>
      <inkml:brushProperty name="height" value="0.025" units="cm"/>
      <inkml:brushProperty name="ignorePressure" value="1"/>
    </inkml:brush>
  </inkml:definitions>
  <inkml:trace contextRef="#ctx0" brushRef="#br0">71 1,'0'4,"-4"7,-3 5,-2 4,-6 4,0 1,3 2,3-5</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321"/>
    </inkml:context>
    <inkml:brush xml:id="br0">
      <inkml:brushProperty name="width" value="0.025" units="cm"/>
      <inkml:brushProperty name="height" value="0.025" units="cm"/>
      <inkml:brushProperty name="ignorePressure" value="1"/>
    </inkml:brush>
  </inkml:definitions>
  <inkml:trace contextRef="#ctx0" brushRef="#br0">112 1,'-6'0,"1"4,-2 7,-1-1,-1 5,-3 4,0 2,-1 2,1 2,-3-4,3-5</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966"/>
    </inkml:context>
    <inkml:brush xml:id="br0">
      <inkml:brushProperty name="width" value="0.025" units="cm"/>
      <inkml:brushProperty name="height" value="0.025" units="cm"/>
      <inkml:brushProperty name="ignorePressure" value="1"/>
    </inkml:brush>
  </inkml:definitions>
  <inkml:trace contextRef="#ctx0" brushRef="#br0">59 0,'0'4,"-6"7,1 5,-2 4,-1-2,-1 2,-3 2,0-5</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3.605"/>
    </inkml:context>
    <inkml:brush xml:id="br0">
      <inkml:brushProperty name="width" value="0.025" units="cm"/>
      <inkml:brushProperty name="height" value="0.025" units="cm"/>
      <inkml:brushProperty name="ignorePressure" value="1"/>
    </inkml:brush>
  </inkml:definitions>
  <inkml:trace contextRef="#ctx0" brushRef="#br0">37 1,'0'8,"-4"8,-7 5,-1 5,3-4</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5.186"/>
    </inkml:context>
    <inkml:brush xml:id="br0">
      <inkml:brushProperty name="width" value="0.025" units="cm"/>
      <inkml:brushProperty name="height" value="0.025" units="cm"/>
      <inkml:brushProperty name="ignorePressure" value="1"/>
    </inkml:brush>
  </inkml:definitions>
  <inkml:trace contextRef="#ctx0" brushRef="#br0">104 1,'-4'0,"-7"0,-1 4,-2 1,0 6,0-2,-5 5,3-1</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5.383"/>
    </inkml:context>
    <inkml:brush xml:id="br0">
      <inkml:brushProperty name="width" value="0.05" units="cm"/>
      <inkml:brushProperty name="height" value="0.05" units="cm"/>
      <inkml:brushProperty name="color" value="#E71224"/>
      <inkml:brushProperty name="ignorePressure" value="1"/>
    </inkml:brush>
  </inkml:definitions>
  <inkml:trace contextRef="#ctx0" brushRef="#br0">326 0,'-9'13,"0"1,-1-1,1 2,1-2,1 2,1 1,0-2,-7 28,-14 32,-163 346,167-381,15-23</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6.45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64 32,'-9'9,"1"-2,0-1,0 1,1 0,0 1,1 0,-1 0,2 0,-1 0,1 1,1 0,-1 1,1-1,1 0,-1 1,0 11,3-16,-1 1,1-1,1 0,0 1,-1-1,2 0,-1 1,0-1,1 0,1-1,-1 2,0-1,1 0,-1 1,2-2,-1 1,1-1,0 0,-1 1,1-1,5 6,-4-8,0 1,1 0,-1-1,2 1,-2-2,1 2,0-2,1 1,-1-1,0 0,-1-1,2 2,-1-2,0 0,1 0,-1 0,0-2,1 2,-1-1,0 0,7-3,-4 1,0-1,0 0,0 0,0 0,0-1,-1 1,1-3,-1 2,-1-1,0 0,0-1,0 0,-1 1,0-2,1 1,-2-1,0 0,0 0,-2 0,2 0,3-17,-6 19,1 1,-2 0,1-1,-1 1,0 0,0-1,0 1,0 0,-1-1,1 1,-2 0,1-1,-2 2,2-1,-2 0,2 1,-2-2,1 2,-1-1,-1 1,1 0,-1 0,2 0,-2 0,0 0,0 1,0-1,-2 2,2-1,-1 0,1 1,-1 0,-1 0,2 0,-1 1,-10-3,1 1,-1 1,0 0,1 1,-1 1,0 0,1 0,-1 1,0 2,1 0,0 1,0 0,-1 0,-22 12,18-7</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1.678"/>
    </inkml:context>
    <inkml:brush xml:id="br0">
      <inkml:brushProperty name="width" value="0.025" units="cm"/>
      <inkml:brushProperty name="height" value="0.025" units="cm"/>
      <inkml:brushProperty name="ignorePressure" value="1"/>
    </inkml:brush>
  </inkml:definitions>
  <inkml:trace contextRef="#ctx0" brushRef="#br0">69 0,'-5'9,"0"7,-1 6,-2-2,-1 0,1 2,3 1,-3 1,0 1,1-3</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1.698"/>
    </inkml:context>
    <inkml:brush xml:id="br0">
      <inkml:brushProperty name="width" value="0.025" units="cm"/>
      <inkml:brushProperty name="height" value="0.025" units="cm"/>
      <inkml:brushProperty name="ignorePressure" value="1"/>
    </inkml:brush>
  </inkml:definitions>
  <inkml:trace contextRef="#ctx0" brushRef="#br0">316 1,'-31'19,"2"2,-1 2,4-1,-1 4,2-1,-31 40,-7 6,60-70,1 2,-1 0,2-1,-2 1,0 0,2-1,0 1,-2 0,2 1,-1-2,1 1,0 1,1-1,-2 1,2-2,-1 2,1 3,0-4,1-2,1 2,-2-2,1 2,0-2,1 0,-1 2,0-2,1 1,-1-1,2 0,-2 1,0-1,2 0,-2 1,1-1,0 0,0-1,0 2,0-2,0 1,1-1,-2 1,2-1,-2 0,2 0,0 0,1 0,40 4,0-4,0 0,0-2,-2-4,48-8,-81 12,14-2</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2.353"/>
    </inkml:context>
    <inkml:brush xml:id="br0">
      <inkml:brushProperty name="width" value="0.025" units="cm"/>
      <inkml:brushProperty name="height" value="0.025" units="cm"/>
      <inkml:brushProperty name="ignorePressure" value="1"/>
    </inkml:brush>
  </inkml:definitions>
  <inkml:trace contextRef="#ctx0" brushRef="#br0">178 1,'-4'24,"0"0,-1 0,-2 0,1-1,-2 1,-22 37,6-5,11-24,-12 31,-21 74,41-114</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151"/>
    </inkml:context>
    <inkml:brush xml:id="br0">
      <inkml:brushProperty name="width" value="0.025" units="cm"/>
      <inkml:brushProperty name="height" value="0.025" units="cm"/>
      <inkml:brushProperty name="ignorePressure" value="1"/>
    </inkml:brush>
  </inkml:definitions>
  <inkml:trace contextRef="#ctx0" brushRef="#br0">53 2,'-2'2,"-1"-1,0-1,1 1,0 1,0-1,-1 0,0 1,2-1,-2 0,1 1,0 0,0 0,0 0,1 0,-2 0,2 0,0 0,-1 1,1 0,0-2,-1 2,2-1,-1 1,0 0,1-1,-2 1,2 0,0-1,0 4,-2 4,0 1,2 0,-1-1,1 0,0 0,4 16,-4-24,0 1,1 0,1 1,-2-2,1 1,0 0,1-1,-1 1,0 0,2-1,-2 1,1 0,0-1,0 0,0 0,1 0,0 0,-1 0,0-1,0 2,1-2,0 0,1 1,-2-1,1-1,0 1,-1 1,8-1,-4-1,0 0,0-1,0 1,0-2,0 1,-1 0,2-2,-2 2,0-2,1 0,-1 1,0-1,1 0,4-5,-6 4,2 2,-2-2,0 0,0 0,0 0,-2 0,2 0,-1-2,0 2,-1-1,1 0,0-1,-2 1,2 1,1-11,-4 13,0-2,0 0,0 0,-2 1,2-1,-1 0,1 1,-1-1,-1 0,1 2,0-2,-1 1,1-1,-2 1,2 1,-2-2,1 1,-1 0,2 1,-2-1,0 0,-1 2,2-2,-1 2,0-2,-6-1,-14-6,1 3</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548"/>
    </inkml:context>
    <inkml:brush xml:id="br0">
      <inkml:brushProperty name="width" value="0.025" units="cm"/>
      <inkml:brushProperty name="height" value="0.025" units="cm"/>
      <inkml:brushProperty name="ignorePressure" value="1"/>
    </inkml:brush>
  </inkml:definitions>
  <inkml:trace contextRef="#ctx0" brushRef="#br0">97 1,'-5'4,"0"0,-1 0,1 0,0 1,1 1,-2-1,2 0,0 1,0-1,0 2,2-2,-1 2,0-1,1 0,-1 0,2 1,-2 0,0 10,3-14,-1 1,1 0,-1-2,1 2,0-1,0 1,1 0,-1-1,0 1,1-2,-1 2,2-1,-1 1,0-1,1 1,-1-2,0 1,2 1,-2-1,2-1,-2 1,2 0,0-1,-1 1,1-2,0 2,-1-2,1 2,0-2,1 1,-2 0,1 0,1-1,-1-1,1 1,-2 1,6-1,-6-1,0 1,1-1,-2 0,2 2,0-2,-2 0,2 0,-1 0,1 0,-2 0,2-2,0 2,-2-1,2 1,-2-1,2 1,-1-2,0 1,0 0,0 1,-1-2,2 1,-2 0,0-2,2 2,-2-1,1 1,-1-2,0 2,1-2,-1 2,0 0,-1-2,2 0,-1 2,-1-2,1 2,-1-4,2-1,-2 2,0 0,-2 0,2 0,0-1,-1 1,0 0,-1 0,1 0,0 0,-1 0,1 0,-2 1,1-1,0 0,0 2,-1-2,0 1,-6-5,2 3,1-1,-1 2,-1 0,1 0,-1 0,0 2,0-1,2 0,-4 1,2 0,-13 0,-3-1</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3.880"/>
    </inkml:context>
    <inkml:brush xml:id="br0">
      <inkml:brushProperty name="width" value="0.05" units="cm"/>
      <inkml:brushProperty name="height" value="0.05" units="cm"/>
      <inkml:brushProperty name="color" value="#E71224"/>
      <inkml:brushProperty name="ignorePressure" value="1"/>
    </inkml:brush>
  </inkml:definitions>
  <inkml:trace contextRef="#ctx0" brushRef="#br0">437 0,'0'5,"0"5,0 6,-4 5,-6 7,-6 3,-4 6,-4 8,-6 7,-7 7,-2 2,-2 1,-3 2,0-2,0-2,-1-1,6-12</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5.099"/>
    </inkml:context>
    <inkml:brush xml:id="br0">
      <inkml:brushProperty name="width" value="0.05" units="cm"/>
      <inkml:brushProperty name="height" value="0.05" units="cm"/>
      <inkml:brushProperty name="color" value="#E71224"/>
      <inkml:brushProperty name="ignorePressure" value="1"/>
    </inkml:brush>
  </inkml:definitions>
  <inkml:trace contextRef="#ctx0" brushRef="#br0">354 0,'-29'17,"1"2,0 1,1 1,1 2,0 0,2 2,2 0,0 2,1 0,2 1,1 1,2 0,-20 49,33-73,2 0,-1 1,0-1,2 0,-2 1,1-1,1 0,0 1,0-1,0 2,1-2,-1 0,2 1,-1-1,0 0,1 1,0-1,0 0,0 1,6 7,-6-10,0-1,1 1,0 0,-1-1,1 1,1 0,-1-1,-1 0,2 0,-1 0,1-1,0 0,-1 1,1-1,0 0,-2 1,2-2,0 1,0-1,0 0,0 0,0 0,-1 0,1 0,0-1,0 1,0-2,-1 1,1 0,0-1,2 0,-3 0,-2 2,1-1,0 1,0-1,-1 1,0-2,2 1,-2 0,1-1,-1 1,0 1,1-1,-1-2,0 2,1-1,-2 1,1 0,0-1,-1 0,2 0,-1 1,-1 0,0-2,1 2,-1-2,0 2,2-1,-2 0,0 0,0 0,0 0,0 1,-2-2,2 2,0-2,-1 2,1 0,-1-2,1 2,-2-1,0-3,-1 0,-1-2,-1 2,1-2,-2 2,2-1,-1 1,0 0,-1 1,-8-7,-9-2</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01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55 18,'-7'2,"0"-1,1 2,-1-2,2 2,-2-1,2 1,-2 0,2 1,-1-2,0 2,0 0,2 2,-1-2,0 1,1-1,0 1,0 1,0-1,0 2,-3 5,2-3,-1-1,2 1,-1-1,1 2,1-1,1 0,-1 2,0-2,2 1,0 0,-1 0,1 0,2 10,-1-16,2 0,-1-1,-1 1,1 0,2-1,-2 1,1-2,-1 1,2 1,-2-1,2-1,-1 1,1 0,0-1,-1 1,1 0,0-2,-1 2,8 2,-4-2,1-1,0 0,-1 0,1 0,0-1,-1 0,2-1,-1 2,0-2,9-2,-8 2,0-1,0 1,0-1,0-2,-2 2,2-2,-1 0,1 1,-1-2,1 1,-2-1,1 0,-2-1,2 1,0-2,-2 1,0 0,1-2,7-10,-10 11,-1 1,1 0,-2-2,2 2,-2-1,1 0,-2-1,1 2,-1-2,0 2,0-2,0 2,-1-2,1 0,-2 2,1-2,0 2,-2 0,0-2,2 2,-2-1,-5-6,2 3,-1 0,0 1,-1 0,0 0,0 1,-1-1,1 1,-1 1,-1 0,0 1,-12-6,0 2</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4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48 45,'-12'53,"11"-47,-2-1,2 0,-1 1,1-1,0 0,1 1,-2-1,2 0,0 1,0-1,2 10,0-10,0-1,-1 1,2-1,-1 2,1-2,0 0,-1 0,1 0,1 0,0 0,-1 0,1-2,0 2,0-1,0 0,1-1,-1 1,7 2,-9-3,0-2,0 1,0-1,0 1,1-1,-2 2,2-2,0 0,-2 0,2 0,-1 0,1 0,-2 0,2-2,0 2,-2-1,2 1,-2-1,2 1,-1-2,0 1,0 0,0-1,-1 1,2 0,-2-1,0 1,2 0,-2-1,1 0,-1 0,0 1,1-2,-1 2,-1-2,1 2,1-2,-2 2,1-2,-1 1,1 0,-1-3,2 0,-1-1,0 0,-1 0,2 1,-2 0,0-1,0 0,-2 0,2 1,-1 0,0-1,-1 0,1 0,-2 1,2 1,-2-1,1-1,-1 1,0 1,-1-1,2 1,-8-7,1 3,1 0,-1 0,-2 1,2 1,-2-1,0 2,1-1,-1 1,-16-4,6 2</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1:49.622"/>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29.804"/>
    </inkml:context>
    <inkml:brush xml:id="br0">
      <inkml:brushProperty name="width" value="0.025" units="cm"/>
      <inkml:brushProperty name="height" value="0.025" units="cm"/>
      <inkml:brushProperty name="ignorePressure" value="1"/>
    </inkml:brush>
  </inkml:definitions>
  <inkml:trace contextRef="#ctx0" brushRef="#br0">1 348,'385'-17,"-339"13,660-52,462-24,-616 42,138-2,-350 26,-123 2,122-12,139-3,-426 24,58-7,47-4,-21 16,-127-4,-14-2,-7-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037"/>
    </inkml:context>
    <inkml:brush xml:id="br0">
      <inkml:brushProperty name="width" value="0.025" units="cm"/>
      <inkml:brushProperty name="height" value="0.025" units="cm"/>
      <inkml:brushProperty name="ignorePressure" value="1"/>
    </inkml:brush>
  </inkml:definitions>
  <inkml:trace contextRef="#ctx0" brushRef="#br0">28 1,'2'0,"2"0,0-1,0 1,0 1,0-1,-1 0,1 2,0-2,0 1,-1 0,1 1,0-1,-2 0,2 1,-1 0,1 0,-1 0,-1 1,1-2,0 2,-1 0,1-1,4 6,-6-4,-1 0,1 0,-1 0,2 0,-2 0,0 0,0 0,0 0,-2 0,2 0,-1 0,0 0,1-1,-2 1,0 0,0 0,1-1,-2 1,2 0,-2-2,1 2,-4 2,-32 35,31-36,0 1,2 0,0 0,-1 0,1 0,1 0,-8 14,12-20,0 0,0 2,0-2,0 0,0 0,0 1,0-1,0 0,0 0,0 1,0-1,0 0,0 0,0 0,0 2,0-2,0 0,0 0,0 1,0-1,1 0,-1 0,0 0,0 1,0-1,0 0,2 0,-2 0,0 0,0 2,0-2,1 0,-1 0,0 0,0 0,1 0,-1 0,0 0,0 0,2 0,-2 0,22 1,21-6,38-15,-57 16</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088"/>
    </inkml:context>
    <inkml:brush xml:id="br0">
      <inkml:brushProperty name="width" value="0.025" units="cm"/>
      <inkml:brushProperty name="height" value="0.025" units="cm"/>
      <inkml:brushProperty name="ignorePressure" value="1"/>
    </inkml:brush>
  </inkml:definitions>
  <inkml:trace contextRef="#ctx0" brushRef="#br0">69 0,'0'4,"0"7,-5-1,0 5,-2 2,3 5,1 2,-3-4,-1 0,0 1,3 0,-2 3,-2 0,1-2</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652"/>
    </inkml:context>
    <inkml:brush xml:id="br0">
      <inkml:brushProperty name="width" value="0.025" units="cm"/>
      <inkml:brushProperty name="height" value="0.025" units="cm"/>
      <inkml:brushProperty name="ignorePressure" value="1"/>
    </inkml:brush>
  </inkml:definitions>
  <inkml:trace contextRef="#ctx0" brushRef="#br0">1 1,'15'6,"-1"0,1-2,1 2,-1-2,1-2,0 1,0-2,28-1,14-2,62-12,-9 1,134 9,-223 5</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3.536"/>
    </inkml:context>
    <inkml:brush xml:id="br0">
      <inkml:brushProperty name="width" value="0.025" units="cm"/>
      <inkml:brushProperty name="height" value="0.025" units="cm"/>
      <inkml:brushProperty name="ignorePressure" value="1"/>
    </inkml:brush>
  </inkml:definitions>
  <inkml:trace contextRef="#ctx0" brushRef="#br0">116 1,'20'0,"-7"-1,2 1,-1 0,0 1,0 1,24 6,-37-7,2-1,-2 1,2-1,-2 2,0-1,2 0,-2 1,1-1,0 0,0 1,-1-1,0 0,1 1,-1 0,0 0,1-1,0 4,0-1,-2-1,0 0,1 1,-1-2,0 1,0 1,0-1,-1-1,1 2,0-1,-2 0,1-1,1 1,-1 1,-1-1,0 2,-8 11,0-1,0-2,-2 0,2 1,-2-1,-2-1,1 0,0-1,-2-1,-16 10,10-6,1 0,0 2,-29 32,47-48,2 2,-1-2,1 0,0 1,-1-1,1 0,0 1,0-1,-2 0,2 2,0-2,0 1,-1-1,1 1,0-1,0 2,0-2,0 1,0-1,0 0,0 1,0-1,0 2,0-2,0 1,0-1,0 1,0-1,0 2,0-2,1 1,-1-1,0 1,2 1,22 6,30-10,224-38,-250 36</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005"/>
    </inkml:context>
    <inkml:brush xml:id="br0">
      <inkml:brushProperty name="width" value="0.025" units="cm"/>
      <inkml:brushProperty name="height" value="0.025" units="cm"/>
      <inkml:brushProperty name="ignorePressure" value="1"/>
    </inkml:brush>
  </inkml:definitions>
  <inkml:trace contextRef="#ctx0" brushRef="#br0">25 5,'0'-4,"0"7,0 7,0 8,0 3,0 4,0 1,0 2,0-2,0 2,0-1,-5 0,-1-2,0 2,2-2,1-4</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318"/>
    </inkml:context>
    <inkml:brush xml:id="br0">
      <inkml:brushProperty name="width" value="0.025" units="cm"/>
      <inkml:brushProperty name="height" value="0.025" units="cm"/>
      <inkml:brushProperty name="ignorePressure" value="1"/>
    </inkml:brush>
  </inkml:definitions>
  <inkml:trace contextRef="#ctx0" brushRef="#br0">0 16,'13'0,"9"0,4 0,4 0,0 0,0 0,-2 0,0 0,-2-4,1-3,-6 2</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933"/>
    </inkml:context>
    <inkml:brush xml:id="br0">
      <inkml:brushProperty name="width" value="0.025" units="cm"/>
      <inkml:brushProperty name="height" value="0.025" units="cm"/>
      <inkml:brushProperty name="ignorePressure" value="1"/>
    </inkml:brush>
  </inkml:definitions>
  <inkml:trace contextRef="#ctx0" brushRef="#br0">24 1,'7'15,"-2"-1,0 1,-1 0,0 1,-1 0,0 0,-2-2,0 2,-2 32,-6 10,-18 79,5-25,16-89</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389"/>
    </inkml:context>
    <inkml:brush xml:id="br0">
      <inkml:brushProperty name="width" value="0.025" units="cm"/>
      <inkml:brushProperty name="height" value="0.025" units="cm"/>
      <inkml:brushProperty name="ignorePressure" value="1"/>
    </inkml:brush>
  </inkml:definitions>
  <inkml:trace contextRef="#ctx0" brushRef="#br0">0 52,'320'-12,"9"-1,-142-1,-11 1,-153 13</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980"/>
    </inkml:context>
    <inkml:brush xml:id="br0">
      <inkml:brushProperty name="width" value="0.025" units="cm"/>
      <inkml:brushProperty name="height" value="0.025" units="cm"/>
      <inkml:brushProperty name="ignorePressure" value="1"/>
    </inkml:brush>
  </inkml:definitions>
  <inkml:trace contextRef="#ctx0" brushRef="#br0">193 1,'-176'163,"175"-163,-1 1,1 0,0-1,1 2,-2-1,1 0,0 1,1-1,-2 0,1-1,1 2,-1 0,1 0,-2-1,2 0,0 1,-1-1,1 0,0 1,0-1,0 0,0 2,0-2,0 1,0-1,0 0,0 3,1-2,1-1,0 2,0-2,-1 0,0 1,1-1,0 0,0 1,0-1,0 0,0 1,0-2,0 1,0 0,4 1,10 2,0-2,0 1,30 0,15-3,232-4,-269 0,-1-2</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7.736"/>
    </inkml:context>
    <inkml:brush xml:id="br0">
      <inkml:brushProperty name="width" value="0.025" units="cm"/>
      <inkml:brushProperty name="height" value="0.025" units="cm"/>
      <inkml:brushProperty name="ignorePressure" value="1"/>
    </inkml:brush>
  </inkml:definitions>
  <inkml:trace contextRef="#ctx0" brushRef="#br0">138 1,'-2'12,"-1"0,0 0,-1 0,-1-1,-8 18,-15 40,1 46,-17 52,36-143</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8.679"/>
    </inkml:context>
    <inkml:brush xml:id="br0">
      <inkml:brushProperty name="width" value="0.025" units="cm"/>
      <inkml:brushProperty name="height" value="0.025" units="cm"/>
      <inkml:brushProperty name="ignorePressure" value="1"/>
    </inkml:brush>
  </inkml:definitions>
  <inkml:trace contextRef="#ctx0" brushRef="#br0">24 1,'0'9,"0"7,0 6,0 2,0 2,0 2,0 0,-4-1,-1 1,-2-3,3 2,0-6</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598"/>
    </inkml:context>
    <inkml:brush xml:id="br0">
      <inkml:brushProperty name="width" value="0.025" units="cm"/>
      <inkml:brushProperty name="height" value="0.025" units="cm"/>
      <inkml:brushProperty name="ignorePressure" value="1"/>
    </inkml:brush>
  </inkml:definitions>
  <inkml:trace contextRef="#ctx0" brushRef="#br0">70 0,'-5'4,"1"-1,-1 1,1 0,0 0,-2 0,2 0,2 0,-2 1,0-1,1 1,0 1,1-1,-1 0,0 1,2-1,0 0,-3 10,4-12,-2-1,2 0,-1 0,1 1,0 0,0-1,0 0,0 0,0 1,0 0,1-1,-1 0,2 0,-2 1,1-2,-1 2,1 0,1-2,-1 2,0-2,1 2,-1-2,0 2,1-2,0 0,0 2,-1-2,2 1,-2-1,2 0,-2 1,2-1,-1-1,0 1,0 1,1-2,-2 1,2-1,0 0,-1 1,1-1,-2 0,5 0,-4 0,1 0,-2 0,2 0,-2 0,2-1,-2 1,2 0,0-1,-2 1,2-2,-2 2,0-1,2 0,-2-1,2 1,-2 0,1 1,-1-3,0 2,2-1,-2 1,1 0,-1-1,-1 0,1 0,1 0,-1 0,-1 1,1-2,1 2,-2-2,0 1,1 0,-1 0,0 0,0 0,0 0,0 0,0-5,0 3,0 1,-1-1,1 0,-2 0,1 0,1 0,-1 2,-1-2,0 0,0 1,1-1,-2 1,1 1,0-2,0 1,-1 0,0 1,1-1,-1 0,-1 1,1 0,-3-3,-42-6,25 1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9.116"/>
    </inkml:context>
    <inkml:brush xml:id="br0">
      <inkml:brushProperty name="width" value="0.025" units="cm"/>
      <inkml:brushProperty name="height" value="0.025" units="cm"/>
      <inkml:brushProperty name="ignorePressure" value="1"/>
    </inkml:brush>
  </inkml:definitions>
  <inkml:trace contextRef="#ctx0" brushRef="#br0">0 27,'9'-4,"7"-3,6 2,3 1,2 0,1 2,-6 1</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048"/>
    </inkml:context>
    <inkml:brush xml:id="br0">
      <inkml:brushProperty name="width" value="0.025" units="cm"/>
      <inkml:brushProperty name="height" value="0.025" units="cm"/>
      <inkml:brushProperty name="ignorePressure" value="1"/>
    </inkml:brush>
  </inkml:definitions>
  <inkml:trace contextRef="#ctx0" brushRef="#br0">73 0,'-4'9,"-1"7,0 6,-1 3,4 2,-5-5,0 1,2-2,0 2,2 0,-4 2,1-1,0 3,1-6</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696"/>
    </inkml:context>
    <inkml:brush xml:id="br0">
      <inkml:brushProperty name="width" value="0.025" units="cm"/>
      <inkml:brushProperty name="height" value="0.025" units="cm"/>
      <inkml:brushProperty name="ignorePressure" value="1"/>
    </inkml:brush>
  </inkml:definitions>
  <inkml:trace contextRef="#ctx0" brushRef="#br0">1 31,'749'-20,"-705"16,-12 0,2 2,-1 1,0 1,54 9,-64-3</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3.655"/>
    </inkml:context>
    <inkml:brush xml:id="br0">
      <inkml:brushProperty name="width" value="0.025" units="cm"/>
      <inkml:brushProperty name="height" value="0.025" units="cm"/>
      <inkml:brushProperty name="ignorePressure" value="1"/>
    </inkml:brush>
  </inkml:definitions>
  <inkml:trace contextRef="#ctx0" brushRef="#br0">203 21,'-7'-1,"0"-1,1 1,-1 0,-1 1,1 0,1 0,-1 0,-1 0,1 1,1 0,-1 1,0 0,1 0,-1 0,0 1,1 1,-9 4,11-7,-1 2,1-2,0 2,0 0,0-1,0 1,0 0,1 1,-1-2,1 2,-1-1,2 1,-1 0,0 0,1 0,-1 0,2 0,-2 1,2-1,-1 0,1 2,0-2,-1 1,2-1,-1 1,1 5,1-8,1 1,-1 0,0-1,1 1,-1-2,0 2,1 0,0-2,0 2,-1-2,2 2,-1-2,0 0,0 1,1-1,0 0,-2 1,2-1,-1 0,1 1,2-1,69 15,-45-11,-18-2,-2 0,0-1,1 2,-1 0,0 0,1 0,-2 2,1-1,-1 0,13 14,-18-16,-2-1,2 1,-2 0,1 1,0-2,0 1,-1 1,0-1,-1 1,2-2,-1 2,-1-1,1 1,-1-1,0 1,0 0,0-2,0 2,-1-1,1 1,-1 0,1-1,-2 1,1-2,0 1,-1 1,1-1,-2-1,2 2,-2-1,2 0,-2-1,-3 5,0 0,0-2,0 0,0 1,-1-1,0-1,1 1,-1-1,0-1,-9 5,15-8,0 1,-1-1,0 2,0-2,1 0,0 1,-1-1,1 0,0 0,-1 0,0 0,0 0,1 0,0 0,-1 0,1 0,0 0,-2-1,2 1,-1 0,1-2,0 2,-1-1,1 1,0-1,-1-1,1 2,0-1,1 0,-2-1,1 1,0 0,1 1,-2-2,1 1,1 0,-1-1,1 1,-2-2,2 2,-1 0,1-1,0 1,0 0,0-1,-1 1,1-2,0 2,1 0,-1-1,0 1,0 0,1-5,2-4,0 0,1 0,0-1,0 2,1-2,0 2,2-1,-2 1,2 1,0-1,14-13,-9 9,-1 1,-1-1,0-1,-1 0,14-29,-22 39,-1 1,1-1,1 0,-2 0,1 0,-1 0,0 0,0 0,0 0,-1 0,1 0,-2 0,1 0,1 0,-1 2,-1-2,0 0,0 0,1 1,-2-1,1 1,0-1,0 2,-1-1,0 0,1 1,-2-1,1 0,-4-2,-1 1,2-1,-2 1,0 0,-2 1,2-1,0 1,-12-1,8 0,-10-1</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4.549"/>
    </inkml:context>
    <inkml:brush xml:id="br0">
      <inkml:brushProperty name="width" value="0.025" units="cm"/>
      <inkml:brushProperty name="height" value="0.025" units="cm"/>
      <inkml:brushProperty name="ignorePressure" value="1"/>
    </inkml:brush>
  </inkml:definitions>
  <inkml:trace contextRef="#ctx0" brushRef="#br0">12 5,'0'-4,"0"7,0 11,0 9,0 5,0 1,0 1,0-1,0-1,0 0,0-1,-4-6,-2-1,5 1,2-5</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049"/>
    </inkml:context>
    <inkml:brush xml:id="br0">
      <inkml:brushProperty name="width" value="0.025" units="cm"/>
      <inkml:brushProperty name="height" value="0.025" units="cm"/>
      <inkml:brushProperty name="ignorePressure" value="1"/>
    </inkml:brush>
  </inkml:definitions>
  <inkml:trace contextRef="#ctx0" brushRef="#br0">0 1,'9'0,"7"0,10 0,4 0,2 0,0 0,-1 0,2 0,2 0,2 0,-1 0,3 0,0 0,-5 0,-4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764"/>
    </inkml:context>
    <inkml:brush xml:id="br0">
      <inkml:brushProperty name="width" value="0.025" units="cm"/>
      <inkml:brushProperty name="height" value="0.025" units="cm"/>
      <inkml:brushProperty name="ignorePressure" value="1"/>
    </inkml:brush>
  </inkml:definitions>
  <inkml:trace contextRef="#ctx0" brushRef="#br0">79 0,'-4'7,"0"-1,0 1,1 0,-1 1,1-2,2 2,-2-1,2 1,0 0,-1-1,1 1,1 0,0 0,1 12,-3 37,-13 15,-14 93,26-145</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6.253"/>
    </inkml:context>
    <inkml:brush xml:id="br0">
      <inkml:brushProperty name="width" value="0.025" units="cm"/>
      <inkml:brushProperty name="height" value="0.025" units="cm"/>
      <inkml:brushProperty name="ignorePressure" value="1"/>
    </inkml:brush>
  </inkml:definitions>
  <inkml:trace contextRef="#ctx0" brushRef="#br0">1 104,'69'-4,"102"-18,2 1,347-34,-496 54</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7.484"/>
    </inkml:context>
    <inkml:brush xml:id="br0">
      <inkml:brushProperty name="width" value="0.025" units="cm"/>
      <inkml:brushProperty name="height" value="0.025" units="cm"/>
      <inkml:brushProperty name="ignorePressure" value="1"/>
    </inkml:brush>
  </inkml:definitions>
  <inkml:trace contextRef="#ctx0" brushRef="#br0">348 47,'1'-2,"1"0,-1 0,0 1,1-2,-1 2,2 0,-2-1,0 1,2 0,-2-1,2 1,-2 0,2-1,0 2,-2-1,2 0,-1 1,0 0,0-2,1 2,0 0,-2 0,6 0,27-10,-36 3,-14 4,-16 2,13 5,-1 0,0 0,1 3,1-1,-1 1,2 2,-2-1,2 3,1 0,-2-1,-26 28,43-37,1-1,-1 1,1 1,-2-2,2 1,0 0,-1 1,1-2,0 1,0 0,0 1,0-1,-1 0,1-1,0 2,0-1,1 0,-1 1,0-2,0 1,0 0,0 1,1-1,-1-1,0 1,2 1,-2-1,1-1,-1 1,1 1,-1-2,2 1,-2-1,1 1,0 1,-1-2,2 1,-1-1,-1 0,3 1,50 30,-30-20,-21-10,1 0,0 1,-1 0,1 0,-2-1,2 0,0 2,-2-2,0 2,2 0,-2-2,1 2,-1-1,2 1,-2 0,-1-1,1 0,1 2,-1-2,-1 1,1 0,-1-1,0 5,0-4,-1-1,0 2,-1-1,1 0,0-1,-1 1,1 0,0-1,-2 1,2 0,-2-1,0 0,2 0,-2 0,1 0,-1 0,-4 2,-6 4,-2 0,2-2,-3 1,1-2,1 1,-2-2,-18 2,-27-2,33-2</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8.112"/>
    </inkml:context>
    <inkml:brush xml:id="br0">
      <inkml:brushProperty name="width" value="0.025" units="cm"/>
      <inkml:brushProperty name="height" value="0.025" units="cm"/>
      <inkml:brushProperty name="ignorePressure" value="1"/>
    </inkml:brush>
  </inkml:definitions>
  <inkml:trace contextRef="#ctx0" brushRef="#br0">104 49,'-1'-1,"1"1,-2 0,2-2,-1 2,1 0,-1-1,1 1,-2 0,2 0,-1-1,1 1,-1 0,1 0,-2 0,1 0,1 0,-1 0,1 0,-2 0,2 0,-1 0,0 0,1 0,-2 0,2 1,-1-1,1 0,-1 0,1 0,-2 1,2-1,-1 0,1 2,-1-2,1 1,-2-1,2 0,0 1,-1 1,-32 18,30-18,-1 1,1 1,-1-1,2 1,-1-2,0 2,1 0,-1-1,0 1,2 0,-2 0,2 0,0 1,-1-1,1 0,0 0,-1 2,2-2,0 0,-1 1,1-1,0 0,1 1,-1-1,2 2,-2-2,1 0,0 0,1 0,0 1,0-1,0 0,0 0,0-1,5 6,-3-4,0 1,0-1,0-1,1 0,-1 1,2-1,-1-1,0 1,1 0,-1-1,0-1,2 1,-2 0,2-2,-2 2,2-2,0 0,-2-1,2 2,-1-2,1 0,-2 0,2 0,0 0,6-3,-8 2,-1-1,2 1,-2 0,0-2,1 2,-1-2,0 0,0 1,0-1,0 0,-1 1,1-2,-2 1,2-1,-1 1,0-1,-1 0,1 0,0 0,-1 0,0-1,-1 1,2 0,-2-1,0 1,1-8,-1 5,-1 0,0 1,-1-1,1 2,-2-2,1 0,0 1,-2 0,2 0,-2-1,0 2,1-1,-2 0,1 0,-1 1,0 0,0-1,-8-6,4 6,-1-2,-1 2,1 0,0 0,-1 1,0 0,0 1,0 0,-1 1,0 0,-13-2,0 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2.645"/>
    </inkml:context>
    <inkml:brush xml:id="br0">
      <inkml:brushProperty name="width" value="0.025" units="cm"/>
      <inkml:brushProperty name="height" value="0.025" units="cm"/>
      <inkml:brushProperty name="ignorePressure" value="1"/>
    </inkml:brush>
  </inkml:definitions>
  <inkml:trace contextRef="#ctx0" brushRef="#br0">24 1,'0'4,"-4"5,-1 7,-2 6,3 0,0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105"/>
    </inkml:context>
    <inkml:brush xml:id="br0">
      <inkml:brushProperty name="width" value="0.025" units="cm"/>
      <inkml:brushProperty name="height" value="0.025" units="cm"/>
      <inkml:brushProperty name="ignorePressure" value="1"/>
    </inkml:brush>
  </inkml:definitions>
  <inkml:trace contextRef="#ctx0" brushRef="#br0">281 0,'-3'1,"-1"1,0 0,2 0,-1 0,-1 1,1-2,1 2,-1 0,0-1,1 1,-1 1,-4 4,-5 7,-32 25,0 0,-77 90,120-128,-1 0,1 0,0-1,-1 2,1-2,0 2,-1-2,1 2,1-2,-1 2,1-2,-2 2,2-1,-1 0,1 0,0 1,0-2,0 2,0 0,0-2,0 2,1 2,1-4,-1 2,0-2,1 1,-1-1,0 0,2 2,-2-2,1 1,-1-1,2-1,-2 1,2 1,-2-1,2-1,-2 1,2-1,-1 2,4-2,14 2,0 1,0-2,40-3,-44 2,137 0,59-4,-189 0,-7-2</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891"/>
    </inkml:context>
    <inkml:brush xml:id="br0">
      <inkml:brushProperty name="width" value="0.025" units="cm"/>
      <inkml:brushProperty name="height" value="0.025" units="cm"/>
      <inkml:brushProperty name="ignorePressure" value="1"/>
    </inkml:brush>
  </inkml:definitions>
  <inkml:trace contextRef="#ctx0" brushRef="#br0">43 0,'0'4,"0"7,0 5,0 4,0 2,0 5,0 0,0-1,-4 1,-2 0,0-1,2 1,0-2,2 2,-3-6,-2-1,2-4</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2.637"/>
    </inkml:context>
    <inkml:brush xml:id="br0">
      <inkml:brushProperty name="width" value="0.025" units="cm"/>
      <inkml:brushProperty name="height" value="0.025" units="cm"/>
      <inkml:brushProperty name="ignorePressure" value="1"/>
    </inkml:brush>
  </inkml:definitions>
  <inkml:trace contextRef="#ctx0" brushRef="#br0">1 0,'4'9,"1"7,2 6,-3 3,-5-2,-3-2,0 0,0 3,0-5</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452"/>
    </inkml:context>
    <inkml:brush xml:id="br0">
      <inkml:brushProperty name="width" value="0.025" units="cm"/>
      <inkml:brushProperty name="height" value="0.025" units="cm"/>
      <inkml:brushProperty name="ignorePressure" value="1"/>
    </inkml:brush>
  </inkml:definitions>
  <inkml:trace contextRef="#ctx0" brushRef="#br0">0 0,'5'0,"6"0,9 0,1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788"/>
    </inkml:context>
    <inkml:brush xml:id="br0">
      <inkml:brushProperty name="width" value="0.025" units="cm"/>
      <inkml:brushProperty name="height" value="0.025" units="cm"/>
      <inkml:brushProperty name="ignorePressure" value="1"/>
    </inkml:brush>
  </inkml:definitions>
  <inkml:trace contextRef="#ctx0" brushRef="#br0">0 1,'9'0,"11"0,8 0,3 0,0 0,-1 0,0 0,-1 0,-2 0,-1 0,-4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6.638"/>
    </inkml:context>
    <inkml:brush xml:id="br0">
      <inkml:brushProperty name="width" value="0.025" units="cm"/>
      <inkml:brushProperty name="height" value="0.025" units="cm"/>
      <inkml:brushProperty name="ignorePressure" value="1"/>
    </inkml:brush>
  </inkml:definitions>
  <inkml:trace contextRef="#ctx0" brushRef="#br0">0 78,'0'-5,"0"-4,5-3,6 2,5 2,4 3,3-3,2 1,2 1,1 2,-7 1</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8.614"/>
    </inkml:context>
    <inkml:brush xml:id="br0">
      <inkml:brushProperty name="width" value="0.025" units="cm"/>
      <inkml:brushProperty name="height" value="0.025" units="cm"/>
      <inkml:brushProperty name="ignorePressure" value="1"/>
    </inkml:brush>
  </inkml:definitions>
  <inkml:trace contextRef="#ctx0" brushRef="#br0">530 0,'-242'220,"82"-81,113-103,38-31,-1 2,2-1,-1 1,1 1,0 0,0 0,-8 11,16-18,0-1,-1 1,1 1,-2-1,2-1,0 1,0 1,-1-1,1 0,0 1,0-2,0 1,0 0,0 1,0-1,0 0,0 1,0-2,0 1,1 0,-1 1,0-1,2-1,-2 1,0 1,1-1,-1-1,3 3,30 18,48-1,117-7,-41-3,106 0,-239-1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9.232"/>
    </inkml:context>
    <inkml:brush xml:id="br0">
      <inkml:brushProperty name="width" value="0.025" units="cm"/>
      <inkml:brushProperty name="height" value="0.025" units="cm"/>
      <inkml:brushProperty name="ignorePressure" value="1"/>
    </inkml:brush>
  </inkml:definitions>
  <inkml:trace contextRef="#ctx0" brushRef="#br0">285 1,'-153'412,"78"-189,58-175,-19 78,33-107</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0.362"/>
    </inkml:context>
    <inkml:brush xml:id="br0">
      <inkml:brushProperty name="width" value="0.025" units="cm"/>
      <inkml:brushProperty name="height" value="0.025" units="cm"/>
      <inkml:brushProperty name="ignorePressure" value="1"/>
    </inkml:brush>
  </inkml:definitions>
  <inkml:trace contextRef="#ctx0" brushRef="#br0">1 313,'369'-27,"-102"3,949-49,265-15,346 41,-1486 34,5 0,350 14,-590-16,-7 2,-76 13</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2.830"/>
    </inkml:context>
    <inkml:brush xml:id="br0">
      <inkml:brushProperty name="width" value="0.025" units="cm"/>
      <inkml:brushProperty name="height" value="0.025" units="cm"/>
      <inkml:brushProperty name="ignorePressure" value="1"/>
    </inkml:brush>
  </inkml:definitions>
  <inkml:trace contextRef="#ctx0" brushRef="#br0">174 1,'-10'3,"0"1,1 0,0 1,-1-1,1 3,1-2,0 2,0-2,0 3,-9 9,10-9,0 0,1 0,-1 0,2 2,-1-1,2 0,-1 1,1-1,1 0,-1 2,2-2,-1 2,0 14,2-21,1 2,0-2,0 0,0 0,1 0,-1 0,2 0,-2 0,1 0,0 0,1 0,0 0,0 0,-1 0,2-2,-1 2,1 0,0-1,-1 0,1 1,0-2,-1 1,2 0,-1-1,1 1,0-2,-1 2,1-2,0 1,0 0,0 0,0-2,0 1,0 0,8 1,-4-1,0-1,-2 0,2 0,0 0,0-1,0-1,-1 1,1 0,0-2,-1 2,1-2,-2-1,1 1,10-7,-14 8,0 0,1 0,-2 0,0-1,0 0,1 1,0-1,-2 0,2 1,-2-1,0 0,2-1,-2 2,1-2,-1 1,-1-1,1 1,-1-1,2 2,-2-2,0 0,0 1,0-1,0 1,0-1,0 0,-2 2,2-2,-1 1,0-1,-1 1,1-1,0 2,-3-5,1 3,0 0,1 0,-2 0,1 0,-1 0,1 1,-1-1,0 2,0-1,0 0,0 1,-1-1,1 2,-1-2,1 2,-2-1,2 1,-1 0,-7-2,-11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8.773"/>
    </inkml:context>
    <inkml:brush xml:id="br0">
      <inkml:brushProperty name="width" value="0.025" units="cm"/>
      <inkml:brushProperty name="height" value="0.025" units="cm"/>
      <inkml:brushProperty name="ignorePressure" value="1"/>
    </inkml:brush>
  </inkml:definitions>
  <inkml:trace contextRef="#ctx0" brushRef="#br0">47 1,'5'3,"2"1,-2-2,0 1,2-2,0 2,-2-2,10 2,-5 0,1-1,0 1,-2 1,2 0,11 7,-20-10,-1 0,0-1,1 2,-1-1,0 0,1 1,-2-1,1 0,0 1,-1-1,2 0,-1 1,-1-1,1 0,-1 1,0-1,2 0,-2 1,0 0,0 0,0-1,1 0,-1 1,0 0,-1 0,1-1,0 0,0 1,0 0,-2 0,2-1,-1 0,1 1,-1-1,1 0,-2 1,1-1,1 0,-1 1,-2 0,-1 2,0 2,0-2,-1 0,1 0,-2-2,2 2,-1-1,0 1,-9 1,9-2,1 0,-1-1,-1 1,2 0,-1 1,1 0,-8 6,64 12,-51-22,2 1,0 0,-2 1,2-1,-2 0,0 1,2-1,-2 0,1 1,-1-1,2 2,-2-2,0 0,1 2,-2-2,1 2,0 0,1-2,-2 2,1-2,-1 2,1-1,-1 1,0-2,0 2,2 0,-2-2,0 2,-2-1,2 1,0-2,0 2,-1 0,1-2,-1 2,-1-1,2 0,-1 0,0 0,-1 0,1 0,0 0,-1 0,1-1,-4 3,-1 1,0 1,0-1,0-1,-1 0,0 0,-1 0,2-1,-2 1,1-2,-1 0,0 0,-11 1,-6 0,1-3</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3.681"/>
    </inkml:context>
    <inkml:brush xml:id="br0">
      <inkml:brushProperty name="width" value="0.025" units="cm"/>
      <inkml:brushProperty name="height" value="0.025" units="cm"/>
      <inkml:brushProperty name="ignorePressure" value="1"/>
    </inkml:brush>
  </inkml:definitions>
  <inkml:trace contextRef="#ctx0" brushRef="#br0">11 0,'-4'0,"-3"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4.560"/>
    </inkml:context>
    <inkml:brush xml:id="br0">
      <inkml:brushProperty name="width" value="0.025" units="cm"/>
      <inkml:brushProperty name="height" value="0.025" units="cm"/>
      <inkml:brushProperty name="ignorePressure" value="1"/>
    </inkml:brush>
  </inkml:definitions>
  <inkml:trace contextRef="#ctx0" brushRef="#br0">175 2,'0'-1,"1"1,-1 0,0 0,0 0,1 0,-1 0,0 0,2 0,-2 0,0 0,1 0,-1 0,0 0,1 0,-1 0,0 0,0 0,2 0,-2 0,0 0,1 0,-1 0,0 1,0-1,1 0,-1 0,0 0,0 0,2 2,-2-2,0 0,0 0,0 1,1-1,-1 0,0 0,0 1,0-1,0 0,0 0,0 2,1-2,-1 0,0 1,0-1,0 1,-16 17,-29 12,36-24,-2-1,2 2,-1-2,2 3,-1-1,1 1,-9 9,17-14,-2-2,1 0,0 2,1-2,-2 1,2 0,-1 0,1 0,-1 0,1-1,0 2,0-2,0 2,0-2,0 2,0-2,0 2,1 2,0-2,1 1,-1-2,0 2,2-1,0 0,-2-1,2 1,-1 1,1-3,0 2,-1 0,1-1,5 4,23 12,33 25,-60-42,-2 2,1 0,0-1,1 1,-2 0,0 1,0-2,1 2,-2-1,2 1,-2-1,2 1,-2 0,2 5,-3-6,0-1,-1 1,1 0,-2-1,2 1,-1 0,0-1,1 0,-2 0,1 1,0 0,-1-2,0 2,0-1,1 0,-2 0,2 0,-2-1,2 2,-2-2,1 0,0 1,0-1,-1 0,0 1,1-2,-1 1,0 0,1-1,-1 0,-2 2,-13 2,1 0,-2 0,-19 0,7-3,3-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5.377"/>
    </inkml:context>
    <inkml:brush xml:id="br0">
      <inkml:brushProperty name="width" value="0.025" units="cm"/>
      <inkml:brushProperty name="height" value="0.025" units="cm"/>
      <inkml:brushProperty name="ignorePressure" value="1"/>
    </inkml:brush>
  </inkml:definitions>
  <inkml:trace contextRef="#ctx0" brushRef="#br0">0 28,'13'0,"10"0,4 0,-2-4,-1-2,0 0,0 2,1 0,5 2,0 1,-3 1</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6.829"/>
    </inkml:context>
    <inkml:brush xml:id="br0">
      <inkml:brushProperty name="width" value="0.025" units="cm"/>
      <inkml:brushProperty name="height" value="0.025" units="cm"/>
      <inkml:brushProperty name="ignorePressure" value="1"/>
    </inkml:brush>
  </inkml:definitions>
  <inkml:trace contextRef="#ctx0" brushRef="#br0">104 1,'-4'8,"-3"8,2 7,1 1,-4 2,0 2,1 0,2-1,-3-4,1-2,0-1,3 1,-4 2,0 1,3 1,0 1,2-5</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244"/>
    </inkml:context>
    <inkml:brush xml:id="br0">
      <inkml:brushProperty name="width" value="0.025" units="cm"/>
      <inkml:brushProperty name="height" value="0.025" units="cm"/>
      <inkml:brushProperty name="ignorePressure" value="1"/>
    </inkml:brush>
  </inkml:definitions>
  <inkml:trace contextRef="#ctx0" brushRef="#br0">1 1,'8'0,"8"0,7 0,1 0,2 0,2 0,-1 0,1 0,-1 0,-1 0,1 0,0 0,-6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987"/>
    </inkml:context>
    <inkml:brush xml:id="br0">
      <inkml:brushProperty name="width" value="0.025" units="cm"/>
      <inkml:brushProperty name="height" value="0.025" units="cm"/>
      <inkml:brushProperty name="ignorePressure" value="1"/>
    </inkml:brush>
  </inkml:definitions>
  <inkml:trace contextRef="#ctx0" brushRef="#br0">77 38,'-8'10,"0"-1,1 0,-1 2,2 0,0-1,1 1,0 0,-1 1,2-2,2 2,-2 0,2 0,0 0,0 2,1 12,1-20,0-1,0 0,0 1,1-1,-1 0,2 1,-1-1,0 0,2-1,-2 2,2-1,0-1,-1 1,1-1,0 0,1 0,-2 2,2-4,0 2,-1 0,2 0,-1-1,0 0,0-1,2 2,-2-2,1 0,0 1,-1-2,2 1,-1-1,0 0,1 1,-1-2,0 1,6-1,-3 0,0 1,1-1,-1-1,0 1,0-1,2-1,-2 1,0-2,0 1,0-1,-2-1,2 1,0-1,-1 0,9-8,-11 8,1-1,-2 0,1-1,-1 1,0-2,0 2,-1-2,1 2,-2-2,1 1,0-1,-2 0,0 1,1-2,-1 1,0 0,-1 1,0-12,2 9,-2 0,-2-1,1 1,0 1,-1-1,1-1,-2 1,1 1,-2-1,0 1,0-2,0 2,-2 0,2 0,-1 2,-2-2,2 1,-2 0,-14-11,1 3</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8.325"/>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9.107"/>
    </inkml:context>
    <inkml:brush xml:id="br0">
      <inkml:brushProperty name="width" value="0.025" units="cm"/>
      <inkml:brushProperty name="height" value="0.025" units="cm"/>
      <inkml:brushProperty name="ignorePressure" value="1"/>
    </inkml:brush>
  </inkml:definitions>
  <inkml:trace contextRef="#ctx0" brushRef="#br0">34 38,'3'-4,"0"2,1-2,0 1,-2 0,2 1,0-1,0 0,0 2,0-2,0 2,0-2,2 2,-2 0,0-1,1 2,-1-1,1 1,-1 0,0 0,2 0,-2 0,1 0,-1 1,1-1,-1 2,0-1,2 0,-2 2,0-2,0 1,0 0,0 1,0 0,0-1,-2 1,2 0,0 1,-1-2,0 2,-1-1,1 1,0 0,-1 0,1 0,-2 0,2 0,-2 1,1-1,-1 0,0 2,1-2,-2 0,0 1,1-1,-1 1,0-1,-1 2,1-2,0 0,-2 1,1-1,0 0,-1 1,1-1,-4 6,-2 2,0 0,-1 0,0-2,-1 1,1 0,-3-1,2 0,-2-1,1 0,-14 7,9-5,0 1,1 0,0 0,-18 24,32-36,0 1,-1-1,1 2,-1-1,1-1,0 1,-2-1,2 2,0-1,0-1,-1 1,1 1,0-2,0 1,0 0,0-1,0 2,0-1,0 0,0-1,0 2,0-1,1-1,-1 1,0 1,0-2,2 1,-2 0,0-1,1 3,28 14,43-1,-54-14,0-2,0-2,-1 1,2 0,17-7,50-4,-63 12</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153"/>
    </inkml:context>
    <inkml:brush xml:id="br0">
      <inkml:brushProperty name="width" value="0.025" units="cm"/>
      <inkml:brushProperty name="height" value="0.025" units="cm"/>
      <inkml:brushProperty name="ignorePressure" value="1"/>
    </inkml:brush>
  </inkml:definitions>
  <inkml:trace contextRef="#ctx0" brushRef="#br0">333 1,'30'11,"-12"-1,-48 5,-36 5,44-16,-1 3,2-1,-1 2,1 0,0 3,1 0,0-1,-36 30,54-40,1 2,1-1,-1-1,1 1,-2 1,2-1,-1-1,1 1,0 1,-1-1,1 0,0 1,0-1,-2-1,2 1,0 1,0-1,0 0,0 1,0-1,0 0,2 1,-2-1,0 0,0-1,1 2,-1-1,0 0,1 1,-1-1,2-1,-2 1,1 1,-1-1,1-1,1 1,-2 1,1-2,0 1,-1-1,2 1,-1-1,0 2,1-2,-2 0,1 1,2-1,73 36,-51-27,-20-6,1 0,-1 1,0-2,1 2,-2 0,1 0,-1 0,0 0,0 2,0-2,0 1,3 6,-6-10,-1 2,1-2,-1 2,0-1,0 0,0 0,0 1,0-2,0 2,0 0,0-2,0 2,-1-1,1 0,-1 0,-1 0,2 0,-1 0,0 0,-1 0,1 0,0 0,-1-1,1 0,0 2,-1-2,1 1,-2-1,2 0,0 1,-2-1,2-1,-2 1,2 1,-2-2,-1 1,-11 6,2-1,-2 0,1-1,-2-1,1 0,0-1,-1-2,0 2,-26-3,19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660"/>
    </inkml:context>
    <inkml:brush xml:id="br0">
      <inkml:brushProperty name="width" value="0.025" units="cm"/>
      <inkml:brushProperty name="height" value="0.025" units="cm"/>
      <inkml:brushProperty name="ignorePressure" value="1"/>
    </inkml:brush>
  </inkml:definitions>
  <inkml:trace contextRef="#ctx0" brushRef="#br0">74 1,'0'4,"-4"7,-2 5,0 4,2 2,2 4,-5-4,0 0,1-1,2 2,0-1,-2 2,0 2,-1-1,3-4</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9.737"/>
    </inkml:context>
    <inkml:brush xml:id="br0">
      <inkml:brushProperty name="width" value="0.025" units="cm"/>
      <inkml:brushProperty name="height" value="0.025" units="cm"/>
      <inkml:brushProperty name="ignorePressure" value="1"/>
    </inkml:brush>
  </inkml:definitions>
  <inkml:trace contextRef="#ctx0" brushRef="#br0">74 7,'-5'2,"0"2,-1 0,1 0,0 0,1 2,0-2,-2 1,2 0,0-1,2 3,-2-2,1 1,0-1,1 2,-1-2,2 2,-3 9,2-14,2 1,-1 0,1-1,0 1,0 1,0-1,0-1,0 1,1 0,-1-1,2 1,-2 0,1-1,0 1,-1 0,2-1,-1 1,0 0,2-1,-2 0,1 0,0 1,0-2,0 2,0-2,0 1,1 0,-2 0,2-1,0 0,-1 1,1-1,0-1,-1 1,1 1,0-2,-1 1,1-1,0 0,-1 0,5 0,0 0,-1 0,2-1,-1-1,0 1,-1 0,1-2,0 2,-1-2,1-1,0 1,-2-1,2 2,-2-2,2-2,5-4,-8 7,-2 2,1-2,0 0,-1 1,1-1,0 0,-2-1,2 2,-2-1,2-1,-2 1,0-1,1 2,-1-2,0 0,1 1,-2-1,1 0,-1 1,0-1,0 0,0 0,0 0,0 2,-1-2,1 0,-2 0,2 1,-1-1,-3-4,0 4,1 1,-1-1,0 2,-1-1,1 0,0 1,-1-1,1 0,-2 2,2 0,-1-1,0 1,-1 0,2-1,-1 2,0 0,-1-1,1 1,0 1,-5 1,9-2,-22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990"/>
    </inkml:context>
    <inkml:brush xml:id="br0">
      <inkml:brushProperty name="width" value="0.025" units="cm"/>
      <inkml:brushProperty name="height" value="0.025" units="cm"/>
      <inkml:brushProperty name="ignorePressure" value="1"/>
    </inkml:brush>
  </inkml:definitions>
  <inkml:trace contextRef="#ctx0" brushRef="#br0">0 48,'13'0,"10"0,4 0,2 0,0-4,2-2,-3 0,0 2,-1 0,-1 2,1 1,-2 1,1 0,-1 0,2-4,-2-3,0 2,-2 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8.852"/>
    </inkml:context>
    <inkml:brush xml:id="br0">
      <inkml:brushProperty name="width" value="0.025" units="cm"/>
      <inkml:brushProperty name="height" value="0.025" units="cm"/>
      <inkml:brushProperty name="ignorePressure" value="1"/>
    </inkml:brush>
  </inkml:definitions>
  <inkml:trace contextRef="#ctx0" brushRef="#br0">102 31,'-4'0,"0"0,0 0,0 0,0 0,0 1,0-1,0 1,0 1,0-1,0 0,2 1,-2 0,0 0,1 0,-1 0,1 0,-1 1,2 0,-1-1,0 1,1 0,-1 1,0-2,2 2,-6 6,6-4,-2 1,2-2,0 2,-1 0,1-1,1 1,0 0,0-1,0 1,0 0,1-2,1 2,-1-1,4 12,-3-12,0 1,1 0,1-2,-1 2,1-2,0 2,0-2,0 0,0 1,1-1,0-1,-1 1,2-1,7 6,-9-8,0 0,0-1,1 2,-1-2,0 0,2-1,-2 2,0-2,1 1,-1-1,1 0,-1 0,2 0,-2-1,0 1,1-2,-1 1,0 0,1-1,-1 1,0-2,0 2,7-6,-6 3,-1 2,2-1,-2-1,0 1,0-1,0 0,-2 0,2 0,0 0,-1-1,0 1,-1-1,1-1,0 2,-2-1,0 0,2-1,-2 1,-1 0,2-1,-1 1,-1 0,0-1,0 1,0 0,-1-1,1 1,-2 0,1-1,0 1,-5-10,4 7,-2 2,1-1,-1 0,0 1,0 0,0 0,-1 0,-1 0,1 0,0 2,-1-1,0 0,0 1,0 0,-1 0,0 0,1 1,-1 0,-1 1,1-1,-1 0,-10-1,-5 3</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201"/>
    </inkml:context>
    <inkml:brush xml:id="br0">
      <inkml:brushProperty name="width" value="0.025" units="cm"/>
      <inkml:brushProperty name="height" value="0.025" units="cm"/>
      <inkml:brushProperty name="ignorePressure" value="1"/>
    </inkml:brush>
  </inkml:definitions>
  <inkml:trace contextRef="#ctx0" brushRef="#br0">1 0,'0'5,"0"1</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729"/>
    </inkml:context>
    <inkml:brush xml:id="br0">
      <inkml:brushProperty name="width" value="0.025" units="cm"/>
      <inkml:brushProperty name="height" value="0.025" units="cm"/>
      <inkml:brushProperty name="ignorePressure" value="1"/>
    </inkml:brush>
  </inkml:definitions>
  <inkml:trace contextRef="#ctx0" brushRef="#br0">28 0,'-4'9,"-3"7,2 4,0 6,2 0,0 1,3 1,-1 0,1-1,0-1,1 1,-1-2,0 2,0-6</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0.449"/>
    </inkml:context>
    <inkml:brush xml:id="br0">
      <inkml:brushProperty name="width" value="0.025" units="cm"/>
      <inkml:brushProperty name="height" value="0.025" units="cm"/>
      <inkml:brushProperty name="ignorePressure" value="1"/>
    </inkml:brush>
  </inkml:definitions>
  <inkml:trace contextRef="#ctx0" brushRef="#br0">9 1,'4'0,"0"0,0 0,0 0,-1 0,1 0,0 1,0-1,0 2,-1-1,1 0,0 1,-2-1,2 0,-1 1,1 0,-1 1,1-2,-2 2,1 0,0-1,-1 1,5 5,-6-4,1-1,-1 1,-1 1,1-1,-1 0,2 0,-2 0,0 0,0 0,0 0,-2 0,2 0,-1 0,1 1,-1-2,-1 1,1 0,-2 0,2 0,-4 5,-30 39,30-42,-1 0,1 1,1 0,-1-1,1 1,0 0,0 1,1-2,0 2,-2 8,5-14,0-1,1 0,-1 1,0 0,2 0,-2-1,1 0,-1 1,1-1,1 0,-2 1,1-1,0 0,1 1,-1-2,-1 1,1 0,1 1,-1-2,0 1,1 0,-1-1,0 2,2-2,-2 0,1 1,-1-1,0 0,1 0,0 1,0-1,-1 0,0 0,1 0,-1 0,3-1,60-3,44-19,-84 21</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182"/>
    </inkml:context>
    <inkml:brush xml:id="br0">
      <inkml:brushProperty name="width" value="0.025" units="cm"/>
      <inkml:brushProperty name="height" value="0.025" units="cm"/>
      <inkml:brushProperty name="ignorePressure" value="1"/>
    </inkml:brush>
  </inkml:definitions>
  <inkml:trace contextRef="#ctx0" brushRef="#br0">161 9,'7'-1,"-14"-3,-22 0,25 5,-66 14,66-15,0 1,0 1,0-1,0 0,0 2,0-2,0 2,0-2,2 2,-2 0,1-1,-1 1,-3 5,7-7,0 1,-1-1,1 0,0 1,0-1,0 0,0 1,0-1,0 0,0 1,0-1,0 0,0 1,1-1,-1 0,0 1,2-1,-2 0,1 1,-1-1,1 0,-1 1,2-2,-1 1,-1 0,1 1,1-2,-1 1,0 0,1-1,-2 2,4-1,44 27,-42-24,14 5,-6-2,-1 0,0-1,1 2,-2 0,20 18,-30-25,0 2,0-1,1 1,-2 0,1 1,0-2,0 1,-1 0,0 1,1-2,-1 1,-1 1,1-1,-1 1,2-2,-2 2,0-1,0 1,0 0,0-1,-2 1,2-2,-1 2,1-1,-1 0,-1 1,1-2,0 2,-1-1,1 0,-3 2,-1 3,-1 0,1-1,0-1,-2 1,0 0,1-1,-2 0,1-1,-1 0,1 1,-17 6,4-3</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630"/>
    </inkml:context>
    <inkml:brush xml:id="br0">
      <inkml:brushProperty name="width" value="0.025" units="cm"/>
      <inkml:brushProperty name="height" value="0.025" units="cm"/>
      <inkml:brushProperty name="ignorePressure" value="1"/>
    </inkml:brush>
  </inkml:definitions>
  <inkml:trace contextRef="#ctx0" brushRef="#br0">28 0,'0'9,"0"7,-5 6,-1 2,1 2,0 2,2 0,0-1,2 0,1-1,0 1,0 0,0-2,1-4</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945"/>
    </inkml:context>
    <inkml:brush xml:id="br0">
      <inkml:brushProperty name="width" value="0.025" units="cm"/>
      <inkml:brushProperty name="height" value="0.025" units="cm"/>
      <inkml:brushProperty name="ignorePressure" value="1"/>
    </inkml:brush>
  </inkml:definitions>
  <inkml:trace contextRef="#ctx0" brushRef="#br0">0 52,'9'0,"7"0,6-4,3-3,2 2,-1 0,2 2,0-4,-1 1,0-1,-1 3,-4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273"/>
    </inkml:context>
    <inkml:brush xml:id="br0">
      <inkml:brushProperty name="width" value="0.025" units="cm"/>
      <inkml:brushProperty name="height" value="0.025" units="cm"/>
      <inkml:brushProperty name="ignorePressure" value="1"/>
    </inkml:brush>
  </inkml:definitions>
  <inkml:trace contextRef="#ctx0" brushRef="#br0">71 49,'-3'2,"-1"-2,1 0,-1 1,2 0,-1-1,-1 2,1-1,1 0,-1 2,0-2,1 1,-1 0,0 0,1 0,-1 1,0-2,2 2,-2 0,2-1,-2 1,2 0,0-1,-1 2,1-1,0 0,-1-1,1 2,1-1,-1 1,1-1,0-1,0 2,0 4,-2 2,1-2,1 1,1-1,-1 1,2-1,-1 2,0-2,2 0,-2 1,3-1,6 15,-5-18,0 2,1-2,0 0,0 1,0-1,1-1,0 0,-1 0,2 0,-1 0,1-1,0-1,-1 1,1 0,0-2,0 0,0 1,0-2,0 1,0-1,12-1,-12 1,0-2,0 2,-2-1,2 0,0-2,-1 2,1-2,-1 0,1 1,-2-2,1 0,0 0,-1 0,0 0,0-2,0 2,0-1,0-2,-1 2,-1 0,1-2,6-9,-10 11,1-1,-2 1,1 0,0-1,-1 1,0 0,0-1,0 1,-1 1,1-1,-1-1,-1 1,1 0,0-1,-2 2,2-1,-2 0,0 1,1 0,-1-2,0 2,-1 0,2 0,-2 0,0 0,-6-4,-3-2,1-2,-1 2,-2 1,2 0,-2-1,0 4,-18-9,9 7</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609"/>
    </inkml:context>
    <inkml:brush xml:id="br0">
      <inkml:brushProperty name="width" value="0.025" units="cm"/>
      <inkml:brushProperty name="height" value="0.025" units="cm"/>
      <inkml:brushProperty name="ignorePressure" value="1"/>
    </inkml:brush>
  </inkml:definitions>
  <inkml:trace contextRef="#ctx0" brushRef="#br0">0 1,'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0.938"/>
    </inkml:context>
    <inkml:brush xml:id="br0">
      <inkml:brushProperty name="width" value="0.025" units="cm"/>
      <inkml:brushProperty name="height" value="0.025" units="cm"/>
      <inkml:brushProperty name="ignorePressure" value="1"/>
    </inkml:brush>
  </inkml:definitions>
  <inkml:trace contextRef="#ctx0" brushRef="#br0">136 0,'-62'81,"1"2,60-83,1 0,-2 1,1-1,1 2,-1-2,1 1,-2-1,2 1,-1-1,1 2,-1-1,1-1,0 1,-2 1,2-2,0 1,0 0,-1 1,1-2,0 1,0 0,0-1,0 2,0-1,0 0,0-1,0 2,0-1,0 0,0-1,1 2,-1-1,2 2,-1-2,2 0,-2 1,2-1,-1 0,0 1,0-1,1-1,0 1,-1-1,0 2,0-2,1 1,2-1,102 1,-91-2,64 0,-57 1</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1.477"/>
    </inkml:context>
    <inkml:brush xml:id="br0">
      <inkml:brushProperty name="width" value="0.025" units="cm"/>
      <inkml:brushProperty name="height" value="0.025" units="cm"/>
      <inkml:brushProperty name="ignorePressure" value="1"/>
    </inkml:brush>
  </inkml:definitions>
  <inkml:trace contextRef="#ctx0" brushRef="#br0">72 0,'-7'9,"-1"-1,2 2,-1-2,2 1,-1 2,1-2,0 2,1-2,0 2,1-1,0 1,1 1,-2 13,2-17,2-1,-1 1,1-1,0 1,1-2,-1 2,2-1,-1 0,0 1,2-2,0 1,-1 0,1 1,0-3,1 2,0-1,0 1,0-2,1 1,-1 0,8 5,-9-8,-1-1,2 0,0 0,-1 0,1 0,0 0,0-1,-1 0,1 1,0-1,0-1,0 1,0-1,0 0,0 0,0 0,1 0,-1 0,0-1,0 1,0-1,-1-1,1 1,0 0,0-1,0 1,-2-2,2 2,0-2,-1 1,4-4,-2 2,-1 0,0 0,0-1,0 1,-1-1,1 1,-2-2,1 1,0 0,-1-1,1 1,-2 0,1-1,-1 0,0 0,1 1,-1-2,-1 2,0-2,0 2,-1-7,-2 0,0 1,-1 1,0-1,-1 0,0 2,-1-2,1 2,-2 0,1-1,-2 2,1-1,-1 1,-1 0,1 1,-2-1,1 2,0 0,-15-7,8 6</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2.124"/>
    </inkml:context>
    <inkml:brush xml:id="br0">
      <inkml:brushProperty name="width" value="0.025" units="cm"/>
      <inkml:brushProperty name="height" value="0.025" units="cm"/>
      <inkml:brushProperty name="ignorePressure" value="1"/>
    </inkml:brush>
  </inkml:definitions>
  <inkml:trace contextRef="#ctx0" brushRef="#br0">21 2,'3'0,"0"-1,-1 1,0 0,0 0,1 0,0 0,-1 0,0 0,0 1,1-1,0 0,-2 2,2-1,-1-1,1 1,-2 1,2-1,-2 0,2 1,-2-1,2 0,-2 1,1 0,-1 0,2-1,-2 2,0-2,1 2,-1-2,-1 2,1-1,1 0,-1 0,-1 1,1-2,-1 2,0 0,2-1,-2 1,0-2,0 2,0 0,0-1,-2 1,2-2,0 2,-1 0,1-1,-1 0,-2 4,-4 12,1-2,-1 0,-2-2,1 2,-19 22,8-5,19-32,0-1,0 2,-1-1,1-1,0 1,0 1,0-2,0 1,0 0,0-1,0 2,1-1,-1-1,0 1,0-1,0 2,2-1,-2-1,0 1,1-1,-1 2,1-1,3 2,-1-2,1 0,0 2,0-2,-1 1,1-2,0 1,0 0,0-1,0 0,0 0,0 0,8 0,12 0,0-1,0-2,38-7,-38 4</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4.702"/>
    </inkml:context>
    <inkml:brush xml:id="br0">
      <inkml:brushProperty name="width" value="0.025" units="cm"/>
      <inkml:brushProperty name="height" value="0.025" units="cm"/>
      <inkml:brushProperty name="ignorePressure" value="1"/>
    </inkml:brush>
  </inkml:definitions>
  <inkml:trace contextRef="#ctx0" brushRef="#br0">1 1,'8'0,"9"0,5 0,2 0,2 0,2 0,0 0,-1 0,0 0,5 0,0 0,-2 0,-3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5.898"/>
    </inkml:context>
    <inkml:brush xml:id="br0">
      <inkml:brushProperty name="width" value="0.025" units="cm"/>
      <inkml:brushProperty name="height" value="0.025" units="cm"/>
      <inkml:brushProperty name="ignorePressure" value="1"/>
    </inkml:brush>
  </inkml:definitions>
  <inkml:trace contextRef="#ctx0" brushRef="#br0">1 20,'13'0,"13"-4,7-2,2 1,-6 1</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7.881"/>
    </inkml:context>
    <inkml:brush xml:id="br0">
      <inkml:brushProperty name="width" value="0.025" units="cm"/>
      <inkml:brushProperty name="height" value="0.025" units="cm"/>
      <inkml:brushProperty name="ignorePressure" value="1"/>
    </inkml:brush>
  </inkml:definitions>
  <inkml:trace contextRef="#ctx0" brushRef="#br0">0 0,'5'0,"5"0,6 0,4 0,4 0,1 0,2 0,-1 0,1 0,0 0,-1 0,1 0,0 0,-2 0,2 0,-6 0</inkml:trace>
</inkml:ink>
</file>

<file path=ppt/ink/ink9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11:57.685"/>
    </inkml:context>
    <inkml:brush xml:id="br0">
      <inkml:brushProperty name="width" value="0.05292" units="cm"/>
      <inkml:brushProperty name="height" value="0.05292" units="cm"/>
      <inkml:brushProperty name="color" value="#0070C0"/>
    </inkml:brush>
  </inkml:definitions>
  <inkml:trace contextRef="#ctx0" brushRef="#br0">6011 6451 0,'-89'230'0,"89"-213"0,0 2 15,-18 51 1,18-52-16,-17-18 0,17 17 0,0 0 16,0 1-16,0 0 0</inkml:trace>
  <inkml:trace contextRef="#ctx0" brushRef="#br0" timeOffset="253.07">6663 6487 0,'-71'71'0,"71"-54"0,-17 1 16,-19 35-16,19-36 16,-1 18-16,1-16 0</inkml:trace>
  <inkml:trace contextRef="#ctx0" brushRef="#br0" timeOffset="486.11">6363 6610 0,'17'0'16,"2"0"-16,-2 0 16,1 17-16,-1-17 0,2 19 15,-2-2-15,0-17 16,-17 18-16,54-1 15,-20 2-15,-16-19 0,0 0 16</inkml:trace>
  <inkml:trace contextRef="#ctx0" brushRef="#br0" timeOffset="704.8">7122 6381 0,'0'36'15,"0"-19"1,0 0-16,0 1 0,-18 52 16,18-34-16,-17 16 15,17-33-15,0-2 0,0 1 16,0-1-16,0 2 0</inkml:trace>
  <inkml:trace contextRef="#ctx0" brushRef="#br0" timeOffset="925.84">7456 6681 0,'-52'17'31,"34"2"-31,-17-2 0,18 18 16,-1-17-16,-18 17 16,19-18-16,0 1 0,-2 18 0,2-19 15,-18 0-15,16 19 16,2-18-16,0-1 0,17 2 0,-18-2 16,18 0-16,-17-17 0</inkml:trace>
  <inkml:trace contextRef="#ctx0" brushRef="#br0" timeOffset="1242.67">7651 7034 0,'-36'0'16,"19"0"-16,-1 0 0,18 17 0,-17-17 15,0 18-15,-2-18 0,-16 36 16,-1-19 0,19 0-16,0-17 15,17 18-15,0 0 16,17 0 0,36-18-1,-35 0 1,-1 17-16,2-17 0,-2-17 0,0 17 15,1 0-15,18 0 0,-2 0 16,-16-18-16,0 18 16</inkml:trace>
  <inkml:trace contextRef="#ctx0" brushRef="#br0" timeOffset="1440.74">7792 6998 0,'-18'0'15,"18"19"-15,-18-2 0,18 0 0,-17 54 16,17-36 0,-17 1-16,17-2 0,0 2 15,0-18-15,0 16 0,0 2 0,0-18 16,0 18-16,0 16 16,0-35-16,0 2 0,17-2 15,0-17-15</inkml:trace>
  <inkml:trace contextRef="#ctx0" brushRef="#br0" timeOffset="1717.28">8498 6487 0,'-18'35'31,"18"-18"-31,0 19 16,0-18-16,0 16 0,0-15 0,0 69 16,18 0-1,-18-35 1,0-18-1</inkml:trace>
  <inkml:trace contextRef="#ctx0" brushRef="#br0" timeOffset="1905.27">8251 6769 0,'35'-18'16,"-18"18"-16,2-17 0,-2 17 16,18 0-16,-17 0 0,17-17 15,-18 17-15,19 0 0,-18 0 0,16-19 16,2 19-16,-18 0 0</inkml:trace>
  <inkml:trace contextRef="#ctx0" brushRef="#br0" timeOffset="2565.69">10208 6310 0,'54'-17'16,"-37"17"-16,0 0 16,-17 17-16,19-17 15,-19 19-15,-19-2 0,19 18 16,-17-18-16,0 2 0,-1 15 16,0-16-16,-17 35 15,18-36-15,17 2 16,-19-2-16,2 1 0,17-1 15,0 0 1,17-17 0,2 0-16,-2 0 0,18 0 0,54-17 31,-54 17-31,-18 0 0,19 0 16,-19-17-16,18 17 0,-16-18 0,15 18 15,1-17-15,-16-2 0</inkml:trace>
  <inkml:trace contextRef="#ctx0" brushRef="#br0" timeOffset="2742.48">10967 6293 0,'0'0'0,"-17"36"32,-19-2-17,36 1-15,-18-16 0,-35 51 16,36-52-16,-1 16 15,1-15-15,-36 33 16,53-35-16,-18 2 0,1-2 16</inkml:trace>
  <inkml:trace contextRef="#ctx0" brushRef="#br0" timeOffset="2920.86">10684 6558 0,'0'0'16,"19"-19"-16,-2 19 15,-17-17-15,35 17 0,1 0 16,-19 17 0,1-17-16,-1 0 0,2 0 15,15 19-15,-16-19 16,0 0-16,0 0 16,-1-19-16</inkml:trace>
  <inkml:trace contextRef="#ctx0" brushRef="#br0" timeOffset="3105.26">11372 6187 0,'18'-18'0,"-18"0"15,-18 72 17,18-37-32,-17 0 0,17 2 15,-17 16-15,17 1 0,-18-19 0,18 0 16,0 18-16,0-16 15,18 51 1,-1-52-16</inkml:trace>
  <inkml:trace contextRef="#ctx0" brushRef="#br0" timeOffset="3327.75">11743 6381 0,'-53'36'15,"35"-19"-15,1 0 16,-36 37-16,-89 87 16,72-70-1,18-19-15,34-16 16,-18-2-16,19 2 16,0-18-16,-2-18 0,19 34 31,0-15-31</inkml:trace>
  <inkml:trace contextRef="#ctx0" brushRef="#br0" timeOffset="3633.07">11760 6805 0,'-34'0'15,"16"17"-15,0-17 16,0 17-16,1 1 16,0 0-16,-2-18 15,2 18-15,17-1 0,-18 0 16,18 2-16,-17-19 16,17 17-16,0 1 15,17-1 1,1-17-16,-1 0 0,2 0 15,-2 0-15,0 0 16,37-17-16,-37 17 16,0-18-16,2 18 0,-2-17 0</inkml:trace>
  <inkml:trace contextRef="#ctx0" brushRef="#br0" timeOffset="3822.75">11902 6769 0,'-35'36'15,"35"-19"-15,-19 0 16,19 37-16,-17-37 16,17 19-16,0-19 0,0 1 15,0 18-15,0-19 0,0 35 0,17 1 16,2-17 0,-2-18-16,-17-1 0,35 0 15,-16-17-15,-2 18 0,0-18 16</inkml:trace>
  <inkml:trace contextRef="#ctx0" brushRef="#br0" timeOffset="4099.87">12766 6222 0,'0'36'31,"18"-19"-15,-18 18-16,0 36 15,0-54-15,0 36 0,0-35 16,0 18-16,0-19 15,0 19-15,0-19 16</inkml:trace>
  <inkml:trace contextRef="#ctx0" brushRef="#br0" timeOffset="4270.75">12607 6505 0,'88'-36'0,"-35"36"16,-17-18-16,-1 18 16,0 0-16,18 0 0,54-17 15</inkml:trace>
  <inkml:trace contextRef="#ctx0" brushRef="#br0" timeOffset="4714.79">14107 6099 0,'105'18'0,"-105"-1"16,0 0-1,0 1-15,0 0 16,18 53 15,-18-54-31,0 1 16,0-1-16,0 36 15,-18-53-15,1 35 16,-36 1 0,35-19-16,1-17 15,-19 18-15,19-18 0,17 18 16,-18-18-16</inkml:trace>
  <inkml:trace contextRef="#ctx0" brushRef="#br0" timeOffset="4900.2">14424 6117 0,'18'0'31,"-1"17"-31,-17 18 15,-17-17-15,17 0 0,0-1 16,-18 54 0,18-54-16,-17 19 0,17-19 15,-19 18-15</inkml:trace>
  <inkml:trace contextRef="#ctx0" brushRef="#br0" timeOffset="5086.34">14336 6239 0,'18'0'15,"-1"19"1,0-19-16,2 0 0,-2 17 0,1-17 16,35 18-16,52-1 31,-87-17-31,18 0 0,-19 0 0,0 0 0</inkml:trace>
  <inkml:trace contextRef="#ctx0" brushRef="#br0" timeOffset="5308.33">15130 5870 0,'-18'35'0,"18"-18"0,0 36 16,-17-35-16,17-1 15,-19 54-15,19-53 16,-17 34-16,17-34 0,0 0 0,0 0 16,17-1-16,-17 0 15,19 2-15</inkml:trace>
  <inkml:trace contextRef="#ctx0" brushRef="#br0" timeOffset="5522.48">15554 6134 0,'17'-17'0,"-88"87"32,54-52-32,-19 16 15,1 2-15,-142 158 16,125-141-16,16-17 15,1-1-15,-1-1 0,2 2 0,-20 18 16,37-20-16,0-16 16,-1 0-16,0 17 15,18-18 1</inkml:trace>
  <inkml:trace contextRef="#ctx0" brushRef="#br0" timeOffset="5830.05">15588 6717 0,'-34'0'31,"-2"0"-31,18 17 16,-18 0-16,19 1 15,0 0-15,-1-18 16,18 18-16,-17-1 16,17 0-16,17-17 31,1 0-31,16 0 16,20-17-1,-37 17-15,2-17 0,-2-1 16,0 18-16,1-18 0</inkml:trace>
  <inkml:trace contextRef="#ctx0" brushRef="#br0" timeOffset="5992.27">15694 6663 0,'18'0'0,"-36"0"16,18 35 15,-18 18-15,1-35-16,17 35 0,-17 0 15,17-35 1,0 16-16,17 20 15,0-37-15,-17 2 0,18-19 16,0 0-16</inkml:trace>
  <inkml:trace contextRef="#ctx0" brushRef="#br0" timeOffset="6249.29">16611 5975 0,'53'142'0,"-53"-108"16,0 2-16,0-18 0,0 16 16</inkml:trace>
  <inkml:trace contextRef="#ctx0" brushRef="#br0" timeOffset="6432.1">16488 6205 0,'71'-18'0,"-19"0"15,-16 18-15,-19 0 0,18-18 16,1 18-16,-19 0 0,19 0 16,16 0-1</inkml:trace>
  <inkml:trace contextRef="#ctx0" brushRef="#br0" timeOffset="6803.58">18111 5958 0,'-36'17'0,"19"1"16,-1-18-16,1 17 0,-2 19 16,2-36-16,0 17 15,-19 19-15,18-18 16,18-1-16,-17 0 0,17 1 15,0 0-15,17-18 16,19 18 0,-1-1-16,-18-17 0,19 0 0,-1 0 15,1 0-15,-19 0 0,18 0 16,1 0-16,-1 0 0,18 0 16,-17-17-16,-19-1 15</inkml:trace>
  <inkml:trace contextRef="#ctx0" brushRef="#br0" timeOffset="7013.7">18287 5870 0,'0'17'0,"0"-34"16,-17 52-16,17-18 0,-18 2 15,0 121 1,18-104-16,-18-2 15,18 2-15,0 16 16,0-33-16,0-2 0,0 18 0,0-16 16,0-2-16,18-17 15,-18 17-15</inkml:trace>
  <inkml:trace contextRef="#ctx0" brushRef="#br0" timeOffset="7218.67">18940 5905 0,'-36'36'15,"36"-19"-15,-17 0 16,0 1-16,-37 35 0,37-18 16,0-17-16,-19 17 0,18 0 15,-35 54 1,53-72-16,-17 1 0,17-1 15,-18 2-15</inkml:trace>
  <inkml:trace contextRef="#ctx0" brushRef="#br0" timeOffset="7428.44">18692 5958 0,'36'35'16,"-36"-18"0,18-17-16,-1 36 0,2-19 15,-2-17-15,0 18 0,1 0 16,35 0 0,-36-18-16,1 17 0</inkml:trace>
  <inkml:trace contextRef="#ctx0" brushRef="#br0" timeOffset="7624.88">19363 5622 0,'0'0'16,"-17"36"0,-1-19-16,18 19 15,-18-18-15,18 16 0,-18 20 16,1-20-16,0 20 0,-19 34 15,18-52-15,1-2 0,0 2 0,-2 52 32,19-53-32</inkml:trace>
  <inkml:trace contextRef="#ctx0" brushRef="#br0" timeOffset="7866.89">19698 6151 0,'-35'18'16,"-1"0"-1,19 0-15,-1-1 0,-35 0 16,18 19-16,-1-1 0,2 1 0,-90 52 16,89-53-1,18-17-15,-19 17 0,18-18 0,1 2 0,0-2 16,-2 18-16,2-35 15,17 17-15,-18 2 32</inkml:trace>
  <inkml:trace contextRef="#ctx0" brushRef="#br0" timeOffset="8292.95">19575 6522 0,'-71'17'32,"54"-17"-32,-2 0 0,2 19 15,0-19-15,-18 17 0,16 1 16,2-18-16,0 17 0,-1-17 16,0 17-16,0 2 15,18-2 1,18-17-1,0 0-15,0 0 0,-1 0 16,0 0-16,19-17 0,35-19 31,-54 36-31,18-17 0,-16 17 16,-2-18-16,0 18 16,-17 18-1,0-1 1,-17 0-16,17 2 0,0-2 15,-17 1-15,17-1 0,0 2 0,-19-2 16,19 18-16,-17 53 16,17-70-1,0 0-15,0-1 16,17-17-16,-17 17 16</inkml:trace>
  <inkml:trace contextRef="#ctx0" brushRef="#br0" timeOffset="10193.25">6980 7651 0,'18'-17'0,"0"17"15,0 0-15,16 0 0,73-19 16,-36 2-16,17 0 0,17-1 16,178-18-1,-178 19-15</inkml:trace>
  <inkml:trace contextRef="#ctx0" brushRef="#br0" timeOffset="10527.01">11831 7281 0,'36'-18'16,"-19"18"-1,18 0-15,54 0 0,-54 0 16,18 0-16,-1-18 16,72 18-16,-53 0 0,0 0 15,-1-18-15</inkml:trace>
  <inkml:trace contextRef="#ctx0" brushRef="#br0" timeOffset="10837.58">16171 7369 0,'123'-18'31,"-87"18"-31,34-17 0,0 17 16,71-19-16,36-15 15</inkml:trace>
  <inkml:trace contextRef="#ctx0" brushRef="#br0" timeOffset="11052.72">20475 7139 0,'17'0'16,"1"0"-16,-53 0 0,87 0 15,-35 0-15,2-17 16,-2 17-16,18 0 16,18 0-16</inkml:trace>
  <inkml:trace contextRef="#ctx0" brushRef="#br0" timeOffset="11424.7">22820 5887 0,'35'0'0,"1"0"16,-1 0-16,-17 0 0,0 0 16,-1 0-16,0 0 0</inkml:trace>
  <inkml:trace contextRef="#ctx0" brushRef="#br0" timeOffset="11603.87">22820 6187 0,'18'0'15,"-1"-18"-15,2 18 16,-73 18-16,125-36 0,-54 18 0,1 0 0,0-18 15,34 18-15,-34 0 0</inkml:trace>
  <inkml:trace contextRef="#ctx0" brushRef="#br0" timeOffset="17646.29">24990 5658 0,'0'-17'16,"-18"51"-1,18 2-15,0-18 0,-17-1 0,17 18 16,-19 1-16,19-19 0,-17 19 0,17-1 15,-17 1-15,17-19 16,-18 54-16,18-54 0,0 18 0,-17-17 16,17 0-16,0-1 0,0 0 0,0 1 15</inkml:trace>
  <inkml:trace contextRef="#ctx0" brushRef="#br0" timeOffset="17898.47">25536 5975 0,'-34'-17'0,"16"17"15,-123 71 1,88-54-16,18 0 0,-18 19 15,-1-1-15,-34 18 0,35-18 16,18-18-16,-35 54 16,35-52-16,16-2 0,2 0 0,17 1 15</inkml:trace>
  <inkml:trace contextRef="#ctx0" brushRef="#br0" timeOffset="18051.22">25343 6239 0,'-36'19'16,"19"16"-16,70-89 0,-160 144 0,73-56 0,-142 108 16,52-20-1,53-68-15,18 16 0,-70 54 16,52-72-16,18 2 0,1-1 16</inkml:trace>
</inkml:ink>
</file>

<file path=ppt/ink/ink9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12:24.704"/>
    </inkml:context>
    <inkml:brush xml:id="br0">
      <inkml:brushProperty name="width" value="0.05292" units="cm"/>
      <inkml:brushProperty name="height" value="0.05292" units="cm"/>
      <inkml:brushProperty name="color" value="#0070C0"/>
    </inkml:brush>
  </inkml:definitions>
  <inkml:trace contextRef="#ctx0" brushRef="#br0">20924 2844 0,'52'0'16,"-33"0"-16,16 0 0,1 0 16,-19 19-16,18-19 0,1 0 15,-2 0-15</inkml:trace>
  <inkml:trace contextRef="#ctx0" brushRef="#br0" timeOffset="208.38">20942 2951 0,'34'0'16,"-15"0"-16,-2 0 0,18 0 15,89 0 1,-107 17-16,19-17 0,-18 0 15</inkml:trace>
  <inkml:trace contextRef="#ctx0" brushRef="#br0" timeOffset="1828.49">7378 5896 0,'-18'0'0,"-18"0"16,36 17-1,-17 1-15,17 0 0,-17 53 32,-2-54-32,19 18 0,0 1 15,0-19-15,0 1 0,19-1 0,-19 19 16,17-19-16,-17 1 0,17 0 16,1-18-16,0 18 0,0-18 0,16 17 15,20-17 1,-37-17-16,19 17 15,-19-18-15,1 0 0,18-17 0,-36 18 16,17-2-16,-17-16 0,0-35 16,-17 52-16,-2-18 15,2 19-15,17 0 0,-18-1 0,1 0 16,-2 0-16,2 1 0,0 17 16,-19-17-16,18 17 0,-34 0 15,34 17 1,0 0-16</inkml:trace>
  <inkml:trace contextRef="#ctx0" brushRef="#br0" timeOffset="1989.35">7800 6055 0</inkml:trace>
  <inkml:trace contextRef="#ctx0" brushRef="#br0" timeOffset="2232.82">8154 5843 0,'0'17'16,"0"19"-16,0-1 0,-18-17 15,18 0-15,0-1 0,0 19 0,-18 16 16,0-35-16,18 19 15,-17-1-15,0 36 16,17-35-16</inkml:trace>
  <inkml:trace contextRef="#ctx0" brushRef="#br0" timeOffset="2564.61">9035 5879 0,'0'17'31,"0"0"-31,19 71 16,-19-69-1,0 33-15,0-35 16,17 37-16,-17-37 0,-17 19 16,17-1-16,0-17 15,0 17-15,-19-35 16,19 17-16</inkml:trace>
  <inkml:trace contextRef="#ctx0" brushRef="#br0" timeOffset="2783.17">8806 6213 0,'18'-17'16,"0"17"-1,-1 0-15,19 0 0,52-17 16,-53 17 0,18 0-16,-18 0 0,-18 0 15,19 0-15,-1-19 0,-17 19 16,0 0-16,-1 0 0,0 0 0,2 0 16</inkml:trace>
  <inkml:trace contextRef="#ctx0" brushRef="#br0" timeOffset="3746.77">10040 5791 0,'-34'-19'16,"34"38"-16,-35-19 15,16 17-15,2 0 0,17 1 16,-17 18-16,-19 69 16,36-69-1,-18-19-15,18 1 0,18-1 0,-18 19 16,0-19-16,18 18 15,0-35-15,16 36 0,-15-36 16,-2 17-16,35-17 16,-33 0-16,-2 0 15,1-17-15,-1 17 16,2-17-16,-19-2 16,0 2-16,0-1 0,0-18 15,-19-16-15,2 35 0,-1-19 16,-18-17-1,19 35-15,-18 1 16,35 0 0</inkml:trace>
  <inkml:trace contextRef="#ctx0" brushRef="#br0" timeOffset="3890.32">10323 6037 0</inkml:trace>
  <inkml:trace contextRef="#ctx0" brushRef="#br0" timeOffset="4122.14">10606 5843 0,'17'17'16,"-17"19"-16,0-19 15,0 1-15,0 0 16,0 70-1,0-53-15,0-18 0,0 2 16,0-2-16,-17 18 16,17 1-16,17-19 15</inkml:trace>
  <inkml:trace contextRef="#ctx0" brushRef="#br0" timeOffset="4367.22">11311 5913 0,'-17'54'15,"17"-37"-15,-19 0 16,19 2-16,0 33 0,-17-35 15,17 54 1,0-52-16,0-2 0,0 0 16,-18 1-16</inkml:trace>
  <inkml:trace contextRef="#ctx0" brushRef="#br0" timeOffset="4566.79">11064 6143 0,'35'-18'15,"-18"18"-15,19 0 16,-18 0-16,-1 0 0,19 0 16,-19 0-16,1-17 0,18 17 15,-19 0-15,0 0 0,19 0 16</inkml:trace>
  <inkml:trace contextRef="#ctx0" brushRef="#br0" timeOffset="5090.45">12299 5843 0,'-17'17'31,"-2"-17"-31,19 19 0,-17-2 0,17 0 0,0 1 16,0 0-16,-18 17 0,18-18 16,0 2-16,18 16 0,-1 18 15,36 18 1,-18-54-16,-16 0 15,-2-17-15,0 0 0,19 18 16,-18-36-16,-1 18 0,18-17 16,-17-36-1,-18 35-15,0-18 16,0 19-16,0 0 0,-18-18 0,18 16 16,-18-15-16,1-2 15,0 36-15,17-18 0,-18 1 16,0 17-16,0 0 0,1 0 15,0 0 1,-2 17-16</inkml:trace>
  <inkml:trace contextRef="#ctx0" brushRef="#br0" timeOffset="5230.85">12580 6001 0,'19'0'16</inkml:trace>
  <inkml:trace contextRef="#ctx0" brushRef="#br0" timeOffset="5802.55">13092 5913 0,'18'0'0,"0"18"31,-18 0-15,-18 0-16,36 16 15,-18-15 1,18-2-1,-18 1-15,17-1 16,-17 0 0,-17 19-1,-19-18 1,1-1 0,18 2-16</inkml:trace>
  <inkml:trace contextRef="#ctx0" brushRef="#br0" timeOffset="6050.75">13922 5879 0,'0'0'0,"0"17"32,0 0-32,0 1 0,0 18 15,0-19-15,0 0 0,-18 2 16,18-2-16,0 1 0,0 16 16,-18-15-16,18-2 0,-18 18 15</inkml:trace>
  <inkml:trace contextRef="#ctx0" brushRef="#br0" timeOffset="6248.97">13675 6089 0,'88'-34'16,"-53"34"-16,-18 0 0,19 0 15,-1 0-15,18-18 0,-36 18 16,19 0-16,-18 0 16,-1 0-16,19-17 0</inkml:trace>
  <inkml:trace contextRef="#ctx0" brushRef="#br0" timeOffset="6679.72">14610 5825 0,'0'0'0,"-18"0"16,0 18-16,18-1 16,0 2-16,0 15 0,0-16 15,0 0-15,18 53 16,0-54-16,-18 1 0,34 16 16,-16-15-16,18-19 0,17 35 15,-36-35 1,1 0-16,-1 0 0,2 0 0,-2-18 15,0 1-15,1-36 16,-18 35 0,0 1-16,0-2 0,-18 19 15,18-17-15,-17-18 0,0 17 16,-2 0 0,2 1-16,-1 17 0,1 0 15,-2 0-15</inkml:trace>
  <inkml:trace contextRef="#ctx0" brushRef="#br0" timeOffset="6844.31">15086 6020 0,'0'-19'16,"17"2"-1</inkml:trace>
  <inkml:trace contextRef="#ctx0" brushRef="#br0" timeOffset="7035.65">15527 5825 0,'-19'35'15,"19"-16"-15,0-2 16,-17 0-16,0 37 16,17-37-16,0 19 15,0-19-15,-18 1 0,18-1 16,0 19-16,-17-19 16</inkml:trace>
  <inkml:trace contextRef="#ctx0" brushRef="#br0" timeOffset="7825.58">12351 6460 0,'-17'0'15,"53"0"1,104 0 0,-104 0-16,105 0 15,-89 0-15,19 0 0,53 0 16,-71 17-16,-18-17 0,18 0 16,-18 0-16,-17 0 0,17 0 0,0 19 15,-17-19 1,-18 17-16</inkml:trace>
  <inkml:trace contextRef="#ctx0" brushRef="#br0" timeOffset="8052.45">12263 6689 0,'36'0'16,"-19"0"-16,18 0 0,1 0 15,-1 18-15,71-18 0,-35 0 16,-19 0-16,55 0 16,15 0-16,-15-18 15,-72 18-15,18 0 16,-36 0-16,1-17 0,18 17 16,-19-17-1</inkml:trace>
  <inkml:trace contextRef="#ctx0" brushRef="#br0" timeOffset="12628.31">6919 5579 0,'53'17'16,"-1"-17"-16,-16 0 16,16 0-16,2 0 0,-1 0 0,158 17 31,-175-17-31,-2 0 0,2 0 0,35 0 15,-36 0-15,1 18 16,-2-18-16,90 0 16,-89 0-16,1 0 15,-1 0-15</inkml:trace>
  <inkml:trace contextRef="#ctx0" brushRef="#br0" timeOffset="13157.98">9918 5561 0,'34'0'15,"-15"0"1,16 0-16,-18 0 0,19 0 16,-1 0-16,123 18 15,-70-1 1,-52-17-16,-1 0 0,1 0 16</inkml:trace>
  <inkml:trace contextRef="#ctx0" brushRef="#br0" timeOffset="15002.47">12899 5860 0,'0'-17'0,"35"34"62,18-17-46,-36 0-16,1 0 16,-1 0-16,19 0 15,-19 0 1,1 19-1,-18-2 1,0 0-16,0 19 0,-18-1 16,18-18-16,-17 54 15,0-54-15,-2 54 16,19-52-16,-17 15 0,17-16 0,-18 0 16,18 17-16,0-18 0,-17 1 15,17 18-15,0-19 16,-19-17-16,19 17 0,0 2 15,0-2 1,19-17 0</inkml:trace>
  <inkml:trace contextRef="#ctx0" brushRef="#br0" timeOffset="15298.52">12810 6160 0,'158'-17'16,"-122"-1"-16,-1 18 15,18 0-15,-17 0 0,-1 0 0,18 0 16,-1 0 0,-16 0-16,-18 0 0,-1 0 15,2 0-15</inkml:trace>
  <inkml:trace contextRef="#ctx0" brushRef="#br0" timeOffset="16075.02">12263 5613 0,'36'-17'16,"-1"17"-16,18 0 16,-18 0-1,71-17-15,70 17 16,-122-18-16,-2 18 0,1 0 0</inkml:trace>
  <inkml:trace contextRef="#ctx0" brushRef="#br0" timeOffset="17309.65">14839 5491 0,'88'0'32,"-71"0"-32,54 0 0,-54 0 0,19 17 15,-1-17-15,-18 0 16,19 0-16,-18 0 0,-1 0 0,19 0 16,16 0-16,-33 0 15,-2 0-15</inkml:trace>
  <inkml:trace contextRef="#ctx0" brushRef="#br0" timeOffset="18137.16">16903 6160 0,'17'-17'15,"1"17"-15,-1 0 0,0 0 0,2 0 16,-2 0-16,18 0 0,-16 0 16,15 0-16,-16 0 0,0 17 15,34-17-15</inkml:trace>
  <inkml:trace contextRef="#ctx0" brushRef="#br0" timeOffset="18321.46">16903 6355 0,'17'17'31,"1"-17"-31,16 0 16,-15 0-16,-2 0 0,18 0 0,1 0 15,-1 0-15,1 0 0,-2 0 16,2 0-16,-1 0 0</inkml:trace>
  <inkml:trace contextRef="#ctx0" brushRef="#br0" timeOffset="18966.72">18966 5931 0,'0'-18'15,"0"72"17,-18-37-32,18 0 0,0 19 0,-17-1 15,0 1-15,17 16 0,-19-16 16,-16 52-16,35-53 0,-17-17 16,17 17-16,-17-18 0,17 19 0,-19-18 15,19-1-15,-17 0 0,17 19 16,0-18-16,0-1 15,0 2 1</inkml:trace>
  <inkml:trace contextRef="#ctx0" brushRef="#br0" timeOffset="19228.84">19531 6284 0,'-53'0'16,"35"17"-16,1 1 0,-36 0 15,17 0-15,-16 16 0,-19 2 16,0-1-16,18 18 0,-18-18 16,-70 54-16,-52 34 15,139-87-15,20-19 0,-2 18 16,1-16-16,-1 15 0,19-34 15,-1 18-15,18-1 0</inkml:trace>
  <inkml:trace contextRef="#ctx0" brushRef="#br0" timeOffset="19415.12">19602 6425 0,'-212'194'16,"17"-36"-16,124-122 15,-17 35-15,-17-19 0,17 19 16,0-18-16,17 0 0,1-1 16,-18 2-16,-36 16 0</inkml:trace>
</inkml:ink>
</file>

<file path=ppt/ink/ink9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09:21.115"/>
    </inkml:context>
    <inkml:brush xml:id="br0">
      <inkml:brushProperty name="width" value="0.05292" units="cm"/>
      <inkml:brushProperty name="height" value="0.05292" units="cm"/>
      <inkml:brushProperty name="color" value="#0070C0"/>
    </inkml:brush>
  </inkml:definitions>
  <inkml:trace contextRef="#ctx0" brushRef="#br0">4066 8780 0,'-35'0'78,"-1"17"-62,1 2-1,18-19-15,-19 17 0,19-17 16,-1 17-16,0 1 0,0-18 15,1 17-15,17 2 16,-17-19-16,17 17 0,0 0 16,17 1-1,0 0-15,19 0 16,-18-1-16,-1-17 0,0 17 16,2 1-16,-2 0 15,1 0-15,-18 16 16,0-15-16,-18-2 15,1 1-15,-2-1 0,2 2 16,0-19-16,-19 17 0,18 0 16,-16-17-16,15 18 0,-33-18 15,16 0-15,19 17 0,-1-17 0,1 0 16,-2 0-16,-15 0 0,16 0 16,1-17-16,-2 17 15</inkml:trace>
  <inkml:trace contextRef="#ctx0" brushRef="#br0" timeOffset="451.78">4260 9062 0,'-36'0'16,"19"0"-16,-18 18 15,35-1-15,-18 0 16,18 2-16,0 16 15,36 1 1,-19-19-16,0-17 16,1 0-16,0 0 0,0 0 15,-1 0-15,0 0 0,2 0 16,-19-17-16,17 17 0,1-19 16,-18 2-16,-18-1 15,1 1-15,17-2 0,-19 2 16,2 0-16,0 17 0,-37-36 15,37 36-15,0-18 16,-1 18-16,-18 18 16,19 0-1</inkml:trace>
  <inkml:trace contextRef="#ctx0" brushRef="#br0" timeOffset="840.11">4595 9026 0,'0'-17'16,"0"52"0,0 1 15,17-19-31,-17 0 0,0 2 15,0-2-15,0 18 32,0-16-32,36-38 31,-18-16-15,-18 18-1,17 17-15,0-19 16,2 19-1,16 0 1,-35 19-16,17-2 0,2 1 16,-19-1-1,17-17-15,-17 19 0,17-19 16,1 0-16</inkml:trace>
  <inkml:trace contextRef="#ctx0" brushRef="#br0" timeOffset="1361.89">5142 9026 0,'-54'36'0,"54"-18"0,19-1 31,-19 0-15,17-17-16,1 0 15,18-17-15,-19 17 16,0 0-16,1 0 16,0-17-16,0 17 15,-1 17-15,0-17 0,-17 17 16,18-17-16,-18 19 0,18 16 0,0-18 15,-18 19-15,17-1 0,-17 53 16,17-52-16,-34 52 16,17-54-16,0 2 0,-17 18 15,-1-37-15,18 18 0,-18-18 0,18 2 16,-18-2-16,1 18 0,0-35 16,17-18 15,0 1-31,0-19 0,17 19 0,0-35 15,1 16-15,0 1 0,34-53 16,-33 52-16,-2 1 0,18-1 16,-18 2-16,19-2 0,-1 1 0,-16-1 15,33 1-15,1-18 16,-18 18-16,1 17 16,-19 0-16</inkml:trace>
  <inkml:trace contextRef="#ctx0" brushRef="#br0" timeOffset="3947.85">3236 12820 0,'-52'105'0,"34"-88"16,18 19-16,-18-1 0,18-18 0,-17 19 15,17-1-15,-17-18 0,17 2 0,-18 16 16,18-18-16,0 2 0,0-2 16,0 0-16,0 1 0,0-1 15,0 2-15</inkml:trace>
  <inkml:trace contextRef="#ctx0" brushRef="#br0" timeOffset="4198.71">3519 12696 0,'0'34'32,"-17"37"-17,-1-35-15,18-1 16,0 1-16,-18-2 0,18 2 15,0-1-15,-18 0 0,18 1 0,0-2 16,0-15-16,-17 16 0,17-18 16,0 2-16,0-2 0,0 0 0,0 1 15,0-1-15,0 2 0</inkml:trace>
  <inkml:trace contextRef="#ctx0" brushRef="#br0" timeOffset="4452.55">3078 13208 0,'18'-19'31,"0"19"-31,-1 0 0,0-17 0,1 17 16,0 0-16,0-18 0,16 18 16,-15 0-16,16-17 0,-18 17 15,36-19-15,-18 19 0,1 0 16</inkml:trace>
  <inkml:trace contextRef="#ctx0" brushRef="#br0" timeOffset="5047.6">3714 13030 0,'-71'0'0,"71"18"0,-19-18 16,19 18-16,-17 0 0,0-18 0,17 17 0,0 0 15,-18 2-15,18-2 16,0 1-16,0-1 15,18-17-15,-18 19 16,17-38-16,19 19 16,-36-17-16,17 17 0,-17-18 15,18 18-15,-18-17 0,17 17 16,-17-19-16,19 2 16,-19 53 15,0-19-16,0 1-15,0-1 0,17 2 16,-17-2-16,17-17 0</inkml:trace>
  <inkml:trace contextRef="#ctx0" brushRef="#br0" timeOffset="5327.76">4048 13030 0,'-36'0'0,"19"0"16,0 0-16,17 18 0,-18-18 0,18 36 31,0-19-31,0 36 16,0-35-16,0-1 15,18 2-15,-18-2 0,-18 0 16,18 1-16,0-1 0,-17-17 15,17 19-15,-19-2 16,2-17-16,0 17 16,-1-17-16</inkml:trace>
  <inkml:trace contextRef="#ctx0" brushRef="#br0" timeOffset="5772.94">4154 13208 0,'18'-19'0,"-18"2"0,18-1 16,-18 1-1,-18 52 32,18-18-31,0 19-1,0-19-15,0 1 16,18-18-16,16 0 16,-16-18-16,0 18 15,0-17-15,-1 0 0,0-2 16,2 2-16,16-1 0,-35-18 15,53-34-15,-53 52 0,17-16 16,1 16-16,-18 0 0,17 0 16,-17 1-16,19 0 15,-38 51 1,19-16-16,-17 0 16,17 0-16,-35 52 0,35-52 15,-19 16-15,19-15 0,0 16 0,-17-18 16,17 2-16,17-2 0,-17 0 15,0 1-15</inkml:trace>
  <inkml:trace contextRef="#ctx0" brushRef="#br0" timeOffset="6339.65">4683 12872 0,'0'0'16,"-17"17"-16,-1 36 16,0-35-16,18 0 15,0 17-15,-18 0 16,18 1-16,0-19 0,0 19 0,0-19 15,-17 1-15,17-1 0,0 2 16,0-2-16,0 0 16,0 1-16,17-53 31,1 35-31,-18-17 0,18-2 0,0 2 16,16-1-1,-15 1 1,-19 34-1,-19 37 1,2-54-16,17 17 16,-17 0-16,-1 1 0,0-18 15,18 17 1</inkml:trace>
  <inkml:trace contextRef="#ctx0" brushRef="#br0" timeOffset="9882.6">1543 9114 0,'-105'-34'0,"87"51"15,-35 0-15,18-17 0,17 19 16,-17 16-16,-1-18 0,1 36 15,18-18-15,0 1 0,17-19 16,-19 1-16,19 18 0,0-19 16,-17 19-16,17-19 0,17 1 15,-17-1-15,0 0 0,19 2 0,-19-2 16,17 1-16,0-1 0,1-17 0,-1 19 0,19-19 16,-19 0-16,1 0 15,0 0-15,53 0 0,-36 0 16,-1-19-16,2 19 0</inkml:trace>
  <inkml:trace contextRef="#ctx0" brushRef="#br0" timeOffset="10262.51">1879 9326 0,'-17'-17'16,"-2"17"-16,2 0 0,-37 0 15,37 0-15,0 17 16,-1-17-16,0 18 0,0 0 15,1 0-15,0-1 0,-1-17 16,18 17-16,-18 2 0,18-2 16,-18 1-16,18-1 0,0 0 15,18 2 1,0-2-16,0-17 0,-1-17 16,0 17-16,1-19 15,-18 2-15,18 0 16,0-1-16,-1 1 0,-17-2 15,17 2 1,-17 34 15,19 2-31,-2 16 32,-17-18-32,18 19 15,-1-36-15,-17 17 16,19-17-16,-2 0 0</inkml:trace>
  <inkml:trace contextRef="#ctx0" brushRef="#br0" timeOffset="10690.67">2090 9380 0,'0'34'63,"0"-15"-32,0-2-15,18-34 15,0 17-16,-1 0 1,0 17-16,2-17 31,-2 18-31,1-18 16,-1 0 0,2 0-1,-2-18 16,0 1-15,1-2 0</inkml:trace>
  <inkml:trace contextRef="#ctx0" brushRef="#br0" timeOffset="10874.98">2584 9150 0,'18'18'16,"-18"-1"0,0 2-16,0 50 15,0-50 1,0-2-16,0 0 0,0 1 16,0 18-16,0-19 0,0 0 15,0 2-15,0 33 0,0-35 16</inkml:trace>
  <inkml:trace contextRef="#ctx0" brushRef="#br0" timeOffset="11826.97">996 13401 0,'-34'-35'0,"16"35"16,0 0-16,0 0 15,1 18-15,0-1 0,-19 0 16,1 37-16,35-37 16,-17 0-16,17 2 0,-19 16 15,19-18-15,0 2 0,0 15 16,0-16-16,0 18 0,19-36 15,-19 17-15,17-17 0,0 17 16,1-17-16,-1 0 0,2 0 16,33 0-16,-34-17 0,17 17 15,0-17-15</inkml:trace>
  <inkml:trace contextRef="#ctx0" brushRef="#br0" timeOffset="12204.1">1384 13401 0,'-105'53'0,"88"-18"16,-2-18-1,2 2-15,17-2 0,0 1 16,-18-1-16,18 2 0,18-2 31,18-34-15,-19 17-1,-17-19-15,17 2 0,-17-1 16,0 1-16,18 17 16,-18-19-16,0 2 15,18 17 1,0 17-1,-18 2-15,17-2 16,-17 1 0,0-1-16,17-17 0,2 19 15</inkml:trace>
  <inkml:trace contextRef="#ctx0" brushRef="#br0" timeOffset="12682.62">1543 13454 0,'0'35'78,"19"-35"-62,-19 17 0,17-34 15,0 17-15,1 0-16,0 0 15,-18 17-15,18-17 16,-18 19-16,17-19 15,0 17 17,1-17-17,0-17 1,0 17 0,-1-19 15,19 19-31,-19 0 31,18 0-15</inkml:trace>
  <inkml:trace contextRef="#ctx0" brushRef="#br0" timeOffset="13147.74">2108 13313 0,'18'-17'0,"-1"34"15,-17 0-15,0 1 16,0 0-16,0 0 15,-17-1-15,17 19 16,0-19-16,-18 1 0,18-1 0,0 0 16,0 2-16,0-2 15,18 1 1,16-36 0,-15 18-16,16-17 0,1-2 0,16-15 15,18 16-15,1-18 0,0 2 16,-1-2-16,1 18 0,0-16 0,-1-2 15,18 1-15</inkml:trace>
  <inkml:trace contextRef="#ctx0" brushRef="#br0" timeOffset="15926.57">4012 5957 0,'107'-35'16,"-72"35"-16,1 0 0,16-17 0,1-2 0,0 2 15,-1 17-15,55-17 0,-54-1 16,-18 18-16,18-17 15,-18 17-15,1 0 0,-1 0 0,1-19 16,-19 19-16,18 0 0,-18 0 0,2 0 16</inkml:trace>
  <inkml:trace contextRef="#ctx0" brushRef="#br0" timeOffset="18122.68">4295 6769 0,'53'-17'16,"-35"17"-16,70-19 15,-35 19-15,18-17 0,-19 17 0,18 0 16,-16-18-16,-1 18 0,-1 0 16,-16 0-16,-1 0 0,1 0 0,34 0 15,-52 0-15</inkml:trace>
  <inkml:trace contextRef="#ctx0" brushRef="#br0" timeOffset="20588.73">3802 7633 0,'105'0'31,"-34"0"-31,-18 0 0,18-17 15,-1 17-15,0 0 0,0-18 0,1 18 16,0-18-16,-1 18 0,1 0 0,0 0 16,34-18-16,-69 18 15,16 0-15,-33 0 0,15 0 16,2 0-16,-18 0 0</inkml:trace>
  <inkml:trace contextRef="#ctx0" brushRef="#br0" timeOffset="29251.76">6571 9273 0,'35'0'16,"-18"0"-1,2 0-15,51 0 16,-52 19 0,52-19-16,-35 0 0,-18 0 0,2 0 15,-2 0-15,1 0 16,-1 17-16,2-17 0,-2 0 16,0 0-1,1 17 1</inkml:trace>
  <inkml:trace contextRef="#ctx0" brushRef="#br0" timeOffset="30313.46">8264 9026 0,'18'-17'16,"-18"0"0,-18 17-1,0 0 1,-17 0-16,-18 0 31,35 17-31,1-17 0,-19 17 16,19-17-1,17 36-15,0-18 16,36 16 0,-36-15-16,17-2 0,0 1 15,1-1-15,0-17 0,17 36 16,-18-19-16,-17 1 0,18-1 15,-18 2-15,18-19 0,-18 17 16,0 0-16,-18 1 0,18 0 16,-18 0-16,1-1 15,0 0-15,-1-17 0,0 19 16,0-19-16,1 0 16,0 0-1,-2-19 1,38 2-16,-19-18 15,17 35-15,0-18 0,1 0 16,0 1-16,0 0 0,-1-2 0,0 2 16,1-1-16,-18 1 0,18 0 15,0-2-15,-18 2 0,17-1 16,-17 1-16,17-2 0,-17 2 0,0 0 16,-17-1-16,0 0 15,17 0-15,-18 18 0,18-17 16,-18 17-16,0-17 0,1 17 15,17-18-15,-17 18 0,-1 0 16,0 18-16,0-18 16</inkml:trace>
  <inkml:trace contextRef="#ctx0" brushRef="#br0" timeOffset="30649.61">8740 8850 0,'-17'54'31,"17"-37"-31,-36 36 16,19-1-16,-1-16 0,1 16 0,-19 2 16,19-18-16,-1 16 0,0 1 15,-17-18-15,18 18 0,-37 35 16,54-71-16,-17 19 16,0-18-16,17-1 0,-19 2 15,19-2-15,0 0 16,0 1-1</inkml:trace>
  <inkml:trace contextRef="#ctx0" brushRef="#br0" timeOffset="30955.34">8828 9256 0,'-34'17'47,"15"19"-32,2-19-15,17 1 16,0 0-16,-18-18 15,18 18-15,-17-1 0,17 0 0,-19 2 16,19-2-16,0 1 0,-17-1 16,17 0-1</inkml:trace>
  <inkml:trace contextRef="#ctx0" brushRef="#br0" timeOffset="31311.7">9023 9256 0,'-19'17'31,"19"2"-31,-17 33 16,17-34-16,0 0 15,0-1-15,17-17 0,-17 17 16,19 2-16,16-19 16,-18 0-16,0 0 0,2 0 15,-19-19-15,35 2 16,-18 17-16,-17-17 0,19-1 16,-19 0-16,0 0 0,0 1 15,0 0-15,-19-2 16,19 2-16,-17-1 15,-1 18-15,1-17 0,-2 17 16,2 0-16,0 0 0,-1 0 0,1 0 16,-2 0-16,2 0 0,0 0 0</inkml:trace>
  <inkml:trace contextRef="#ctx0" brushRef="#br0" timeOffset="32655.54">8599 8197 0,'-17'0'16,"51"0"0,37-17-1,-54 17-15,19 0 16,-1 0-16,-16 0 0,33 0 16,-35 0-16,2 0 15,15 0-15,-16 0 0,0 0 0,0 0 16,-1 17-16</inkml:trace>
  <inkml:trace contextRef="#ctx0" brushRef="#br0" timeOffset="32835.58">8916 8197 0,'-34'53'15,"15"-35"-15,19 0 0,0 0 16,0-1-16,-17 0 0,17 19 16,0-18-16,-18-1 0,18 0 15,0 2-15,0 16 16</inkml:trace>
  <inkml:trace contextRef="#ctx0" brushRef="#br0" timeOffset="33035.01">8723 8516 0,'35'-19'47,"1"19"-31,-19 0-16,0 0 15,18-17-15,-16 17 0,-2 0 0,18 0 16</inkml:trace>
  <inkml:trace contextRef="#ctx0" brushRef="#br0" timeOffset="33547.22">9392 8216 0,'0'-19'15,"-17"19"-15,17-17 0,-35 34 16,17-17-16,0 36 31,1-36-31,17 17 0,-17 1 0,17 0 0,-18 0 16,18-1-16,0 0 16,0 2-16,18 33 15,-1-52-15,-17 17 16,17-17-16,1 19 15,0-19-15,0 0 0,-1-19 0,0 19 16,2 0-16,-2-17 0,1 17 0,-1-17 16,0-1-16,-17 1 0,19-2 15,-19-15-15,17-20 0,-17 37 16,-17 0-16,17-19 0,0 18 16,-19 1-16,19 0 0,-17-2 0,17 2 15,-17-1-15,17 1 0,-18-2 16,1 2-16,-2 17 15,2 17 1,17 2 0,0-2-16,17 1 0,-17-1 0,19 2 15,-19-2-15,17 18 0,1-18 16,-1 19-16,0-19 0,2 19 0,-2-18 16,1-1-16,18 36 0,-19-35 15,-17-1-15,17 0 0,1 2 16,0-2-16,-18 1 0,18-18 0,-1 17 15,-17 2-15,17-19 16,-17 17-16,18-17 0,-18 17 16</inkml:trace>
  <inkml:trace contextRef="#ctx0" brushRef="#br0" timeOffset="37683.23">12110 8974 0,'-88'35'16,"69"-18"-16,2 1 0,-1 0 16,1 17-16,-2 18 15,-15 18-15,16-36 0,0-18 0,18 19 16,0-19-16,0 19 0,0-18 15,0-1-15,0 0 0,0 2 16,0-2-16,18 1 0,0-1 0,-1-17 16,-17 17-16,17-17 0,2 0 15,-2 0-15,1-17 16,-1 0-16,-17-1 16,-17 1-16,17-2 15,-18 2-15,1 17 16,17-17-16,-19-1 0,2 18 0,0-18 15,-1 18-15,0-18 16,0 18 0,1-17-16</inkml:trace>
  <inkml:trace contextRef="#ctx0" brushRef="#br0" timeOffset="37938.4">12374 8938 0,'-18'54'16,"18"-37"-16,-17 18 16,-2 1-16,2 17 0,0-18 15,-1 18-15,0-1 0,0 1 0,-16-17 0,16 16 16,0-16-16,18-1 0,-18-18 15,1 19-15,17-18 0,-17 18 16,17-19-16,0 0 0,-19 1 16,19-1-16,0 2 15</inkml:trace>
  <inkml:trace contextRef="#ctx0" brushRef="#br0" timeOffset="38219.76">12639 9204 0,'0'-19'16,"-19"72"15,19-35-16,-17 18 1,0-19-16,17 18 0,-18-17 0,18 0 16,-18-1-16,0 0 0,18 2 15,0-2-15,0 1 16</inkml:trace>
  <inkml:trace contextRef="#ctx0" brushRef="#br0" timeOffset="38535.92">12867 9221 0,'-35'0'16,"18"17"0,17 1-16,-17-18 0,17 17 15,0 2-15,-19-19 0,19 17 16,0 0-16,19-17 0,-19 18 15,17-18-15,0 18 0,1-18 16,-1 0-16,2-18 0,-2 18 16,0-18-16,1 18 15,-18-17-15,18 17 0,-18-17 0,0-2 16,0 2-16,0-1 0,-18 1 16,18 0-16,-18-2 0,1 2 15,0 17-15,-19-18 0,18 18 0,1-17 16,-19 17-16,19 0 0,-18 0 15,-1 0-15,-16-19 16,16 19-16</inkml:trace>
  <inkml:trace contextRef="#ctx0" brushRef="#br0" timeOffset="39034.61">11810 8180 0,'-18'17'16,"18"2"-1,0-2-15,-18 18 0,18-17 0,0 0 16,-18 16-16,18-15 0,0-2 0,-17 35 16,17-33-16,0-2 15,-17 1-15,17-1 0,0 2 16,0-2-16,0 0 0,0 1 15</inkml:trace>
  <inkml:trace contextRef="#ctx0" brushRef="#br0" timeOffset="39547.46">11810 8197 0,'17'-17'0,"0"17"15,1-18-15,0 18 16,0 0-16,-18 18 16,17-18-16,-34 17 15,17 2-15,-18-2 16,0 0-16,0 1 16,1 0-1,17 0 1,0-1-1,17-17-15,-17 17 16,18-17-16,0 0 0,0 19 16,-1-19-16,-17 17 0,0 1 15,-17-1 1,17 0-16,-36 2 16,1-2-16,18-17 15,-37 18-15,1-18 16,36 0-16,-1 17 15,1-17-15,-2 0 16</inkml:trace>
  <inkml:trace contextRef="#ctx0" brushRef="#br0" timeOffset="40534.18">12320 8286 0,'-88'18'0,"71"-1"15,0-17-15,17 17 0,-18-17 0,18 19 0,-18-19 16,0 35 0,18-18-16,0 0 15,18-17 1,0 0-1,0 0-15,34-17 32,-52 0-32,18 17 0,0 0 0,-18-18 15,17 36 1,0-1 15,-17 0-31,19 2 16,-2-2-16,1-17 15,-1 0 1,2 0-16,-19-17 16,17 17-16,18-36 15,-35 19-15,17-18 16,2 16-16,-19 2 0,17-18 16,-17-1-16,17 19 0,1-36 15,0 18-15,-18 18 0,0-2 16,18 2-16,-18-1 0,0 1 0,0-2 15,17 19-15,-17-17 0,0 0 16,-17 51 15,17-15-31,0 16 16,-18-18-16,18 19 16,0-19-16,-18 18 0,18 36 15,0-53-15,0 0 0,0-1 16,0 0-16,0 2 0,18-19 15,0 17-15,-18 1 0,17-18 16,19-18-16,-19 18 16,1-17-16,-1 17 0,0-19 15,19-15-15,-18-2 0,18 18 16,-19 1-16,0-19 0,-17 19 0,18-18 16,-1 18-16,2-19 0,-19 18 15,17 18-15,-17-17 0,0-2 16,17 19-16,-17-17 0,0 0 15,-17 51 1,0-15-16,17-2 16,-19 1-16,19-1 0,0 2 0,-17 15 15,17-16-15,0-1 16,0 2-16,0-2 0,0 18 0,0-17 0,17 0 16,-17-1-16,19 0 0,-2 2 15,-17-2-15,17-17 0,1 18 16,0-18-16,0 0 0,-18 17 15,17-17-15</inkml:trace>
  <inkml:trace contextRef="#ctx0" brushRef="#br0" timeOffset="40756.87">12427 8304 0,'35'-36'16,"-18"36"-1,19-18-15,-19 18 0,37-17 16,-20 17-16,-15 0 0,16-17 16,-18 17-16,19 0 15,-19 0-15,18-19 0,-16 19 0,15 0 0,-16 0 16,-1 0-16</inkml:trace>
  <inkml:trace contextRef="#ctx0" brushRef="#br0" timeOffset="43153.22">16643 9133 0,'0'-19'0,"17"2"0,1 17 16,16 0 0,-15 0-16,-2 0 15,-17 17-15,18 19 32,-53-1-32,16-16 0,2-2 0,-71 71 31,71-71-31,-19 1 0,18-18 0,1 18 0,-19 17 15,19-35 1,17 17-16,-18-17 0,36 19 31,-1-19-15,2 0-16,15-19 16,-16 19-16,0 0 0,0 0 0,16-17 15,-15 17-15,16 0 0,-18-17 16,19 17-16,-19-18 0,18 18 0,-16-18 15,-2 18-15,0-18 0</inkml:trace>
  <inkml:trace contextRef="#ctx0" brushRef="#br0" timeOffset="43451.81">17242 8938 0,'-35'18'31,"-1"35"-15,19-18-16,-1-17 0,1 34 16,0-33-16,-2 33 0,-16 1 15,35-18-15,-17-16 0,-2 15 0,19-16 16,-17 0-16,17 0 0,-17-1 15,17 0-15,0 2 0,0-2 16,-18-17-16,18 18 0,0-1 16,18-17-1</inkml:trace>
  <inkml:trace contextRef="#ctx0" brushRef="#br0" timeOffset="46978.56">16414 9168 0,'34'-18'16,"20"18"0,-37 0-16,18 0 15,-17 0-15,0-17 0,-1 17 16,19 0-16,-19 0 0,1 0 0,-1-19 15,0 19-15,2 0 0,-2 0 16,1 0-16,-1 0 16,2 0-16,-38 36 31,2-36-31,-1 18 16,18-1-16,-70 54 15,52-35-15,-18-2 0,19 2 0,-54 52 31,54-70-31,0-1 0,-2 19 0,2-19 16,-1 1-16,18-1 0,-17-17 0,17 19 16,-17-2-16,17 0 15,-19-17-15,19 18 0</inkml:trace>
  <inkml:trace contextRef="#ctx0" brushRef="#br0" timeOffset="47246.05">16272 9468 0,'35'-18'0,"36"1"16,-54-2-16,2 19 15,15 0-15,1-17 0,1 17 0,-1 0 16,1-17-16,-2 17 0,2-18 16,-18 18-16,16 0 0,2-18 0,-1 18 15,1 0-15,-19-18 0</inkml:trace>
  <inkml:trace contextRef="#ctx0" brushRef="#br0" timeOffset="48377.54">17419 9204 0,'-19'34'16,"2"20"0,17-37-16,-17 18 15,-1-17-15,18 0 0,-18-1 0,18 0 16,-18 2-16,18-2 0,-17 1 0,17-1 16,0 0-16,-17 2 15,17-2 1</inkml:trace>
  <inkml:trace contextRef="#ctx0" brushRef="#br0" timeOffset="48846.71">17683 9238 0,'0'-17'0,"-17"34"63,-1 18-48,18-16-15,0-2 16,0 0-16,0 19 15,0-18-15,18-18 16,-18 17-16,17 0 0,0-17 16,2 19-1,-2-19-15,1 0 0,-1-19 16,0 19-16,2 0 16,-2-17-16,-17 0 15,18-1-15,-18 0 0,0 0 16,0 1-16,-18-19 15,1 19 1,-2-1-16,-33 1 16,35 17-16,-2 0 15,2-17-15,0 17 0,-1 0 16,-18 0-16</inkml:trace>
  <inkml:trace contextRef="#ctx0" brushRef="#br0" timeOffset="51623.01">16960 8233 0,'-18'0'16,"54"-17"-16,-19 17 15,0 0-15,2 0 0,16 0 16,-18 0-1,2 0 1,-19 17-16,0 0 16,-19 1-16,-33 18 15,33-36-15,2 17 16,-18 0-16,17 2 0,0-2 16,1 1-16,0-18 0,-1 17 0,0 0 15,0 2-15,18-2 0,-17-17 16,17 18-16,17-1 15,-17 2-15,18-19 16,0 0-16,0 17 0,-1-17 0,0 17 16,19-17-16,-18 0 0,35 0 15,-36 18-15,1-18 0,18 0 16,-19 0-16,0 0 0,1 0 0,-1 0 16,2 0-16,-2-18 0,0 18 15</inkml:trace>
  <inkml:trace contextRef="#ctx0" brushRef="#br0" timeOffset="51829.69">16748 8445 0,'283'-36'16,"-231"36"-16,55 0 0,-55-17 0,-16 17 15,34 0-15,-35 0 0,18 0 0,-18-18 0,1 18 16</inkml:trace>
  <inkml:trace contextRef="#ctx0" brushRef="#br0" timeOffset="53635.36">6147 13208 0,'36'0'16,"-1"0"-1,1 0-15,-19 0 0,18 0 16,18 0-16,-18 0 0,1-19 0,17 19 0,-18 0 16,-1 0-16,-15 0 0,16 0 15,-18 0-15,19 0 0,-19 0 0,1 0 16,0 0-16</inkml:trace>
  <inkml:trace contextRef="#ctx0" brushRef="#br0" timeOffset="56889.96">9004 12749 0,'19'0'31,"-19"-19"-15,0 2-16,0 0 16,-19-1-1,2 18-15,0-18 16,-1 36-1,0-18-15,0 0 16,-35 18-16,36-1 0,-1 0 16,1-17-16,-36 36 0,53-18 15,-18-1-15,1-17 0,17 19 16,-19-2-16,19 0 16,19-17-16,16 0 15,-18 0-15,2 0 16,15-17-16,-16 17 0,-1-17 15,2 17-15,-2-19 0,0 19 16,1 0-16,18 0 16,-36 19-16,17-2 15,-17 0-15,0 18 0,0-16 16,0 15-16,-17 2 0,17 16 16,0-16-16,-18-1 0,18-18 15,0 37-15,0-37 16,0 2-16,0-2 15</inkml:trace>
  <inkml:trace contextRef="#ctx0" brushRef="#br0" timeOffset="57482.15">9640 12625 0,'-36'0'15,"19"35"-15,0 1 16,-2-2-16,-16 20 0,-18 51 15,18-34-15,-1-1 0,-86 125 16,51-72 0,54-87-16,-37 52 0,37-54 15,-2 2-15,2-18 16,17-1-16,0 2 16</inkml:trace>
  <inkml:trace contextRef="#ctx0" brushRef="#br0" timeOffset="57708.48">9675 13154 0,'-17'18'31,"17"18"-31,-18-2 15,0-16-15,0-1 16,18 19-16,-17-19 0,-19 54 16,19-35-16,17-19 15,0 1 1</inkml:trace>
  <inkml:trace contextRef="#ctx0" brushRef="#br0" timeOffset="58024.68">9834 13208 0,'-35'69'16,"16"-50"-16,19-2 15,19 0-15,-19 1 0,17 0 16,-17 0-16,35-18 15,1 0-15,-19 0 0,1 0 16,35-18 0,-36 0-16,-17 0 0,18 1 15,-18 0-15,0-2 0,-18 2 16,1-18 0,0 18-16,-2 17 0,-16-19 15,18 19 1,0 0-16,-2 0 15,2 0-15</inkml:trace>
  <inkml:trace contextRef="#ctx0" brushRef="#br0" timeOffset="61438.84">12391 12837 0,'-17'-17'15,"-18"34"1,16-17-16,2 17 0,0 1 0,-1-1 15,-18-17-15,19 19 16,0-2-16,-1 0 0,-18-17 0,19 18 0,17 0 16,-17-18-16,-2 18 0,19-1 15,-17-17-15,34 17 16,-17 1-16,19-18 16,-2 0-16,0 0 0,19 18 0,-18-18 15,16 0-15,-16 0 0,18 0 16,-2 0-16,-15 0 0,16 0 0,18 0 15,-36 0-15,1 0 0,-1 0 16,2 0-16,-2 0 0,0-18 16</inkml:trace>
  <inkml:trace contextRef="#ctx0" brushRef="#br0" timeOffset="61659.58">12391 12820 0,'-17'0'16,"-1"17"-1,1 35 1,-2-33-16,2 15 0,17-16 16,-17 18-16,-1 16 0,18-16 15,-18-19-15,18 19 0,-18-19 0,18 18 16,0-16-16,-17-2 0,17 0 15,0 1-15,0-1 0,17 2 16</inkml:trace>
  <inkml:trace contextRef="#ctx0" brushRef="#br0" timeOffset="61946.75">12867 12713 0,'-52'88'16,"35"-69"-16,-37 69 0,37-36 15,-2-16-15,2 16 0,-18 1 0,18-17 16,-2 16-16,-15-16 0,16-1 15,0 18-15,0-18 0,1-17 0,17 17 16,-17-18-16,-2 2 0,19-2 16,0 1-16,-17-1 0,17 0 15</inkml:trace>
  <inkml:trace contextRef="#ctx0" brushRef="#br0" timeOffset="62590.52">12903 13118 0,'-17'19'31,"-2"33"-16,19-33 1,-17 15-16,17-16 0,-18-1 16,18 2-16,0 15 15,-17-16-15,17 0 0,0 0 0,-17-1 16</inkml:trace>
  <inkml:trace contextRef="#ctx0" brushRef="#br0" timeOffset="62974.84">13079 13225 0,'0'71'0,"0"-54"16,17 0-16,2-17 16,-2 0-16,1 0 0,-1 0 15,2 0-15,-2 0 16,0 0-16,1-17 0,0 0 16,0 17-16,-18-19 0,0 2 15,17 17-15,-17-18 0,0 1 0,0 0 16,-17-2-16,17 2 15,0-1-15,-18 18 0,18-17 0,-18-2 16,0 19-16,18-17 0,-17 17 16,0 0-16,-2-17 0,2 17 15,-1 0-15,1 0 0,-2 0 0,2 0 16,0 0-16,-1 17 16</inkml:trace>
  <inkml:trace contextRef="#ctx0" brushRef="#br0" timeOffset="67418.5">16960 12642 0,'0'-17'0,"-18"0"16,0 34-1,18 0 1,-17 1-16,0 0 0,17 0 0,-18-1 16,18 19-16,-18-19 0,18 18 0,0-16 15,-18 50 1,18-33-16,18-19 0,-18 1 0,0 0 15,0 0-15,18-18 0,-18 17 0,18 0 16,-1-17-16,-17 18 16,17-18-16,-17-18 31,-17 1-15,0 0-16,-1 17 15,0 0-15,0 0 16,-16 0-16,-2 0 15,18 0 1,1 0 0</inkml:trace>
  <inkml:trace contextRef="#ctx0" brushRef="#br0" timeOffset="67677.89">17330 12678 0,'0'0'0,"-18"35"16,1-18-1,-36 90 1,35-55-16,-16-16 0,15 17 0,-16-18 16,18 18-16,-36 35 0,35-53 15,1 1-15,-2 16 0,2-33 16,0 15-16,-1-16 0,18 0 15,-18 0-15,0-1 0,18 0 0,0 2 16,-17-2-16,17 1 16</inkml:trace>
  <inkml:trace contextRef="#ctx0" brushRef="#br0" timeOffset="67934.53">17507 13101 0,'-17'36'32,"-2"-19"-17,2 18-15,-1-16 0,1-2 16,-2 0-16,19 18 0,-17-16 0,0-2 0,-1 0 15,18 1-15,-18 0 16,18 0-16,-18-1 0,18 0 16</inkml:trace>
  <inkml:trace contextRef="#ctx0" brushRef="#br0" timeOffset="68249.82">17719 13225 0,'-53'35'16,"35"-18"-1,18 2-15,-18-2 16,54 18 0,-19-35-1,0 0-15,37-18 16,-1-16-1,-53 15-15,17 2 16,-17-1-16,-17 1 16,17 0-16,-19 17 0,19-19 15,-17 19-15,0-17 0,-1 17 16,1 0-16,-2 0 0,-15 0 16,16 0-16,0 0 0,-17 0 0,-1 0 15,19 0-15,-18 0 0,18 17 0</inkml:trace>
  <inkml:trace contextRef="#ctx0" brushRef="#br0" timeOffset="72511.62">8087 11056 0,'-35'0'47,"35"17"-32,-17-17-15,17 17 0,-19 19 16,19-18-16,0-1 0,0 71 31,19-52-15,-2-36-16,1 17 0,18-17 16,-2 0-1,2-17-15,-18-2 16,-1 19-16,0-17 15,1 17-15,-18-17 0,0-1 0,18 0 16,-18 0-16,0 1 0,-18 0 16,18-1-16,-18 0 0,1 0 15,-36-16 1,35 15-16,1 19 0,-19-17 16,1 34-1,18 2 1</inkml:trace>
  <inkml:trace contextRef="#ctx0" brushRef="#br0" timeOffset="72666.62">8511 11161 0</inkml:trace>
  <inkml:trace contextRef="#ctx0" brushRef="#br0" timeOffset="73246.92">8899 11020 0,'0'-18'0,"0"36"0,17-36 0,-17 1 15,-34 34 16,15 1-15,-16-1 0,1 19-1,15-19 1,19 1 0,0 0-16,19 0 0,-2-1 15,0 0 1,1 1-16,-1 0 0,2 0 15,-19-1-15,17-17 16,-17 17-16,-17 2 0,17-2 16,-19 1-1,2-18-15,-1 17 0,1 0 0,0-17 16,-19 19-16,18-19 0,1 17 16,-2-17-16,2 0 0,0 0 15,-18 0-15,16 0 0</inkml:trace>
  <inkml:trace contextRef="#ctx0" brushRef="#br0" timeOffset="73728.49">7806 10844 0,'-36'34'0,"18"-15"15,72-72-15,-108 123 0,37-52 0,0 16 16,-2 2-16,2 18 0,-1-20 0,18 20 15,-36 68-15,19-68 16,17-1-16,0-1 0,0 1 0,0 1 16,0-20-16,17 20 0,2-20 0,-2 2 15,1-1-15,18 1 0,-2-19 16,1 1-16,-16-18 0,15 17 16,20-17-16,-1 0 0</inkml:trace>
  <inkml:trace contextRef="#ctx0" brushRef="#br0" timeOffset="74214.2">9358 11090 0,'-106'88'16,"88"-52"-16,-17-1 0,18 1 16,-2-19-16,19 18 0,-17-18 15,-1 19-15,1-1 0,-2-16 0,19-2 16,-17 0-16</inkml:trace>
  <inkml:trace contextRef="#ctx0" brushRef="#br0" timeOffset="74446.36">9075 11144 0,'17'0'16,"2"17"0,-2-17-16,-17 17 15,18 1-15,-1 0 0,-17 0 16,19-18-16,-2 17 0,-17 19 0,35-1 15,-17-18-15,-18 0 16,18 2-16,-1-2 0,0 1 16,1-1-16,0-17 15,-18 19-15,18-19 0</inkml:trace>
  <inkml:trace contextRef="#ctx0" brushRef="#br0" timeOffset="75899.55">9870 11020 0,'-71'-18'0,"71"36"15,-19-18 1,19 17-16,19 36 16,-19-35-1,17 18-15,1-19 0,-1 18 16,-17-17-16,0 0 0,0-1 15,0 19-15,0-19 0,0 1 0,0-1 16,-17 0-16,-1-17 0,1 36 16,-2-36-16,2 18 0,0-18 15,-1 17-15,0-17 0,0 0 16,1 0 0,17-17-1,17-18-15,1 16 16,0 2-16,0 0 15,-1 17-15,-17-18 0,17 1 0,2-2 16,-2 2-16,-17 0 0,18-19 0,-18 18 16,17 1-16,-17 0 15,0-1-15,0 0 0,0 0 0,-17 18 16,17-17-16,-18 0 0,1 17 16,17-19-16,-19 19 0,2 0 0,0-17 15,-1 17-15,0 0 0,0 0 16,1-18-16,0 18 15</inkml:trace>
  <inkml:trace contextRef="#ctx0" brushRef="#br0" timeOffset="76148.47">9870 10614 0,'69'54'0,"-69"-37"0,36 18 16,-19 18-16,1-18 0,0 18 0,0 0 16,-1-1-16,0 19 0,2-18 0,-19 1 15,0 16-15,0-18 0,0 2 16,-19-1-16,19 18 0,-34-19 0,16 1 16,0-18-16,-17 18 0,-1-17 15,19 16-15,-18-16 0,-1-19 0,1 18 16,-1-16-16,19-19 0,-18 17 0,17-17 15</inkml:trace>
  <inkml:trace contextRef="#ctx0" brushRef="#br0" timeOffset="77310.59">8035 9609 0,'17'-17'31,"1"17"-31,-1 0 15,2 0-15,-2 0 0,0-19 0,1 19 16,18 0-16,-19 0 0,0-17 0,37 17 16</inkml:trace>
  <inkml:trace contextRef="#ctx0" brushRef="#br0" timeOffset="81215.23">10698 10914 0,'0'-17'0,"0"-2"0,0 73 31,-18-1-16,18-36-15,0 18 16,0 1-16,0-19 0,0 19 0,0-1 0,0-18 16,0 19-16,0-18 0,0 16 15,0 2-15,0-18 0,0-1 16,18 0-16,-18 2 0,0-2 0</inkml:trace>
  <inkml:trace contextRef="#ctx0" brushRef="#br0" timeOffset="81432.53">10539 11266 0,'88'-34'16,"-69"34"-16,-126 34 0,231-68 0,-89 16 0,18 18 15,-18 0-15,1-18 16,-19 18-16,19 0 0,-1 0 0,-18 0 16,19 0-16,-1-18 0</inkml:trace>
  <inkml:trace contextRef="#ctx0" brushRef="#br0" timeOffset="83110.39">11862 10544 0,'0'-18'15,"-35"36"-15,35 16 0,-17-15 16,-1 33-16,0-16 0,18 16 0,-18 1 15,-16 71-15,34-72 0,-36 90 16,36-89 0,0-18-16,0-17 0,0 17 15,0-18-15,0 19 0,17-18 0,-17-1 16,0 0-16,19-17 0,-19 19 16,17-19-16,0 0 0</inkml:trace>
  <inkml:trace contextRef="#ctx0" brushRef="#br0" timeOffset="83653.49">12198 10790 0,'-18'0'0,"36"0"0,-54 0 15,36 18-15,-18 0 16,1 0-16,17-1 0,0 0 16,-17 2-16,17-2 0,0 1 0,0 16 15,0-15-15,0-2 0,0 1 16,0-1-16,17 2 0,-17-2 0,17 0 16,-17 1-16,18 0 0,0-18 15,0 18-15,-1-18 16,18-18-1,-17 18-15,0-18 16,-18 0-16,0 1 0,0 0 16,0-2-16,0 2 0,0-1 15,0 1-15,0-19 0,-18 19 16,18-1-16,0 1 0,-18-2 16,18 2-16,-18 17 0,18-17 0,-17-1 15,0 18-15,-1-18 16,18 36-16,-36-18 15</inkml:trace>
  <inkml:trace contextRef="#ctx0" brushRef="#br0" timeOffset="83822.46">12427 10932 0,'0'-18'0</inkml:trace>
  <inkml:trace contextRef="#ctx0" brushRef="#br0" timeOffset="84317.57">12656 10808 0,'0'18'32,"0"0"-17,-17 16 1,17-15-16,0-2 0,-19-17 0,19 18 15,0-1-15,-17-17 0,17 17 16,0 2 0,17-2-1,2 1 1,-19-1 0,-19 2-1,19-2 1,-17-17-16,0 17 0,-1 1 15,0-18-15,0 0 0,18 18 0,-17-18 16,0 18-16,-2-18 16</inkml:trace>
  <inkml:trace contextRef="#ctx0" brushRef="#br0" timeOffset="84559.42">13096 10790 0,'0'36'32,"-17"-1"-17,0 1-15,-1-1 16,1-18-16,-2 0 0,19 19 15,-17-18-15,-36 52 16,53-52-16,-18 18 16,18-19-16</inkml:trace>
  <inkml:trace contextRef="#ctx0" brushRef="#br0" timeOffset="84797.6">12867 10932 0,'19'17'31,"15"19"0,-16-19-31,0 1 16,0-1-16,16 19 15,-15-19-15,-2-17 0,-17 18 16,18-18-16</inkml:trace>
  <inkml:trace contextRef="#ctx0" brushRef="#br0" timeOffset="85154.76">13538 10702 0,'-18'0'0,"-16"18"16,34-1-16,-19-17 0,19 19 0,0-2 16,-17 18-16,17-17 0,-18 0 15,18-1-15,0 19 0,0-19 0,0 1 16,0-1-16,0 0 0,0 2 15,18-2-15,-18 1 0,17-18 0,-17 17 16,19 2 0,-38-38 46,2 2-46,-1 17-16,1-18 0,-2 1 31</inkml:trace>
  <inkml:trace contextRef="#ctx0" brushRef="#br0" timeOffset="85412.49">13574 10349 0,'34'0'16,"-34"19"-16,-34-38 0,86 38 0,-34-2 0,17-17 16,-18 17-16,19 1 0,-1 18 15,1-2-15,-19 2 0,18-1 16,-16 1-16,15 35 0,-34-37 16,0 1-16,0 1 0,0-1 0,-17 18 15,0-17-15,-2 16 0,2-16 16,-1-1-16,-35 35 0,36-52 15,-1 0-15,1 0 0,17-1 16,-19-17-16</inkml:trace>
  <inkml:trace contextRef="#ctx0" brushRef="#br0" timeOffset="85806.41">14860 10668 0,'0'88'15,"-17"-71"-15,17 18 0,0 1 0,-17-2 16,17 2-16,0-1 0,-18-18 0,18 19 15,0-18-15,0 18 0,0-19 16,0 0-16,0 1 0,0 0 0,0 0 16</inkml:trace>
  <inkml:trace contextRef="#ctx0" brushRef="#br0" timeOffset="86027.9">14667 10949 0,'53'-17'16,"-35"17"-16,16-18 0,-16 18 0,18 0 16,-19 0-16,54-17 15,-35 17-15,-2 0 0,-16 0 16,52-19-16,-34 19 0,-1 0 15,-18 0-15,19 0 0</inkml:trace>
  <inkml:trace contextRef="#ctx0" brushRef="#br0" timeOffset="86574.29">16290 10402 0,'-18'0'16,"0"18"-16,0 0 0,1 0 16,0 16-16,-19 37 0,18-18 15,1-18-15,0 18 16,-2 1-16,2-2 0,17 1 0,-18-17 15,18-1-15,0-1 0,0 2 0,18 35 16,-1-54-16,2 19 16,-2-18-16,18-1 0,-17 0 0,0 1 15,16-18-15,2 18 0</inkml:trace>
  <inkml:trace contextRef="#ctx0" brushRef="#br0" timeOffset="87238.43">16819 10632 0,'-36'17'15,"19"54"1,17-54-16,0 19 0,0-19 15,0 1-15,0 0 0,0 0 16,0-1-16,0 0 0,17-17 16,-17 19-16,0-2 0,0 1 0,19-18 15,-19 17-15,17-17 0,-17 17 16,17-17-16,1 0 16,0 0-16,0 0 15,-18-17-15,17 0 16,-17-1-16,0 1 0,0-2 15,0 2-15,0 0 0,0-1 16,0 0-16,0 0 0,0 1 0,-17 0 0,17-2 16,-18 2-16,18-1 15,-18 18-15,0-17 0,1 0 16,0 17-16,-2 0 0,2 0 16</inkml:trace>
  <inkml:trace contextRef="#ctx0" brushRef="#br0" timeOffset="87397.99">17083 10756 0</inkml:trace>
  <inkml:trace contextRef="#ctx0" brushRef="#br0" timeOffset="87843.4">17366 10614 0,'17'0'0,"0"18"0,2-18 15,-19 17-15,17-17 16,-17 19-16,0-2 0,0 0 16,-17 1-16,17-1 0,-19 2 15,-15 15-15,16-16 16,18 0-16,-18-18 0,18 18 16,-18-1-16,1 0 0,0 2 15,34-2 16,18-17-15,-17 0 0,17-17-16,-18 17 0,2 0 15,33-19-15,-16 2 16,-1 17-16,-18-17 0</inkml:trace>
  <inkml:trace contextRef="#ctx0" brushRef="#br0" timeOffset="88036.67">17947 10649 0,'0'-17'15,"-17"53"1,17-19-16,-18 0 16,18 1-16,-17-1 0,0 2 15,17-2-15,-54 54 16,37-54-16,17 19 0,-19-19 15,19 1-15,-17-18 0,17 17 0,0 0 16</inkml:trace>
  <inkml:trace contextRef="#ctx0" brushRef="#br0" timeOffset="88238.34">17648 10756 0,'18'17'47,"-18"0"-47,17-17 0,0 18 15,2-18-15,-2 18 0,1-18 0,52 35 16,-52-35-16,-1 0 16,2 17-16,-2-17 0,18 0 15</inkml:trace>
  <inkml:trace contextRef="#ctx0" brushRef="#br0" timeOffset="88659.23">18142 10544 0,'17'-18'16,"0"18"-1,2 0-15,16 18 16,-18-1-16,19 19 16,-36-19-1,17 1-15,-17-1 0,0 36 16,0-35-16,0 18 16,0 16-16,-17-34 0,17 0 15,0 16-15,0 2 16,0-18-16,0-1 0,0 0 15</inkml:trace>
  <inkml:trace contextRef="#ctx0" brushRef="#br0" timeOffset="88840.55">18107 10808 0,'52'-18'16,"1"18"-16,-35 0 0,35 0 16,-36 0-16,19 0 0,-18 0 15,16 0-15,-16 0 16,0-17-16,17 17 0,-18 0 0</inkml:trace>
  <inkml:trace contextRef="#ctx0" brushRef="#br0" timeOffset="89088.58">18635 10102 0,'36'18'0,"-19"18"15,1-19-15,0 19 0,0-1 16,-1 18-16,0-18 0,2 18 15,-19 0-15,0-1 0,0 19 0,-19-18 16,2 89-16,-18-72 0,17 1 16,0-19-16,-16 1 0,-2 18 15,18-36-15,1 1 0,0-2 16</inkml:trace>
  <inkml:trace contextRef="#ctx0" brushRef="#br0" timeOffset="89399.73">19394 10614 0,'18'0'0,"0"0"16,-1-17-16,0 17 0,1 0 16,0 0-16,0 0 0,-1 0 0,0 0 15,2 0-15,-2 0 0,1 0 16,-18 17-16</inkml:trace>
  <inkml:trace contextRef="#ctx0" brushRef="#br0" timeOffset="89522.5">19218 10878 0,'53'0'16,"-36"0"-16,37-17 15</inkml:trace>
  <inkml:trace contextRef="#ctx0" brushRef="#br0" timeOffset="92097.66">7911 14865 0,'-71'36'16,"54"-19"0,0 18-16,-2 1 0,19-19 15,-17 18-15,17-16 0,0 15 0,-18-16 16,18 18-16,0-19 0,0 0 15,18 1-15,-18 18 0,17-19 0,-17 0 16,19 2-16,-2-19 0,0 17 16,1-17-16,0 18 0,0-18 0,-1 0 15,0 0-15,2-18 0,-2 18 16,1-17-16,-18-2 16,17 19-16,-17-17 0,17-18 0,-17 17 0,0 0 15,0-16-15,0 16 0,-17-18 0,17 2 16,-17-2-16,17 18 15,-18-18-15,18 19 0,-17 0 0,-2-1 0,2 1 16,17-2-16,-17 2 0,-1 17 16,0 0-16,0-17 0,-16 34 15,15-17 1,19 17-16,-17 2 16</inkml:trace>
  <inkml:trace contextRef="#ctx0" brushRef="#br0" timeOffset="92257.51">8299 15077 0</inkml:trace>
  <inkml:trace contextRef="#ctx0" brushRef="#br0" timeOffset="92704.57">8687 14901 0,'-35'17'16,"18"-17"-1,-2 0-15,19 18 0,-17-18 16,0 17-16,-1 0 15,0 2-15,18-2 16,0 1 0,0-1-16,18-17 0,-18 19 0,18-19 15,-1 17-15,0 0 16,2-17-16,-19 18 0,17-18 16,1 18-16,-18 0 15,17-1-15,-52 18 16,35-17-1,-17-18-15,-2 18 16,2-1-16,0-17 0,-1 0 0,0 0 16,0 17-16,1-17 0,0 0 15,17-17-15</inkml:trace>
  <inkml:trace contextRef="#ctx0" brushRef="#br0" timeOffset="93033.93">9182 14848 0,'0'-18'0,"-19"70"16,2-52-16,17 19 16,-18 16-16,18-18 0,-17 0 0,17 19 15,-19-18-15,2 18 0,0-2 16,17 2-16,-18-18 0,1 16 15,17-16-15,0 0 0,-19 0 0,19-1 0,0 0 16</inkml:trace>
  <inkml:trace contextRef="#ctx0" brushRef="#br0" timeOffset="93246.66">9023 15024 0,'0'-18'15,"35"36"17,-18-1-32,19 2 15,-19-2-15,37 18 16,-37-35-16,0 18 16,1 0-16,18-18 0,-19 0 0,0 0 0,1 0 15,0 17-15</inkml:trace>
  <inkml:trace contextRef="#ctx0" brushRef="#br0" timeOffset="93577.35">9799 14865 0,'-36'0'15,"1"0"-15,17 0 0,0 0 0,1 17 16,-18-17-1,17 19-15,-17 16 16,35-18 0,35-17-1,18-17 1,0-1 0,-35 36-1,-1-18-15,0 34 16,2 20-1,-19-18-15,0-2 16,0-16-16,0 0 0,0 0 16,0 16-16,0-16 0,-19 0 15,2 17-15</inkml:trace>
  <inkml:trace contextRef="#ctx0" brushRef="#br0" timeOffset="94074.7">7418 14777 0,'-54'229'16,"37"-158"-16,17 0 0,-17-1 15,17 1-15,0-19 0,34 107 16,-16-89-16,18 1 0,-2-18 0,20 1 0,-1-2 15,16-16-15,21-19 16,-2 0-16,0 1 0,0-18 0,124-18 16,-107 1-16,2-19 0,15 19 0,2-35 15</inkml:trace>
  <inkml:trace contextRef="#ctx0" brushRef="#br0" timeOffset="94413.63">9887 14601 0,'17'0'0,"37"35"15,-37-18-15,71 107 16,-71-71 0,2 18-16,-2-19 0,-17 19 0,0-18 15,0 88-15,-17-89 0,-2 19 16,19-18-16,-17 1 0,0-20 15,-1 20-15,0-20 0,18-15 0,-18-2 16,18 1-16</inkml:trace>
  <inkml:trace contextRef="#ctx0" brushRef="#br0" timeOffset="94709.99">10963 14830 0,'0'52'15,"0"-33"-15,0 16 0,0-18 0,0 19 16,0-1-16,0-18 0,0 19 16,0 17-16,0-18 15,0-18-15,0 19 0,0-18 16,0-1-16</inkml:trace>
  <inkml:trace contextRef="#ctx0" brushRef="#br0" timeOffset="94912">10804 15148 0,'52'-18'16,"-33"18"-16,16-18 0,1 18 15,-2 0-15,20-18 0,16 18 0,-18-17 16,-16 17-16,35-17 0,-36 17 0,1-19 15,16 19-15,-16 0 0,-2-17 16</inkml:trace>
  <inkml:trace contextRef="#ctx0" brushRef="#br0" timeOffset="95303.36">12515 14548 0,'-53'105'15,"35"-69"-15,1 16 16,-19 72-16,1-53 16,18-1-16,-2 1 0,2 0 15,17-19-15,-17 1 0,34-17 0,-17-1 16,0 1-16,17-2 0,2-16 0,-2 18 15,1-19-15,-1 0 0,19 1 16,-19-18-16,18 18 0,-16-18 0,15 0 16,-16 0-16</inkml:trace>
  <inkml:trace contextRef="#ctx0" brushRef="#br0" timeOffset="95799.08">12886 14882 0,'0'0'0,"-19"0"0,2 0 16,17 19-16,-18-19 0,18 17 15,0 1-15,0-1 0,0 0 0,0 2 16,0-2-16,0 18 0,18 1 15,-18-1-15,17-17 0,2 0 16,-2-1-16,0 0 0,1 1 16,0-18-16,0 0 0,-1 18 0,0-18 0,2 0 15,-2 0 1,1-18-16,-1 0 0,-17 1 16,0 0-16,-17-1 0,17 0 15,-18 0-15,18 1 0,-17 0 16,-2-2-16,2 2 0,17-1 0,-17 1 15,-1 17-15,0 0 0,18-19 0,-18 19 16,1 0-16</inkml:trace>
  <inkml:trace contextRef="#ctx0" brushRef="#br0" timeOffset="95955.52">13203 14989 0</inkml:trace>
  <inkml:trace contextRef="#ctx0" brushRef="#br0" timeOffset="96451.61">13432 14741 0,'0'0'0,"18"0"0,-1 19 16,-17-2-1,0 0-15,-17 19 16,17-18-1,-18 16 1,18-15-16,0-2 0,0 1 16,18-18-16,-18 17 15,36 0 1,-36 2-16,17-19 0,0 17 31,-17 1-31,0-1 0,-34 19 16,34-19-16,-19 1 15,-16 0 1,18 0 0</inkml:trace>
  <inkml:trace contextRef="#ctx0" brushRef="#br0" timeOffset="96642.41">14014 14760 0,'18'0'0,"-36"34"31,0-34-15,18 36-16,-17-18 0,0-1 0,-2 0 16,19 19-16,-17-18 0,-1 16 0,1-15 15,-19 16-15,19 1 16,-1-19-16,18 0 0,-17 1 0,17 0 15,-19-18-15</inkml:trace>
  <inkml:trace contextRef="#ctx0" brushRef="#br0" timeOffset="96840.28">13732 14936 0,'0'-18'0,"18"18"16,52 0-1,-52 0 1,-1 18-16,19-18 0,-19 0 16,18 0-16,1 17 0,-19-17 0,19 0 15,-18 0-15,16 17 0,-15-17 0,-2 0 16,18 0-16</inkml:trace>
  <inkml:trace contextRef="#ctx0" brushRef="#br0" timeOffset="97239.41">14702 14672 0,'-35'34'31,"18"-16"-31,-37 18 16,37-19-16,-2-17 0,2 17 16,0 1-16,-1 0 0,1-18 0,-2 18 15,2-1-15,17 0 16,-17-17-16,17 19 0,-18-2 15,36 1 1,-1-18-16,0 0 16,2 17-16,-2-17 0,1 0 15,16 0-15,-15 0 0,-2 0 0,1 0 16,18 0-16,-19 0 0,0 0 16,1 0-16,0 0 0,0-17 0,-1 17 15</inkml:trace>
  <inkml:trace contextRef="#ctx0" brushRef="#br0" timeOffset="97446.21">14738 14724 0,'-36'36'16,"36"-19"-16,0 0 0,-18 19 15,18-1-15,0 1 0,0 52 16,0-17-1,18-37-15,-18 2 0,0-1 16,0 18-16,18-1 16,-18-33-16,0-2 15</inkml:trace>
  <inkml:trace contextRef="#ctx0" brushRef="#br0" timeOffset="97701.89">14879 14406 0,'35'36'0,"-18"-18"0,-69-72 0,123 125 15,-54-35-15,0-1 0,1-1 16,-1 20-16,-17-1 0,19-1 15,-19 108-15,0-108 0,0 1 16,-19 18-16,2-18 0,17-1 16,-18-16-16,18 16 0,-17-16 0,17-18 15,0 35-15</inkml:trace>
  <inkml:trace contextRef="#ctx0" brushRef="#br0" timeOffset="98074.45">16184 14706 0,'0'35'0,"0"-16"16,0-2-16,0 18 0,-18 71 15,18-71-15,-18 1 0,1 87 32,17-105-32,0 0 0,-17 16 0,17 2 15</inkml:trace>
  <inkml:trace contextRef="#ctx0" brushRef="#br0" timeOffset="98255.84">15936 15006 0,'36'-17'15,"-18"17"1,-1 0-16,19 0 0,-1 0 0,1-19 0,-2 19 16,54 0-16,-34-17 15,-1 17-15,-1 0 0,1 0 16,1 0-16</inkml:trace>
  <inkml:trace contextRef="#ctx0" brushRef="#br0" timeOffset="99226.15">17383 14760 0,'0'-19'16,"-35"38"-16,35-2 16,-18 0-16,18 1 15,-18-18-15,18 18 0,0 0 16,-17 35-16,17-36 0,0 1 0,0 16 15,0 2-15,17-18 16,-17-1-16,18 2 0,0-2 0,-18 0 16,18 1-16,-1 0 0,0-18 15,2 18-15,-2-18 0,1 0 16,-1 0-16,2-18 0,-2 18 16,0-18-16,1 0 0,-1 1 15,-17 0-15,0-2 0,0 2 16,0-18-16,0 16 0,-17 2 15,17 0-15,-18-1 0,18 1 16,-17-2-16,0 2 0,-2 0 0,2-19 16,-1 36-16,1-18 15,-2 18-15,2 0 0,0 0 16,-1 0-16,0 0 16</inkml:trace>
  <inkml:trace contextRef="#ctx0" brushRef="#br0" timeOffset="99702.9">17771 14918 0</inkml:trace>
  <inkml:trace contextRef="#ctx0" brushRef="#br0" timeOffset="100522.51">18247 14601 0,'-35'17'16,"18"18"-1,-2 1-15,19-1 0,0-18 16,-17 19-16,17-19 0,0 71 31,17-69-31,-17-2 0,0 1 0,19 16 0,-2-15 16,1-2-16,-1 1 15,2-18-15,-2 17 0,0-17 16,1 0-16,-18-17 16,-18-1-1,-35-18 1,36 36-16,-1-17 16,1 17-16,-2 0 0,2 0 15,0 0-15,-1 0 16</inkml:trace>
  <inkml:trace contextRef="#ctx0" brushRef="#br0" timeOffset="100759.55">18883 14689 0,'-36'0'16,"19"17"-16,17 1 0,-18-18 15,1 17-15,-19 54 16,19-53-16,-1 0 16,-18 35-16,19-18 0,0-18 15,-2 0-15,-16 54 16,18-52-16</inkml:trace>
  <inkml:trace contextRef="#ctx0" brushRef="#br0" timeOffset="100979.37">18442 14812 0,'88'53'16,"-71"-36"-16,54 37 15,-1-37 1,-52 0-16,18 2 0,-2-19 16,2 17-16,-1-17 0</inkml:trace>
  <inkml:trace contextRef="#ctx0" brushRef="#br0" timeOffset="102282.3">19218 14794 0,'17'18'0,"-17"0"16,0 0-16,0-1 16,0 0-16,0 2 0,-17-2 0,17 35 15,0-33-15,0 16 0,0-18 16,-18 2-16,18-2 0,0 0 15,0 19-15,0-18 0,0-1 16</inkml:trace>
  <inkml:trace contextRef="#ctx0" brushRef="#br0" timeOffset="102874.41">19588 14760 0,'-17'17'16,"17"0"-16,-19 1 15,19 35 1,0-36-16,0 2 16,19 16-16,-19-18 0,35 19 15,35-19 1,-35-17-1,-16-17-15,15-19 16,-34 19-16,-17-1 16,17 1-16,-17-2 0,17 2 15,-19 17-15,-33-35 0,16 35 16,1 0-16,-1-18 0,2 18 0,-2 0 16,-16 0-16,-2 18 0,-16-18 15,16 18-15,2-18 0,-1 17 0</inkml:trace>
  <inkml:trace contextRef="#ctx0" brushRef="#br0" timeOffset="103495.58">17278 14724 0,'-142'370'16,"142"-299"-16,-17-18 0,34 70 15,1-70-15,18 1 0,-2-2 16,37 1-16,-18-17 0,106 16 16,-71-16-16,0-36 0,0 17 15,19-17-15,15 0 0,-15-17 0</inkml:trace>
  <inkml:trace contextRef="#ctx0" brushRef="#br0" timeOffset="103917.43">19852 14353 0,'159'300'0,"-123"-176"16,-36-53-16,0 51 0,-17-32 16,-2-20-16,-16 70 15,-1-69-15,2-18 0,-2-18 16,-16 54-16,16-71 0,18 16 15,-16-15-15,15-2 0,2 1 16,-1-18-16</inkml:trace>
  <inkml:trace contextRef="#ctx0" brushRef="#br0" timeOffset="105862.66">20540 13048 0,'36'-18'0,"-18"18"15,-1 0-15,0 0 0,2 0 0,-2 0 16,35 0-16,-33 0 0,-2 0 16,1 0-16,-1 0 0,2 18 0</inkml:trace>
  <inkml:trace contextRef="#ctx0" brushRef="#br0" timeOffset="106035.98">20435 13348 0,'17'0'31,"-34"0"-31,70 0 0,-35 0 0,34 0 16,1 0-16,-17 0 0,16 0 0,1 0 15,1 0-15,-2 0 0,18 0 16</inkml:trace>
  <inkml:trace contextRef="#ctx0" brushRef="#br0" timeOffset="107783.31">19235 10668 0,'36'-19'32,"-19"19"-32,1 0 0,-1-17 15,2 17-15,-2 0 0,0 0 0,1 0 16,0 0-16,0-18 0,-1 18 15,0 0-15,1 0 16</inkml:trace>
  <inkml:trace contextRef="#ctx0" brushRef="#br0" timeOffset="107992.68">19359 10914 0,'123'-36'15</inkml:trace>
  <inkml:trace contextRef="#ctx0" brushRef="#br0" timeOffset="125612.68">21194 10456 0,'34'17'0,"-16"-17"0,18 0 16,-19 0-16,0 0 16,19 0-16,-18-17 0,-1 17 0,36 0 15,-35 0 1,-1 0-16,2 0 0,-2 0 16,-17 17-16,17-17 15,-17 17-15,0 2 0,-17 50 31,17-50-31,0 16 0,-17-18 16,17 2-16,-19 50 0,2-50 16,-1 69-1,1-54-15,17-15 16,0 16-16,0-18 0,-19-17 16,19 17-16</inkml:trace>
  <inkml:trace contextRef="#ctx0" brushRef="#br0" timeOffset="125846.87">21158 10897 0,'88'-19'16,"-70"2"-16,34 17 16,-34 0-16,0 0 0,17 0 0,-18-17 15,19 17-15,35 0 16,-54-18-16</inkml:trace>
  <inkml:trace contextRef="#ctx0" brushRef="#br0" timeOffset="126002.66">21863 10790 0,'0'-17'0</inkml:trace>
  <inkml:trace contextRef="#ctx0" brushRef="#br0" timeOffset="126479.81">22163 10597 0,'19'-19'0,"-38"38"16,55-38-16,-1 38 15,-53 69 17,1-71-32,0 18 0,-19 1 15,18-1-15,-18 18 0,2 18 16,34-54-1,17-17-15,-17 17 0,17 2 16,54-38 0,-18 19-16,1-17 0,-2 17 0,1-17 15,18-1-15,-18 18 0,-1-17 16,1-2-16,1 2 0,68-18 16</inkml:trace>
  <inkml:trace contextRef="#ctx0" brushRef="#br0" timeOffset="132249.78">22075 12925 0,'0'-17'0,"0"-2"16,-35 38 15,-1 15-31,19-16 15,0 0-15,-19 17 0,1 53 16,18-52-16,-19-1 16,36 1-16,-18-2 0,18-16 0,-17 18 15,17-2-15,0-16 0,0 0 0,0 0 16,0 35-16,17-18 16,1-35-16,-18 17 0,36 0 15,-19-17-15,18 0 16,-17-17-1,0 0-15,-18-1 16,0 1-16,0-2 16,-36 2-1,36 0-15,-18 17 0,1 0 0,17-18 16,-17 18-16,-2 0 0,2 0 16,-1 0-1</inkml:trace>
  <inkml:trace contextRef="#ctx0" brushRef="#br0" timeOffset="132780.6">22587 12960 0,'-36'0'0,"1"0"15,106 0-15,-178 0 0,90 18 0,0-18 16,-1 18-16,-18-18 0,19 17 16,0 0-16,-1 1 0,0-18 15,18 18-15,-18 0 0,36-1 16,0-17-1,0 0-15,-1 0 0,0 0 16,54 0 0,-54 0-16,2 0 15,-2 0-15,1 17 0,-1 2 0,-17-2 16,19 18-16,-19-16 0,0 15 16,-19 20-16,19-20 15,0 2-15,-17 35 0,17-54 0,0 18 16,0-18-16,0 19 15</inkml:trace>
  <inkml:trace contextRef="#ctx0" brushRef="#br0" timeOffset="133191.79">22340 13401 0,'-18'-17'31,"36"-1"-15</inkml:trace>
  <inkml:trace contextRef="#ctx0" brushRef="#br0" timeOffset="137676.84">21087 11425 0,'19'-17'16,"15"17"-16,72-35 15,18-1-15,-36 19 16,0-1-16,-18 18 0,196-53 16,-196 53-16,70-17 15,2-1 1,-89 0-16,0 18 0,-1 0 0,2 0 15,-20 0-15,-15 0 0,-2 0 16</inkml:trace>
  <inkml:trace contextRef="#ctx0" brushRef="#br0" timeOffset="137874.54">21052 11620 0,'300'-36'0,"-229"18"0,193-16 15,1-20 1,-106 37-16,-19 17 16,-69 0-16,-1 0 15,-16 0-15</inkml:trace>
  <inkml:trace contextRef="#ctx0" brushRef="#br0" timeOffset="138427.09">21952 14336 0,'52'-18'0,"-104"36"16,140-36-16,-53 1 0,1 17 0,16-17 15,19-2-15,-18 19 0,35-17 16,0-1-16,-17 1 0,-1-2 0,1 2 15,-18 0-15,70-1 16,-87 0-16,-1 18 0,1 0 0</inkml:trace>
  <inkml:trace contextRef="#ctx0" brushRef="#br0" timeOffset="138618.04">21828 14689 0,'35'-17'0,"72"-2"16,-2-16-1,19-18-15,-53 36 16,17-1-16,-36 1 0,1-2 0,18 2 16,17-18-1</inkml:trace>
  <inkml:trace contextRef="#ctx0" brushRef="#br0" timeOffset="145341.82">7964 11532 0,'-17'0'0,"-2"0"16,55 0 15,52 0-15,-53 0-16,18 0 15,71 0-15,-36 0 16,-34 0-16,-37 0 15,18-18-15,1 18 0,-2 0 0,2 0 16,16 0 0,-33 0-16,-2 0 0,1 0 15,-1 0-15,0 0 16</inkml:trace>
  <inkml:trace contextRef="#ctx0" brushRef="#br0" timeOffset="146292.16">12110 11373 0,'34'0'47,"2"0"-32,-18 0-15,-1 0 0,0-19 16,19 19-16,-18 0 0,-1 0 16,36 0-16,-35 0 0,-1 0 15,19-17-15,-19 17 0,1 0 16,-1 0-16,2 0 15,-2 0-15,0 0 16,1 0-16,0 0 16,0 0-1</inkml:trace>
  <inkml:trace contextRef="#ctx0" brushRef="#br0" timeOffset="148122.54">16942 11178 0,'36'0'16,"-19"0"-16,0 0 0,19 0 16,-18-17-16,18 17 0,-2 0 0,1 0 15,1 0-15,-1 0 0,1 0 0,-2 0 16,2 0-16,-1 0 0,53-17 16,-69 17-16,15 0 15,-16 0-15,-1 0 0,2 0 16,-2 0-16,18 0 15,-17 0-15,0 0 16,-18 17 31</inkml:trace>
  <inkml:trace contextRef="#ctx0" brushRef="#br0" timeOffset="149373.89">20682 7122 0,'0'18'31,"0"16"-31,0-16 16,0 0-16,0 0 0,0-1 15,0 0-15,-18 19 16,18-18-16,0 70 16,-17-71-16,17 2 0,0-2 15,0 0-15,0 1 16,0 0-16</inkml:trace>
  <inkml:trace contextRef="#ctx0" brushRef="#br0" timeOffset="149657.07">20259 6962 0,'-53'54'0,"35"-18"16,89-126-16,-178 232 0,90-106 16,0 16-16,17 1 0,0 0 15,-19-1-15,38 143 16,-2-160-16,0 18 0,1-17 16,18 35-16,-19-54 15,0 0-15,54 18 16,-18-16-16,-35-19 0</inkml:trace>
  <inkml:trace contextRef="#ctx0" brushRef="#br0" timeOffset="149950.15">21123 6822 0,'123'211'16,"-105"-104"-1,-18-19-15,-18-35 0,-34 123 16,-19-53-1,35-70-15,1 0 0,-1 1 16,-34 15-16,35-33 0,0-1 16,-1-17-16</inkml:trace>
  <inkml:trace contextRef="#ctx0" brushRef="#br0" timeOffset="207265.09">5336 5358 0,'0'71'46,"18"52"-46,-1-35 0,-17 18 16,36 34 0,-19 20-16,1 16 15,-1 36-15,36-18 16,-18 18-16,-35 176 16,0-71-1,0-176 1,0-18-16,0 18 15,0-34-15,0-36 16,0-19-16,19 1 16</inkml:trace>
  <inkml:trace contextRef="#ctx0" brushRef="#br0" timeOffset="208321.37">3802 5305 0,'17'35'16,"18"177"-1,-35-88 1,0 17-16,0 140 15,0 73 1,0-178 0,0-71-16,0 178 15,-35-125 1,18-34 0,-2-53-16,2 52 0,-18-53 15,35-16-15,0-20 16,0 20-1,0-37-15,-17 2 0,17-2 16</inkml:trace>
  <inkml:trace contextRef="#ctx0" brushRef="#br0" timeOffset="2174.5">8352 11602 0</inkml:trace>
  <inkml:trace contextRef="#ctx0" brushRef="#br0" timeOffset="2982.76">9622 11584 0,'18'0'16,"0"0"15,-1 0 16,18 0-31,1 0-1,-2 0-15,2 0 16,-1 0 0,-16 0-16,-2 0 15,0 0-15,1 0 63</inkml:trace>
  <inkml:trace contextRef="#ctx0" brushRef="#br0" timeOffset="4199.58">12127 11354 0,'17'0'31,"1"0"-16,0 0-15,0 0 16,16 0 0,2 19-1,-18-19 1,-1 0-16,19 0 16,-19 0-16,18 0 15,-16 0 1,15 0 140</inkml:trace>
  <inkml:trace contextRef="#ctx0" brushRef="#br0" timeOffset="5246.56">13415 11249 0,'17'0'110,"1"0"-95,35 0 1,-36 0-16,1 0 16,18 0 30</inkml:trace>
  <inkml:trace contextRef="#ctx0" brushRef="#br0" timeOffset="6341.96">16960 11232 0,'0'0'0,"18"0"31,-1 0-15,0 0-16,2 0 0,-2 0 16,1 0-16,18 0 15,-19 0 1,0 0-1,18 0-15,-16 0 16,15 0 0,-16 0-1,0-36-15,0 36 16,-1-18 15</inkml:trace>
  <inkml:trace contextRef="#ctx0" brushRef="#br0" timeOffset="9144.41">18406 11108 0,'53'0'156,"-17"0"-140,-1 0-1,1 0 1,-55 0 281,2 0-282,-1 0 17,1 0-1,-2 0-31,2 0 31,-18 0-15,17 0-1,0 0 1,1 0 0,0 0-1,-1 0 1,0 0-1,0 0 48,1 0 218,52 0-250,-17 0-15,-36 0 203,0 0-204,1 0 1,0 0 109,-2 0-109,2 0-1</inkml:trace>
  <inkml:trace contextRef="#ctx0" brushRef="#br0" timeOffset="11439.47">9780 10561 0,'0'17'78,"0"2"-63,0-2-15,0 18 0,-34 1 16,16-19 0,-18 1-16,-16 35 0,16-18 15,2-17-15,-37 0 16,52 16-16,-15-15 16,16-2-16,18-34 125,0-2-110</inkml:trace>
  <inkml:trace contextRef="#ctx0" brushRef="#br0" timeOffset="11910.21">9428 10597 0,'35'0'47,"1"35"-31,16 1-16,1-2 0,-17-16 15,16 18 1,-34-36-1,-18 17-15,18-17 63</inkml:trace>
</inkml:ink>
</file>

<file path=ppt/ink/ink9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13:02.753"/>
    </inkml:context>
    <inkml:brush xml:id="br0">
      <inkml:brushProperty name="width" value="0.05292" units="cm"/>
      <inkml:brushProperty name="height" value="0.05292" units="cm"/>
      <inkml:brushProperty name="color" value="#0070C0"/>
    </inkml:brush>
  </inkml:definitions>
  <inkml:trace contextRef="#ctx0" brushRef="#br0">10491 5058 0,'317'-18'0,"-141"1"15,-69 17-15,316-17 16,-299-2 0,-19 19-16,19 0 0,-1 0 0,1 0 15,-19-17-15,19 17 0,193 0 16,-211 0-16,-36 0 16,18 0-16,-17 0 0,-18 0 15,1 0-15,-20 0 0,2 0 0,-1 0 16,36 0-1,-37 0-15,-15 0 0,-2 0 16,1 0-16,-1 0 16</inkml:trace>
  <inkml:trace contextRef="#ctx0" brushRef="#br0" timeOffset="6770.74">21462 4935 0,'-18'0'0,"36"17"78,-1-17-47,19 0-31,-1 0 16,1 0-16,-19 0 0,0 18 16,2-18-16,-2 0 0,1 0 0,-1 0 15,19 0-15,-1 0 16,-18 0-16,2 17 16,-2-17-16,0 0 15</inkml:trace>
  <inkml:trace contextRef="#ctx0" brushRef="#br0" timeOffset="11492.73">22415 4916 0,'-19'0'0,"55"0"31,-1-17-16,-16 17-15,-2 0 0,0 0 16,1 0-16,-1 0 0,36 0 16,-17 0-1,-18 0-15,-1 0 0,19 0 16</inkml:trace>
  <inkml:trace contextRef="#ctx0" brushRef="#br0" timeOffset="12996.68">23791 4916 0,'52'0'15,"-16"0"1,-1 0-16,35 0 15,-52 0-15,18 0 16,-19 0-16,0 0 0,1 0 16,52 0-1,-34 0 1,-18 0 0</inkml:trace>
  <inkml:trace contextRef="#ctx0" brushRef="#br0" timeOffset="15656.31">966 6751 0,'105'-17'0,"-69"17"0,-1-18 16,1 18-16,-2 0 0,37-17 0,-18 17 0,-1-19 15,2 19-15,-1-17 16,-18 17-16,1 0 0,-2 0 0</inkml:trace>
  <inkml:trace contextRef="#ctx0" brushRef="#br0" timeOffset="15889.48">912 6963 0,'36'0'0,"-18"0"16,16 0-16,-15 0 0,16 0 0,1 0 0,-2 0 16,72-17-1,-70 17-15,34 0 16,-52 0-16,-1 0 0,0 0 0,2 0 16,-2 0-16,1 0 15</inkml:trace>
  <inkml:trace contextRef="#ctx0" brushRef="#br0" timeOffset="16713.89">490 5923 0,'-18'88'0,"18"-53"16,0-18-16,0 2 0,0 15 0,-18-16 16,18 18-16,18-2 0,-18 2 15,-18-18-15,36 16 16,-18-15-16,0-2 0,0 1 16,-18-53 15,18-1-31,0-17 15,0-87 1,0 104-16,0 1 16,0-1-16,18 19 0,-18-18 0,0 16 15,18 2-15,-1 0 16,0 17-16,19 17 16,-18 0-16,16 2 0,-15-2 15,16 35-15,1 19 16,-36-52-16,17 15 0,0 2 0,1-18 15,-1 34-15,-17 1 16,19-17-16,-19-19 16,17 1-16,-17 18 0</inkml:trace>
  <inkml:trace contextRef="#ctx0" brushRef="#br0" timeOffset="16928.57">331 6363 0,'0'-17'16,"17"-1"-16,1 1 16,18 17-16,-2-19 15,2 2-15,34 0 0,-34-1 16,17 0-16,-18 0 15,-18 1-15,19 0 0,-1-1 0</inkml:trace>
  <inkml:trace contextRef="#ctx0" brushRef="#br0" timeOffset="17339.8">1142 5764 0,'0'0'0,"0"35"31,0 0-31,0-17 16,0 17-16,17-18 0,-17 19 16,0 35-16,19-36 0,-19 1 0,0-19 15,0 18-15,17-17 16,-17 17-16,17 36 16,-17-54-1,0 0 1,-17-17-1,-19-17-15,19 17 0,-1 0 16,1 0-16,0 0 0,-37 0 16,37 0-16,-19 0 0,-16 36 15,33-19 1,2 1 0,17 18-16,-17-36 0,34 17 15,-17 0-15,0 1 0,17-18 16,2 17-16,16-17 15,-18 0-15,0 0 0,19 0 16,-18 0-16,-1-17 0,2 17 16,15-18-16,37 1 15</inkml:trace>
  <inkml:trace contextRef="#ctx0" brushRef="#br0" timeOffset="17703.68">1319 6134 0,'17'36'31,"1"-19"-31,-18 0 15,17 19-15,-17-18 16,0-1-16,0 0 16,0 2-16,0-55 62,0 19-62,0-1 16,17 0-16,-17 0 0,19 1 15,-19 0-15,17-1 16,1 18-16,18-36 16</inkml:trace>
  <inkml:trace contextRef="#ctx0" brushRef="#br0" timeOffset="17853.84">1583 6099 0,'17'17'16,"-17"1"-16,18 0 15,-18 0-15,18-1 16,0 0-16,-18 1 0,0 0 16,17 0-16,-17-1 15,0 19-15</inkml:trace>
  <inkml:trace contextRef="#ctx0" brushRef="#br0" timeOffset="17975.74">1600 6134 0,'0'-18'0</inkml:trace>
  <inkml:trace contextRef="#ctx0" brushRef="#br0" timeOffset="18815.34">1971 6063 0,'-17'0'0,"-19"19"32,36-2-32,-18-17 0,18 17 0,-17 1 15,0 0-15,17 0 16,-19-1-16,19 0 15,0 19 1,0-18-16,19-18 0,-19 17 16,17-17-1,0 0 1,1-17-16,-18-1 16,18 0-16,0-34 15,-1 16 1,-17 18-1,0 1 1,17 52 47,2-35-48,-19 18-15,17 0 16,1-18 15,-1-18-15,0 18-1,2-18 1,-2 18 0,-17-18-16,18 18 15,-1 0 1,2 36-1,-2-36 1,-17 18 0,17-18-16,-17 17 15,18-17 1,-1-17 15,2 17-31,-2 0 16,0-18 15</inkml:trace>
  <inkml:trace contextRef="#ctx0" brushRef="#br0" timeOffset="18986.12">1688 5904 0,'-17'0'0,"0"0"32</inkml:trace>
  <inkml:trace contextRef="#ctx0" brushRef="#br0" timeOffset="22057.85">2076 7880 0,'0'-17'15,"36"17"1,-18 0-16,18 0 16,52 0-16,17 0 15,-34 0-15,-1 0 16,1 0-16,17 0 0,-17 0 0,-1 0 15,1 0-15,158 0 16,-158 0-16,0 0 0,-19 0 16,18 0-16,-16 0 0,-20 0 0,20-17 15,-37 17-15,19 0 0,-1 0 16,-18 0-16,2 0 0,15 0 16,-16 0-16,0 0 15,0 0-15</inkml:trace>
  <inkml:trace contextRef="#ctx0" brushRef="#br0" timeOffset="33340.58">21744 4370 0,'35'0'109,"-35"-18"-93,19 18-1,15-17 1,-16 0-1,0 17 1,0 0 0,-18 17 31,0 0-32,0 1-15,-18 18 16,18-2-1,0-15-15,0 16 16,0-1 0,0-15-1,0-2 1,0 1-16,0-1 47,0 2-32,-18-19-15,18 34 16,0-16 0,-18-18-1,18 18 1</inkml:trace>
  <inkml:trace contextRef="#ctx0" brushRef="#br0" timeOffset="33809.9">21708 4706 0,'54'0'63,"-1"0"-48,-36 0 1,1 0-16,0 0 0,34-18 16,-16 18-1,-18 0 1,-1 0-16,0 0 16,2 0-1,-2 0 1,18-18-1,-16 0-15</inkml:trace>
  <inkml:trace contextRef="#ctx0" brushRef="#br0" timeOffset="35342.6">22415 4352 0,'0'-17'47,"17"17"-31,1-17-1,-1 17 1,2 0 0,-2 0-16,-17-19 0,17 19 15,1 0 1,-1 0-1,2 0-15,-2 19 32,-17-2-17,0 0 17,0 1-32,-17 0 31,-2 0-16,19-1 1,-17 0 0,-1 2-1,1-2 1,0 1 15,-2-1-15,2 0-16,17 2 15,-18-2 1,1 1 0,-2-18-1,19 17 1,-17 2 0,0-2-1,17 0 16,-18-17-15,1 18 15,-2 0 16,38 0 31,-2-18-62,1 0 0,-1 0-16,19 0 15,-19 0-15,18 0 16,-16 0-16,-2 0 15,0 0-15,1 0 16,-1 0-16,2-18 16,-2 18-16,0 0 0</inkml:trace>
  <inkml:trace contextRef="#ctx0" brushRef="#br0" timeOffset="36839.91">23843 4335 0,'17'-17'16,"2"17"-1,-2 0-15,1 0 16,-1 0 0,2 0-16,-2 0 15,0 0 17,-51 0 30,-2 0-31,18 0-31,-35 0 32,36 0-17,17 17 1,-18-17-1,1 0-15,17 17 16,-19 1 0,19 0-16,0 0 31,-17-18-31,17 17 31,0 0-15,0 2 124,17-19-124,19 0 15,-1 0-15,-18 0 0,2 17-1,16 1 1,-18-1 15,-17 0-31,19 2 16,-19-2-1,-19-17 1,2 35 0,-1-16 15,-18-2-31,19-17 15,-18 0 1,18 17 0</inkml:trace>
  <inkml:trace contextRef="#ctx0" brushRef="#br0" timeOffset="39503.78">14795 6716 0,'35'-17'32,"18"17"-17,-36 0-15,1 0 0,70 0 16,-52 0-16,-19 0 0,19 17 15,-19-17-15,18 18 16,-18-1-16,2 2 0,-2 15 0,1-16 16,-1 18-16,2 34 15,-19 36-15,0-53 0,0 18 16,0-1-16,0 53 0,-19 53 16,38 1-16,-19-89 15,0 0-15,17 0 0,0 19 16,-17-19-16,18 0 0,35 229 15,-18-105 1,-17-106-16,0-1 0,-1-16 0,0 17 16,19-1-16,-18 2 0,-1-19 15,36 194-15,-35-194 16,18 0-16,-19-17 0,0 0 0,1-1 16,0-18-16,0 2 0,-18-1 15,17-1-15,-17 1 0,17-18 16,-17 1-16,0-1 0,0-17 0,0 17 0,-17-18 15,17 2-15,-17-2 0,-1 1 0,0-1 16,-17 0-16,-53 19 16,17-18-16,1-1 0,-18 2 15,-19-2-15,2-17 0,-19 17 0,-16-17 16,-38 18-16,2-18 0,-229 18 16</inkml:trace>
  <inkml:trace contextRef="#ctx0" brushRef="#br0" timeOffset="45657.26">3488 7846 0,'-17'0'0,"52"0"47,-1 0-31,-15 0-16,-2 0 15,37 0-15,-2 0 16,-16 0-16,-2 0 0,2 0 16,-18 0-16,16 0 0,2 0 15,-1 0-15,72 0 16,-37 0-16,-35 0 16,-18 0-16,1 0 0,18 0 0,17 0 15,-36 0-15,1 0 16,-1 0-1,2 0-15,-2 0 16,0 0-16,1 0 16,-18-19 15</inkml:trace>
  <inkml:trace contextRef="#ctx0" brushRef="#br0" timeOffset="47584.25">6998 7792 0,'36'18'78,"-19"-18"-62,19 0-16,33 0 16,-15 0-1,16 0 1,-35 0-16,18-18 0,18 18 0,-18 0 0,159 0 15,-142 0-15,0 0 16,18 0-16,-34 0 16,16 0-16,1 0 0,-18 0 0,-18 0 15,141 0 1,-140 0-16,-19 0 16,1 0-16,0 0 0,0 0 0,16 0 31,-15 0-16,-19 18 1,17-18 0</inkml:trace>
  <inkml:trace contextRef="#ctx0" brushRef="#br0" timeOffset="49394.84">11708 7827 0,'35'19'15,"0"-19"1,-17 0-16,17 17 16,-18-17-16,2 0 15,16 0-15,-18 0 0,19 17 16,16-17-16,-16 0 0,-1 18 0,106-18 15,-88 17 1,-18-17-16,36 0 0,-18 0 16,-18 0-16,18 19 0,-17-19 0,33 0 0,-15 0 15,16 0-15,1 0 16,-18 17-16,18-17 0,-19 0 0,1 0 16,1 0-16,-2 17 0,1-17 0,-18 0 15,18 0-15,18 18 16,17-18-16,-35 0 0,-18 0 15,35 18-15,-34-18 0,-1 0 16,1 0-16,35 18 16,-37-18-16,-16 0 0,18 0 0,-2 0 15,2 0-15,-18 0 0,16 0 0,-15 0 16,16 0-16,35 0 16,-16 0-1,-37 0-15,0 0 0,37 0 16,-20 0-16,-16 0 0,88 0 31,-71 0-31,-16 0 0,-2 0 0,18 0 16,-18 0-16,2 0 0,-2 0 15,18 0-15,1 0 0,16-18 16,-34 18-16,0 0 0,-1 0 16,0 0-16,2 0 0,-2-18 15,18 18 1,-35-18-16,19 1 0,-2 0 15,-17-2 1,0 2-16,0-1 0,17-35 16,-17 36-16,0-1 0,0 1 15,0-2-15,0-15 0,0 16 16,0 0-16,0 0 0,-17-87 16,17 69-1,0 19-15,-17-1 0,17 1 16,0-19-16,-19 19 0,19-1 0,-52-70 31,33 52-31,2 19 0,17 0 16,-35-19-16,17 18 0,0 1 15,1 0-15,-36-19 0,1 18 16,33 1-16,-16-2 16,18 2-16,-19 0 0,1 17 0,-53-35 15,18 16-15,16 19 16,-70-17-16,72 0 0,-18 17 15,-1-18-15,18 18 0,-18-18 0,0 18 16,2 0-16,-72 0 16,53 0-16,17 0 0,0 0 0,1 0 15,-1 0-15,-70 0 0,70 0 16,0 0-16,19 0 0,-18 0 16,34 18-16,-18-18 0,-86 18 15,70-1 1,34-17-16,1 17 0,-1 2 15,1-19-15,18 17 0,-36 18 16,-53 36 0,70-54-16,19 2 0,0-2 15,-37 18-15,37-17 0,0 0 16,-37 16-16,18 2 16,19-18-16,0-1 0,-1 0 15,0 2-15,0-2 0,-16 18 16,34-16-16,-36 33 15,18-35-15,18 2 16,0-2-16,-17-17 0,17 17 16,0 1-16,0 0 0,-17 0 15,17-1-15,17 0 16,0-17 0,19 0-16,-1-17 15</inkml:trace>
  <inkml:trace contextRef="#ctx0" brushRef="#br0" timeOffset="50890.99">19680 6822 0,'0'53'15,"0"-18"1,0-17-16,18 0 0,-18-1 0,0 36 31,0-35-15,0-1-16</inkml:trace>
  <inkml:trace contextRef="#ctx0" brushRef="#br0" timeOffset="51186.86">19416 6540 0,'-53'18'15,"106"-36"-15,-123 53 16,52-18-16,0 1 0,18 0 0,-18 17 16,1 1-16,0 16 0,17 1 15,-19-18-15,19 54 16,0-54-16,-17-18 0,17 19 0,0-1 0,0 1 16,17-19-16,2 54 15,-19-36-15,17-17 16,0 0-16,1-18 0,-18 17 0,18-17 15,0 0-15,16 0 0</inkml:trace>
  <inkml:trace contextRef="#ctx0" brushRef="#br0" timeOffset="51563.46">19892 6487 0,'123'35'16,"-70"18"-16,-35-18 0,18 1 15,17 157 1,-53-157-16,0 52 16,-19-35-16,2-1 0,0 2 0,-1-1 15,-71 70 1,37-53-16,35-34 0,-2-18 15,-16 18 1</inkml:trace>
  <inkml:trace contextRef="#ctx0" brushRef="#br0" timeOffset="54539.85">2166 8656 0,'-19'0'15,"55"18"-15,-19-18 16,18 0-16,1 0 0,88 18 15,69 0 1,-122-1-16,70-17 0,-70 17 16,17-17-16,-17 0 0,-1 0 15,18 0-15,-17 18 0,0-18 16,-1 0-16,1 0 0,69-18 16,-33 18-16,-55 0 0,-16 0 15,17 0-15,-36-17 0,18 17 16,1 0-16,-19 0 0,37 0 15,-37 0-15,0 0 0,1 0 16,0 0-16,0-17 16,-1 17-16</inkml:trace>
  <inkml:trace contextRef="#ctx0" brushRef="#br0" timeOffset="56403.09">5711 8622 0,'35'0'62,"-18"0"-46,2-19-16,-2 19 0,0 0 16,1 0-16,18 0 15,-19 0-15,18 0 0,-17 0 0,17 0 16,-18-17-16,19 17 0,-1 0 15,1 0-15,-19 0 0,106 0 16,-52-18-16,-18 18 16,-17 0-16,-1 0 0,18 0 15,-18 0-15,1 0 0,16-17 16,-16 17-16,-2 0 0,37 0 16,-35 0-16,-1 0 0,1 0 0,-2 0 15,-16 0-15,18-19 0,-2 19 16,20 0-16,-1 0 15,-18 0-15,-18 0 0,19 0 0,-19 0 16,1 0-16,18 0 0,-19 0 16,18 0-16,18 0 15,-18 0-15,-17 0 16,0 0-16,-1 0 0,0 0 16,2 0-16,-2 0 15,1 0-15,-1 0 0,0 0 16,2 0-1,-2 0 17,1 0 15,-53 19 78</inkml:trace>
  <inkml:trace contextRef="#ctx0" brushRef="#br0" timeOffset="59921.18">8322 8622 0,'-19'0'15,"55"17"17,-19-17-32,1 0 0,18 0 15,-2 0-15,2 0 0,-18 17 16,16-17-16,20 0 0,-20 0 0,20 0 16,-18 0-16,157 0 15,-122 0-15,-1 0 16,18 0-16,-17 0 0,34 0 0,-34 0 15,17 0-15,71 0 0,-89 0 16,1 0-16,282 0 16,-299 0-1,-2 0-15,1 0 0,-18 0 16,18 0-16,-17 0 0,52 0 16,-53 18-16,1-18 0,-2 0 15,2 0-15,-18 0 0,16 0 0,20 0 16,-1 0-1,-1 0-15,-33 0 0,33 0 16,-16 0-16,-19 0 16,0 0-16,37 0 15,-37 0-15,0 0 16,2 0-16,-2 0 0,1 0 0,16 0 16,-15 0-16,-2 0 15,37 0-15,15-18 16,-50 18-1,-2 0-15,0 0 16,1 0-16,0 0 16,0 0-1,-1 0 1,0-17 15,-17 0 0,0-2-15,0-16 15,0 18-31,19 17 0,-19-19 0,0 2 16,0 0-16,17-1 0,-17 1 16,0-2-16,0 2 0,0 0 0,0-1 15,18 0-15,-18 0 0,0 1 0,0-36 16,0 35-1,0-16-15,-18 34 0,18-36 16,0 18-16,0 1 16,0-2-16,0 2 15,0-18-15,0 18 16,0-19 0,0 19-16,0-1 15,-17 0-15,17 0 16,0 1-16,0 0 15,0-2 1,0 2-16,0-1 16,-19 18-1,19-17 1,0 0 0,-17 17 15,-36 0-16,35 0-15,-16 0 16,15 0 0,2 0-16,-1 0 0,-35 0 15,18 0-15,-1 17 0,19-17 16,0 0-16,-18 0 0,-72 0 16,90 0-1,-19 0-15,-16 0 0,-1 0 16,18 0-1,-1 0-15,1 0 0,17 0 0,-17 0 0,0 0 16,-89 0 0,107 0-16,0 0 0,-37 0 15,18 0-15,2 0 16,-2 0-16,18 0 0,-16 0 16,-20 0-16,-34 0 15,52 0-15,-16 0 16,16 0-16,2 0 0,-2 0 15,18 0-15,-16-17 0,-2 17 16,1 0-16,18 0 0,-143 0 16,125 0-1,0 0-15,17 0 0,-17 0 16,-1 0-16,-16-19 16,-19 19-16,18 0 0,18 0 15,17 0-15,-17 0 0,0 0 16,-54 0-1,54 0-15,-1 0 0,2 0 0,16-17 16,-18 17-16,2 0 0,-2 0 16,1 0-16,-53 0 0,35 0 15,18 0-15,-18 0 0,18 0 0,-18 0 16,-123-18 0,122 18-16,18 0 15,-16 0-15,-1 0 0,18 0 0,-18 0 0,0 0 16,-1 0-16,2 0 15,-1 0-15,18 0 0,-18 0 0,-106 0 16,123 0 0,2 18-16,-1-18 0,-1 0 15,1 0-15,-1 0 0,-52 0 16,-17 0-16,34 0 16,35 0-16,2 0 15,-2 0-15,1 17 0,-1-17 0,-33 0 16,15 0-16,-16 19 15,52-19-15,-18 0 16,-86 17 0,103-17-16,2 0 15,-18 0-15,16 0 0,2 0 0,-18 0 16,-1 0-16,19 0 16,0 0-16,-19 0 0,18 0 0,1 0 0,-19 0 15,19 0-15,-54 0 16,36 0-16,18 0 15,-54 17-15,18-17 16,18 0-16,17 0 0,-17 0 16,-1 0-16,19 18 0,-89-1 15,70-17-15,19 0 16,-18 0-16,17 19 0,0-19 16,-16 0-16,16 0 0,-18 17 15,-34-17 1,70 17-16,-18-17 15,1 0-15,0 0 0,-19 0 16,18 0 0,1 0-16,-2 18 15,2-18-15,0 0 16,-1 0 0,0 0-1,0 18 16,18 0-15,0-1 0,0 0-16,0 2 0,0 33 15,18-35 1,-18 19-16,0-1 0,0 18 16,18-18-16,-18-16 15,0-2-15,0 18 0,18-17 0,-18 0 16,17 52-1,-17-52-15,17-18 0,-17 34 16,19-15 0,-19-2-1,0 1-15,17-18 16,-17 17 0,18-17-1,-1 0 1,2-17-1,-2 17-15,0 0 16,1 0-16,18-18 16,-2 18-16,72-36 15,-70 19-15,17 17 16,35-17-16,-53 17 16,18-18-16,0 18 0,-18-17 15,18 17-15,-18 0 0,1 0 0,-1 0 16,1 0-16,69 0 15,-70 0-15,-17 0 0,53 0 16,-36 0-16,18 0 16,18 0-16,17-19 15,-54 19-15,37 0 16,-54-17-16,19 17 0,-1 0 16,1 0-16,-1 0 0,18-17 15,0 17-15,-35 0 0,16 0 16,2 0-16,87-18 15,-87 18-15,-1 0 0,1 0 16,-19 0-16,54 0 16,-54-18-16,19 18 0,-19 0 15,18 0-15,-18 0 0,19 0 0,-18 0 16,35 0-16,-36 0 16,1 0-16,35 0 0,-18 0 15,18 0-15,-36 0 16,2 0-16,-2 0 0,54 18 31,-54-18-31,1 0 0,-1 0 16,2 0-16,-2 0 15,71 0 1,-71 0-16,1 0 16,0 0-16,0 0 15,-1 0-15,0 0 0,19 0 16,-18 0-16,-1 0 15,2 18-15,-2-18 16,0 0-16,1 0 0,-1 0 16,2 0-16,-2 17 0,0-17 15,1 17 1,0-17-16,0 0 16,-18 19-16,17-19 15,0 0-15,-17 17 16,36-17-1,-18 18-15,-1-18 16,0 17-16,2-17 16,-2 0-16,18 17 0,1-17 15,-19 19-15,1-19 16,0 0-16,-18 17 16,18-17-16,-1 0 0,-17 18 15,17-18-15,1 0 16,0 0-16</inkml:trace>
  <inkml:trace contextRef="#ctx0" brushRef="#br0" timeOffset="62090.55">2112 9486 0,'123'17'15,"-70"-17"-15,1 0 0,16 0 0,1 17 16,17-17-16,-17 0 0,105 0 15,-88 0-15,18 19 0,-36-19 16,19 0-16,-18 0 0,87 0 16,-87 0-16,-2 0 15,2 0-15,-18 17 0,1-17 0,-2 0 16,-16 0-16,-2 0 0,-15 0 0,16 0 16,-1 0-16,-15 0 0,52 0 15,-54 0 1,0 0-16,1 0 15,0 0-15,0 0 16,-1 0-16,0 0 0,1 0 16</inkml:trace>
  <inkml:trace contextRef="#ctx0" brushRef="#br0" timeOffset="66608.34">5394 9450 0,'34'0'32,"20"0"-17,-37 0-15,0 0 16,19 0-16,-1-18 0,0 18 15,-17 0-15,34 0 0,-16 0 0,18 0 16,-2 0-16,1 0 0,0 0 0,194-17 31,-195 17-31,1 0 0,-17 0 16,70 0-16,-72 0 16,20 0-16,-1 0 0,-18 17 0,18-17 15,-18 0-15,89 0 16,-88 0-16,-2 0 0,1 0 15,1 0-15,35 18 0,-37-18 16,-15 0-16,16 0 0,-1 0 16,2 0-16,18 0 0,-37 0 15,18 0-15,-18 0 0,2 0 0,15 0 16,-16 0-16,0 0 0,17 0 16,-18 0-16,2 0 0,-2 18 15,35-18-15,-33 0 0,-2 0 16,18 0-16,-16 0 0,-2 0 0,0 0 15,37 0-15,-37 0 16,0 18-16,1-18 0,52 0 16,-16 0-1,-37 0-15,0 0 0,2 0 0,-2 0 16,1 0-16,-1 0 0,19 0 16,-19 0-16,1 17 0,0-17 15,0 0-15,-1 0 0,0 0 0,1 0 16,18 0-16,-19 0 15,0 0-15,37 0 0,-37 0 16,2 0-16,-2 17 0,18-17 0,-18 0 16,19 0-16,-1 0 15,-17 0-15,0 0 0,52 19 16,-52-19-16,16 0 16,-15 0-16,16 0 0,-18 0 0,19 0 15,-19 0-15,19 0 0,-18 0 16,-1 0-16,36 0 0,-18 0 15,-18 0-15,2 0 0,16 0 16,-18 0-16,54 17 16,-35-17-16,-19 0 0,18 0 15,18 0-15,-18 0 0,18 0 16,-36 0-16,2 0 0,16 0 16,-18 0-16,19 0 0,-19 0 15,37 0-15,16 0 16,-52 0-16,16 0 15,-16 0-15,0 0 0,17 0 0,-18 0 16,37 0-16,-37 0 0,36 0 16,-35 0-16,-1 0 15,2 0-15,15 0 0,37 0 16,-54 0 0,19 0-16,-18 0 0,-1 0 15,0 0-15,2 0 0,16 0 16,18 0-16,-36 0 0,19 0 15,-18 0-15,-1 0 16,18 0-16,-17 0 0,0 0 0,-1 0 16,0 0-16,2 0 0,16 0 15,-18 0-15,2 0 0,15 0 16,-16 0-16,-1 0 0,36-17 31,-35 17-31,18 0 16,-19 0-16,18 0 15,-35-19-15,18 19 16,0 0-16,-1 0 0,0 0 16,2-17-1,-2 17-15,1 0 16,-1-17 0,2 17-16,-2 0 31,0-18-16,1 18 32,-1-18-31,-17 0 15,0 1-31,19 0 16,-19-2-1,0 2 1,0-1-16,0 1 0,0 0 16,17-19-1,-17 18-15,0-18 16,17 19-16,-17 0 0,0-1 16,0 1-16,0-2 15,0 2-15,18 0 0,-18-1 16,0 0-1,0 0 1,0 1-16,0 0 16,0-2-1,0 2-15,0-1 32,0 1-32,0 0 0,0-2 15,0 2 16,0-1-31,0 1 16,0-2 47,-18 19-32,-16 0-16,15 0 1,-16 0 0,18 0-16,0 0 31,-2 0-31,2 0 16,-1 0-16,1 0 15,-19 0 1,19 0-16,-1 0 15,0 0 1,-17 0-16,18 0 16,-1 0-1,0 0-15,0 0 0,1 0 16,0 0-16,-2 0 0,2 19 16,-1-19-16,1 0 15,0 0 1,-2 0-16,-16 0 15,18 0-15,-19-19 32,1 19-32,17 0 15,0 0-15,1 0 0,0 0 16,-1 0 0,-18 0-16,2 0 15,15-17 1,2 17-16,-18 0 0,16 0 15,2 0-15,0 0 0,-1 0 16,1 0-16,-54-17 16,53 17-16,-17 0 15,18 0-15,-2 0 16,-16 0-16,-70-18 31,86 18-31,-15 0 0,16 0 0,0 0 16,0 0-16,1 0 0,0 0 0,-1 0 15,0 0-15,0 0 0,1 0 16,0 0-16,-2-18 0,2 18 0,-35 0 31,16 0-31,1 0 16,16 0-16,2 0 16,0 0-16,-1 0 0,0-18 15,-17 18 1,18 0-1,-1 0-15,0 0 0,0 0 16,1-17-16,0 17 0,-2 0 16,-16 0-16,-35-17 15,52 17-15,1 0 16,-2 0-16,2 0 0,0 0 0,-1-18 16,-35 18-16,36 0 15,-1 0-15,-18-18 0,-17 18 16,36 0-1,-1 0-15,1 0 0,-2 0 0,2 0 0,-18-18 16,18 18-16,-19 0 16,1 0-16,17 0 0,-34 0 15,33 0-15,-16 0 0,-35 0 16,35 0 0,-18 0-16,-1 0 15,20 0-15,16 0 0,-52 0 16,-20 0-1,73 0-15,-18-17 0,18 17 16,-2 0-16,2 0 0,0 0 16,-1 0-16,-18 0 0,19 0 0,0 0 15,-1 0-15,-52 0 16,51 0-16,-16 0 16,18 0-16,-2 0 0,-15 0 0,16 0 15,1 0-15,-19 0 0,-17 0 16,35 0-16,-16 0 0,15 0 15,-16 0-15,18 0 0,-19-17 0,-52 17 16,53 0 0,18 0-16,-36 0 0,-18 0 15,54 0-15,-19 0 16,18 0-16,-16 0 0,15 0 16,2 0-16,-54 0 15,36 0-15,17 0 0,0 0 0,-16 0 16,16 0-16,0 0 15,0 0-15,1 0 0,0 0 0,-19 17 16,18-17-16,-18 0 16,19 0-16,0 0 15,-1 0-15,1 0 0,-2 0 0,-15 0 0,16 0 16,-18 0-16,19 0 16,0 0-16,-19 0 0,18 0 0,1 0 15,-36 0-15,-18 0 16,54 0-16,-18 0 15,16 0-15,2 0 0,-18 0 16,-18 0-16,36 0 0,-2 17 16,-16-17-16,18 0 0,0 0 15,-19 0-15,-35 0 16,54 0-16,-1 0 0,0 0 0,0 0 16,-16 0-16,-2 0 15,1 0-15,18 0 16,-19 0-16,18 0 15,1 0-15,-36 18 16,35-18-16,1 0 16,-2 0-16,2 0 0,0 0 15,-1 0-15,0 18 0,0-18 16,1 0 0,0 0-16,-1 0 0,0 0 15,0 18-15,1-18 16,0 0-1,-2 17 1,2-17 0,-1 17 15,18 1 0,-17 0-31,34-18 16,-17 18-1,0 16 1,18-15-16,-18-2 0,0 18 16,0-16-16,0 15 0,0-16 15,0-1-15,17 19 0,-17-19 16,0 1-16,0 0 0,0 53 16,0-54-16,0 1 15,0-1-15,0 0 0,0 2 16,19 16-16,-19-18 15,0 2-15,0-2 32,0 0-32,0 1 31,0-1 0,0 2-15,-19-19-1,19 17 1,19 0 62,-2-17-62,0 0-16,1 0 15,0 0-15,0 0 0,-1 18 16,0-18-16,37 0 0,104 0 31,-104-18-31</inkml:trace>
  <inkml:trace contextRef="#ctx0" brushRef="#br0" timeOffset="71388.86">11531 8427 0,'124'17'16,"-19"-17"0,-34 0-16,0 19 0,17-19 0,194 17 15,-176 1-15,-18-18 16,18 0-16,0 17 0,0-17 16,105 17-16,-104-17 0,-19 19 15,0-19-15,0 0 0,0 17 0,-18-17 16,1 0-16,53 18 15,-19-18-15,-69 0 16,-1 0-16,18 17 0,-35-17 16,16 0-16,-15 0 15</inkml:trace>
  <inkml:trace contextRef="#ctx0" brushRef="#br0" timeOffset="71829.31">13736 8322 0,'35'0'47,"-16"17"-47,-2-17 15,18 17-15,-17 1 0,0-18 16,-1 18-16,0 0 0,1-18 0,35 17 15,-36 0-15,2 2 16,-2-19-16,1 17 0,-1 1 16,-17-1-16,17-17 0,-17 17 0,-17 19 31,17-18-31,-17-1 0,-1 2 16,1-2-16,-2-17 0,2 17 0,-18 1 15,17 0-15,-105 34 16,106-34-16,-19 0 0,18 0 15,-18-1-15,19-17 0</inkml:trace>
  <inkml:trace contextRef="#ctx0" brushRef="#br0" timeOffset="74472.17">15835 8444 0,'17'-17'0,"2"17"16,-2-17-16,1 17 0,-1 0 16,2 0-16,-2 0 0,0 0 15,1 0-15,-1 0 0,2 0 0,-2 17 16,0-17-16,-17 17 15,0 2-15,0-2 16,-34 35 0,15-33-16,-16 16 15,18-35-15,17 17 0,-17-17 0,17 19 16,-19-2 0,38-17-1,33 0 1,-35 0-16,19 0 0,-19 0 15,1-17-15,0 17 0,0 0 16,16-19-16,-15 19 16,-19-17-16</inkml:trace>
  <inkml:trace contextRef="#ctx0" brushRef="#br0" timeOffset="74798.39">15642 8215 0,'0'0'16,"-19"36"-16,2-1 0,17-18 16,-18 2-16,18 15 0,18 20 15,-18-37-15,17 19 0,-17-19 16,19 1-16,-2-1 16,18 54-16,1-35 15,-19-36-15,0 17 0,1-17 0,0 17 16,0-17-16</inkml:trace>
  <inkml:trace contextRef="#ctx0" brushRef="#br0" timeOffset="75127.42">16276 8180 0,'0'0'0,"35"0"15,-35 18-15,19-1 16,-2 2-16,0-2 0,1 18 0,-1 1 0,2-2 15,-19-16-15,17 18 16,-17 17-16,0-18 0,0-18 16,0 19-16,-17-19 0,17 18 0,-19 1 0,19-19 15,-17 19-15,-1-1 16,-16 18-16</inkml:trace>
  <inkml:trace contextRef="#ctx0" brushRef="#br0" timeOffset="75701.81">16152 9203 0,'88'-35'0,"-105"53"47,0-18-47,-18 17 16,16-17-16,2 17 16,0-17-16,-1 19 0,0-19 15,0 17-15,18 1 31,18 18-15,0-36-16,0 17 0,-1-17 16,0 52-1,-17-33-15,0-2 16,0 0-16,-17-17 0,0 18 16,17 0-16,-36 0 15,1-1-15,-1 0 16,19-17-16,-1 0 0,1 0 15,0 0-15,-2-17 0</inkml:trace>
  <inkml:trace contextRef="#ctx0" brushRef="#br0" timeOffset="75941.09">15782 9010 0,'-52'17'0,"52"0"16,-18 1-16,0-18 0,0 36 16,1-2-16,17-15 0,-17 50 15,17-33-15,-19 35 16,19-54-16,0 18 0,36 72 16,-36-90-16,17 19 15,19 16-15,-18-35 0,16 2 16,20-2-16,-1-17 15,-18 0-15,1-17 16</inkml:trace>
  <inkml:trace contextRef="#ctx0" brushRef="#br0" timeOffset="76304.33">16523 8939 0,'71'71'0,"-54"-54"0,19 18 16,-19 1-16,-17-2 16,18-15-16,-18 16 0,17 18 15,-17 35-15,-17-36 16,17-16-16,-35-1 16,16 1-16,-15 34 15,-37-18-15,54-33 0,-1-2 0,-18 1 16,19-1-16,-19 2 0</inkml:trace>
  <inkml:trace contextRef="#ctx0" brushRef="#br0" timeOffset="77818.53">2095 10315 0,'17'35'0,"1"-35"15,-1 0-15,19 0 0,-19 17 16,18-17-16,18 19 0,89-19 16,-72 17-16,106-17 15,0 0-15,-52 0 16,-18 0-16,123 0 0,-122-17 16,15 17-16,-15 0 0,-2 0 0,107-19 15,-106 19-15,0 0 16,-35 0-16,17 0 0,-17 0 0,-1 0 15,-18-17-15,2 17 0,-20 0 0,37 0 16,-35 0-16,-19 0 16,1 0-16,18 0 0,-19 0 0,0 0 15,1 0-15,0 17 16,0-34-16,-1 34 16,0-17 15</inkml:trace>
  <inkml:trace contextRef="#ctx0" brushRef="#br0" timeOffset="79088.7">5834 10367 0,'53'0'0,"-36"0"0,19 0 0,-1 0 16,36 0-16,-1 0 0,1 0 16,17-17-16,17 17 0,2 0 0,140 0 15,-1-18 1,-122 18-16,18 0 0,-2 0 0,1 0 16,0 0-16,1 0 0,122 0 15,106 0 1,-140-17-16,-124 17 0,0 0 15,-18 0-15,0 0 0,0 0 16,141 0-16,-158 0 16,-1 0-16,-16 0 0,-20 0 0,20 0 15,-20 0-15,-15 17 0,16-17 16,1 0-16,33 0 16,-50 0-16,-2 0 0,0 0 15,1 0 1,0 0-16,0 18 15,-1-18-15,0 0 16,2 0 31</inkml:trace>
  <inkml:trace contextRef="#ctx0" brushRef="#br0" timeOffset="80476.28">16628 10050 0,'19'0'16,"33"0"-1,-33 0-15,-2 0 0,0 0 16,1 0-16,0 0 16,0 0-16,-1 0 0,0 0 15,-17 17-15,18-17 0,0 19 16,-18-2-16,0 18 16,0-17-16,18 0 0,-18-1 15,-18 0-15,18 19 16,0-18-16,0-1 0,0 0 15,0 2-15,0-2 0,-18 1 0,18-1 0,0 2 16,0-2 0,0 0-16</inkml:trace>
  <inkml:trace contextRef="#ctx0" brushRef="#br0" timeOffset="80685.75">16559 10332 0,'69'-17'15,"-15"-2"-15,-37 19 16,2 0-16,-2 0 0,71 0 16,-71 0-1,1 0-15,0 0 0,0 0 16,-1-17-16,0 17 0,2 0 15</inkml:trace>
  <inkml:trace contextRef="#ctx0" brushRef="#br0" timeOffset="80959">16399 10086 0,'-17'34'0,"-1"-16"0,53-70 0,-70 122 0,35-52 16,-17-1-16,17 0 0,0 19 0,0-18 16,0 16-16,0-15 0,0 16 15,17 53 1,18-52-16,-16-2 0,-2 2 15,0-36-15,19 18 16,-18-18-16,-1 17 0,0-17 0,19 0 16</inkml:trace>
  <inkml:trace contextRef="#ctx0" brushRef="#br0" timeOffset="81307.53">17018 9856 0,'69'35'0,"-33"1"0,-19-19 16,19 18-16,-1 1 0,53 123 15,-71-125-15,-17 2 16,19-18-16,-19 16 16,0 2-16,0 18 0,-36 51 15,19-70-15,-18 1 16,16-19-16,2 0 0,0 2 15,-19-2-15</inkml:trace>
  <inkml:trace contextRef="#ctx0" brushRef="#br0" timeOffset="86298.86">10226 10226 0,'-18'0'16,"72"0"-16,-20 0 15,20 0-15,16 18 16,-35-18-16,1 0 0,-1 0 16,1 0-16,-2 0 0,2 0 0,-18 0 15,34 0-15,-16 0 16,-19 0-16,0 0 0,2 0 16,-2 0-16,1 0 15</inkml:trace>
  <inkml:trace contextRef="#ctx0" brushRef="#br0" timeOffset="86519.52">10632 10296 0,'-36'36'15,"2"18"1,34-37-16,-19 0 15,19 18-15,-35 54 16,18-54-16,17-18 16,0 2-16,0-2 0,0 1 15,-17 16-15,17-15 0,0-2 16,0 1-16,0-1 0,-19-17 16</inkml:trace>
  <inkml:trace contextRef="#ctx0" brushRef="#br0" timeOffset="86912.11">10155 10667 0,'19'36'0,"-19"-1"0,0 1 31,0-2-31,0 2 0,0-18 16,17-18-16,-17 17 0,0 0 0,17 19 15,1-36-15,0 18 0,0-18 16,-1 0-16,0 0 16,1 0-16,0-18 0,17 18 15,-18-18-15,73-17 16,-56 18-16,-16 17 0,35-36 16,-36 18-16,1 18 0,0-17 15,0 17-15,-1-17 0</inkml:trace>
  <inkml:trace contextRef="#ctx0" brushRef="#br0" timeOffset="88314.4">9926 11567 0,'70'-53'15,"-51"35"-15,-19 1 16,17 0-16,-17-2 0,18 2 0,-18-1 16,0 1-16,0-2 15,0 2-15,-18-18 16,1 35 0,-2 35 15,2-18-31,17 2 0,0-2 0,0 1 15,0-1-15,0 2 0,17-2 16,-17 0-16,19-17 0,-2 35 16,1-16-1,-1-19-15,0 17 0,2-17 16,-2 0-16,1 0 0,18-17 16,-2-2-1,-34 2-15,18 17 0,-18-18 16,18 1-16,0 17 0,-18-17 15,17-19-15,0 18 16,-17 1 0,0-2-16,18 19 15,0 19 17,0-2-32,-1 18 31,0-16-31,-17-2 15,19 0 1,-2-17 0,1-17-1,-1 0 1,-17-2-16,19 2 0,-19-1 16,17 1-1,0-2-15,1 2 16,-1 17-16,-17-17 0,19 17 15,-2-18-15,0 18 16,-17-18-16,18 18 16,-18 18 31,-18 17-32,18-18 1,0 19-1,18-36 17,18 0-17,-19 0 1,0 0-16,19 18 31,-18-1-15,-1 2-1,-17-2 1,36-34 15,-19-19-15,1 36 0,-18-18-16,17 1 0,2-2 15,50-15 1,-50 34-16,-2-18 15</inkml:trace>
  <inkml:trace contextRef="#ctx0" brushRef="#br0" timeOffset="88809.32">11126 11267 0,'-18'0'0,"18"17"0,-17 1 16,17 0 0,17-18-1,1 18 1,-1-18 0,0 0-16,2 0 15,-19 17-15,17 0 16,1-17-16,-18 19 0,0 16 15,17-18-15,-17 19 16,0-19-16,-17 1 0,17-1 16,0 2-16,-18 15 15,1-16-15,-2 0 0,2-18 16,17 18-16,-17-18 0,-1 0 16,-18-18-1,36 0-15,19 0 16,-19 1-16,17 0 15</inkml:trace>
  <inkml:trace contextRef="#ctx0" brushRef="#br0" timeOffset="89246.55">12078 10984 0,'0'19'15,"0"-2"-15,-18 1 0,18-1 16,0 0-16,0 37 0,0-18 16,0-19-16,-17 71 15,17-71-15,17 1 16,-17 0-16,0 0 15,-17-18-15,0 0 16,-2 0 0,2 0-16,-1-18 15,1 18-15,-19 0 16,19 0-16,-18 0 16,-18 35-1,35-35-15,18 17 0,-18-17 16,18 19-1,0-2-15,18 1 0,0-18 16,-1 17-16,0-17 0,2 0 16,16 0-16,18 0 15,-36 0-15,18-17 16,1 17-16</inkml:trace>
  <inkml:trace contextRef="#ctx0" brushRef="#br0" timeOffset="89763.26">12307 11302 0,'0'-18'0,"-35"18"32,18 18-17,-2 0 1,2 0 0,17-1-16,0 0 0,17-17 31,19 0-16,-18 0 1,-1 0 0,2 0-16,-2 0 15,0 0 1,1 0 0,-1 0-1,19 0 1,-19 0-1,19-17 1,-18 0 0,-1 17-16,0-18 15,2 18 1,-2 0 15,1 0 0,-1-18-15,0 18 0,19 0 15,-36-18-31,18 18 16</inkml:trace>
  <inkml:trace contextRef="#ctx0" brushRef="#br0" timeOffset="89884">12854 11232 0,'-35'18'0</inkml:trace>
  <inkml:trace contextRef="#ctx0" brushRef="#br0" timeOffset="90245.96">12802 11267 0,'-18'35'0,"0"-17"16,18 0 0,0-1-16,18-17 31,0 0-16,16 0-15,-16-17 16,0 17-16,0 0 16,-1 17-16,0 0 15,-17 19 1,0-18-16,0-1 16,-17 2-16,17-2 0,-17 18 15,-1-18-15,-18 36 16,36-35-16,18-70 31,0 33-31,34-86 16,-16 51-16,-1-16 15,53-70-15,-52 69 16</inkml:trace>
  <inkml:trace contextRef="#ctx0" brushRef="#br0" timeOffset="93991.77">18375 7158 0,'36'-19'31,"-19"19"-31,1 0 0,-1 0 15,2 0-15,33 0 16,-35 0-16,2 0 0,15 0 0,-16 0 16,18-17-16,-19 17 0,0 0 15,37 0-15</inkml:trace>
  <inkml:trace contextRef="#ctx0" brushRef="#br0" timeOffset="94223.79">18780 6946 0,'54'17'0,"-54"0"15,17 2-15,2-2 0,-19 1 16,17-18-16,-17 17 0,0 19 15,-17 16 1,17-16-16,-19-19 0,19 19 0,-17-18 16,-1-1-16</inkml:trace>
  <inkml:trace contextRef="#ctx0" brushRef="#br0" timeOffset="94793.47">16982 8268 0,'0'0'0,"53"0"15,-36 0 1,1 0-16,-1 0 0,2 0 16,-2 0-16,18 0 0,1-17 15,-19 17-15,19-17 0,-19 17 16</inkml:trace>
  <inkml:trace contextRef="#ctx0" brushRef="#br0" timeOffset="95024.74">17335 8092 0,'17'18'31,"1"-1"-31,18 19 32,-36-19-32,17-17 0,0 35 15,-17 18 1,0-35-16,0-1 0,0 2 16,0-2-16,0 0 0,-17 19 15</inkml:trace>
  <inkml:trace contextRef="#ctx0" brushRef="#br0" timeOffset="95357.69">17140 8956 0,'54'0'31,"-37"0"-31,0 0 0,-17-17 15,36 17-15,-18 0 0,-1 0 16,0 0-16,2-17 16,-2 17-16,1 0 0</inkml:trace>
  <inkml:trace contextRef="#ctx0" brushRef="#br0" timeOffset="95616.14">17316 8832 0,'19'-17'16,"16"17"0,-18 0-1,2 0-15,-2 17 16,0-17-1,1 36 1,-18-18 0,0-1-1,0 2-15</inkml:trace>
  <inkml:trace contextRef="#ctx0" brushRef="#br0" timeOffset="102455.51">11055 12290 0,'53'0'0,"-18"0"16,-18 0-16,37 0 0,104 0 15,-34-18 1,-53 18-16,88-17 16,-125 17-16,37-17 15,0 17-15,-54 0 0,36 0 16,-35 0-16,-1 0 15</inkml:trace>
  <inkml:trace contextRef="#ctx0" brushRef="#br0" timeOffset="103007.02">10738 12995 0,'0'0'16,"0"89"-1,0-71-15,0 16 0,0 2 16,0-1-16,-18-18 0,18 19 16,0-1-16,0 72 15,0-90 1,0 0-16,0-70 31,-18 1-15,36 16-16,-18 1 15,0-1-15,0 2 0,18-1 0,16-72 16,-15 90 0,-2 0-16,1 17 15,-1 17-15,2 0 0,-2-17 16,35 71-16,-33-35 15,-2-19-15,-17 18 0,17-18 16,1 19-16,-18-1 0,18-16 0,-18-2 16,0 0-16,18 54 15,-18-54-15,17-17 0,-17 18 16</inkml:trace>
  <inkml:trace contextRef="#ctx0" brushRef="#br0" timeOffset="103928.53">10667 13383 0,'-17'0'0,"34"0"0,0-17 31,1 17-31,18-18 0,-19 18 16,0 0-16,19-17 0,-1 0 15,36-19-15,-18 18 0,-18 1 16,1-2-16,17 2 0,-36-18 0,18 18 16,1-2-16,-1-33 15,-18 34-15,2 0 0,-19 1 0,17 0 16,0-2-16,-17 2 0,18 17 16,-18-18-1,17 36 1,-17-1-16,0 19 0,0-1 15,0 35 1,19 37 0,-2-72-16,-17-18 15,17 19 1,-34-19 0,0-17-1,-19-17-15,18 17 16,1 0-16,0 0 0,-2 0 15,2 0-15,-1 0 0,1 0 0,17 17 16,-19-17-16,2 18 16,0 18-16,-1-36 0,18 17 15,0 0-15,18 1 16,-1-18-16,-17 18 16,17-18-16,2 0 0,16 0 15,-18 0-15,-17-18 16,19 18-16,-2 0 0,0-18 15,1 1-15,-1 0 0,2-2 0,15-16 32,-16 18-32,0 0 0,0 17 15,16 0-15,-15 0 16,-19 17 0,17-17-16,-17 17 0,18 1 0,-18-1 15,17 2-15,-17-2 0,0 0 16,17-17-16,-17 18 0,0 0 15,19-18-15,-2-18 32,1 0-17,-1-16-15,2-2 16,-2 18-16,-17 1 0,17 0 16,-17-2-16,18 19 15,0-17-15,0-1 16,-1 1-16,0 17 15,-17-19-15,18 19 16,0 19-16,-18 16 31,18-18-31,-18 2 16,0-2-16,-18 0 0,18 1 16,0-1-16,0 2 0,0-2 15,0 0 1</inkml:trace>
  <inkml:trace contextRef="#ctx0" brushRef="#br0" timeOffset="104042.44">11902 13084 0,'0'-18'16</inkml:trace>
  <inkml:trace contextRef="#ctx0" brushRef="#br0" timeOffset="104948.65">12219 13119 0,'-17'-17'0,"-1"17"15,1 0-15,-2 0 16,2 17-16,0 0 16,-1 19-16,0-18 15,0-1-15,1 19 16,17-19-16,0 1 0,0-1 15,0 2-15,0-2 16,0 0-16,17-17 16,1 0-16,0 0 15,17-17 1,-18 0-16,-17-2 16,19-16-16,-2 35 15,-17-17-15,18-2 16,-18 2-16,17 0 15,-17-1 1,0 53 15,17-18-15,-17 2 0,0-2-16,19-17 0,-19 18 15,17-18 1,-17 17-1,18-17-15,-1-17 16,2 17 0,15-18-1,-16 18-15,-1 0 16,2 18 0,-2-18-16,0 17 15,-17 2 1,18-19-1,-18 17-15,36-17 32,-19-17-17,0-2-15,2 19 16,-19-17-16,17 17 0,1-18 16,-1 18-1,0 0-15,2 18 16</inkml:trace>
  <inkml:trace contextRef="#ctx0" brushRef="#br0" timeOffset="123541.59">1300 7351 0,'88'-17'15,"-17"17"-15,-52 0 16,-2 0-16,18 17 0,1-17 16,16 17-16,-34 2 15,0-19-15,-1 17 0,-17 1 16,17-1-16,-17 2 0,0-2 0,0 0 16,0 1-16,-17 35 0,0-36 15,-1 1-15</inkml:trace>
  <inkml:trace contextRef="#ctx0" brushRef="#br0" timeOffset="123885.57">454 8198 0,'70'-35'31,"-16"16"-31,-1 2 0,-1 0 16,19-1-16,-18-18 0,18 19 15,-18 0-15,16-19 0,38 1 16,-2-1-16,-51 19 0,-20-1 16,-15 1-16,16 17 0,-18-17 15,0 17-15,2-19 0,-2 19 16</inkml:trace>
  <inkml:trace contextRef="#ctx0" brushRef="#br0" timeOffset="124585.48">1178 7368 0,'17'-17'0,"18"0"15,-17 17 1,17 0-16,-18 0 16,19 0-16,-18 0 0,16 0 0,2 0 15,-18 0-15,18 0 0,-2 0 0,37 0 16,-36 17-1,-17-17-15,0 0 0,-1 17 16,19 19-16,-19-18 0,-17-1 16,18 19-16,-1 105 15,-17-89-15,0-16 16,0 70-16,0-36 0,-17-16 16,17-2-16,0-16 0,-18 69 15,1-34-15,17-35 16,0-2-16,0-16 0,0 18 15,0-19-15,0 0 0,0 1 0</inkml:trace>
  <inkml:trace contextRef="#ctx0" brushRef="#br0" timeOffset="146578.69">2166 8427 0,'0'36'0</inkml:trace>
  <inkml:trace contextRef="#ctx0" brushRef="#br0" timeOffset="147435.85">1036 8762 0,'-17'0'0,"34"-35"15,1 35 1,-18-17-16,17 17 0,2 0 16,-2-18-16,0 18 15,1 18 1,-1-1-1,-17 0 1,0 1-16,19 0 16,-19 0-1,0-1-15,17-17 32,0-17-17,1-1-15,-18 0 0,18 18 0,-18-18 16</inkml:trace>
  <inkml:trace contextRef="#ctx0" brushRef="#br0" timeOffset="147581.01">1336 8568 0,'0'-17'16,"0"-2"-16,0 55 15,18-53 17,-1 34-32,0 37 15,-17-37 1,19 0-16,-19 19 15</inkml:trace>
  <inkml:trace contextRef="#ctx0" brushRef="#br0" timeOffset="147907.16">1530 8551 0,'18'17'16,"-18"18"15,0-16-31,18 15 31,-1-34-15,18-17-16,-17 17 15,17-17-15,-18-2 0,37 2 16,-18-18-16,16 16 0,1-15 16,0 16-16,-1-18 0</inkml:trace>
  <inkml:trace contextRef="#ctx0" brushRef="#br0" timeOffset="167284.91">25519 5834 0,'0'-18'0,"-17"54"78,-1-1-63,18-18-15,0 2 0,0-2 16,0 1-16,0-1 16,0 0-16,18-17 0,-18 19 0,0-2 15,17-17-15,0 18 0,1-18 16,18 0-1,-2-18 1,-34 1-16,19 17 0,-2-19 16,-17 2-16,18 17 15,-18-17-15,17 17 0,-17-18 0,0 1 16,19-2 0,-2 38 15,0-2-16,-17 1-15,18-18 16,-1 34 0,2-34-16,-2 0 0,0 0 15,19 0 1,-18 0-16,-1-17 16,0 0-16,1-1 15,-18-35 1,18 36-16,-18-1 15,0-18-15,0 19 16,0 0 0,0-1-1</inkml:trace>
  <inkml:trace contextRef="#ctx0" brushRef="#br0" timeOffset="168134.2">28342 5711 0,'-19'17'31,"19"1"-15,-17-18-16,17 18 0,-18 0 15,1-1-15,-2 0 0,19 1 0,-52 35 16,35-36-1,-2 19-15,2-18 0,0-1 16,17 0-16,-18-17 0,18 19 16,-18-19-16,18 17 0,-18 1 15,1-18-15</inkml:trace>
  <inkml:trace contextRef="#ctx0" brushRef="#br0" timeOffset="168387.76">27988 5816 0,'0'-17'0,"36"34"15,-36 1-15,18-18 0,16 18 0,-16 0 0,18-1 16,17 19-16,-18-1 15,-1-18-15,2 0 0,-1 2 0,1-2 16,-19 1-16,71 35 16,-70-36-16,0 1 0,0-18 15,-1 18-15,0-18 0</inkml:trace>
  <inkml:trace contextRef="#ctx0" brushRef="#br0" timeOffset="172859.56">27759 4847 0,'0'35'16,"-17"-35"-16,17 17 0,-18 19 15,18-19-15,-18 1 0,0 52 16,1-34-1,17-18-15,-17-1 0,-2 18 16,19 1-16,0-19 16,0 0-16,0 2 15,19-19-15,-19 17 16,17-17-16,0 0 0,1 0 16,18 0-16,-19 0 15,0 0-15,2 0 0,-2 0 0,18 0 31,1 0-31,-19-17 16,1 17-16</inkml:trace>
  <inkml:trace contextRef="#ctx0" brushRef="#br0" timeOffset="173387.76">28006 5040 0,'0'0'0,"0"36"47,0-18-31,0-1-16,0 0 15,0 1-15,18 0 16,0-18 0,-1 0-16,18 0 31,-35-18-31,18 18 0,-18-18 15,18 1-15,-18 0 16,17-19 0,-17 18-16,0 1 31,17 52 0,-17-17-15,19 0-1,-19-1 1,17 0-16,1-17 31</inkml:trace>
  <inkml:trace contextRef="#ctx0" brushRef="#br0" timeOffset="173795.95">28323 5023 0,'0'-17'0,"19"51"16,-19-16-1,0 0 1,0 0 0,0-1-1,17-17 17,0-17-17,1 17 1,0-18-1,0 18 1,-1 0 0,0 0-16,-17 18 15,18-18 1,0 17 0</inkml:trace>
  <inkml:trace contextRef="#ctx0" brushRef="#br0" timeOffset="174887.78">28711 5023 0,'-17'0'16,"-1"0"-16,18 17 15,-17 1 1,17 0-16,-17 0 16,17-1-1,17 0 1,0 1-1,1-18 1,-1 18-16,2-36 16,-2 18-16,0 0 15,1-18-15,-18 1 16,18 0-16,-18-1 16,18 0-16,-18-17 0,17 18 15,-17-2-15,17 2 0,-17-1 0,0-18 16,0 19-16,19 0 15,-19-18 1,0 16-16,-19 55 47,19-18-31,0-1-16,-17-17 15,17 36-15,0-1 16,-17-35-16,17 17 0,0 2 15,0-2 1,0 0 15,17-17 1,0-17-17,2 17-15,-19 17 16,35-17-1,-35 18 1,17-18-16,0 0 0,2 18 31,-2-18-31,1-18 16,-1 18-16,2-18 16,-2 18-1,-17-17-15,17 0 31,-34 51 1,17-16-17,0 0 1,17 0 0,1-18-1,0 0 1,0 0-1,-18-18-15,34 18 0,-16-18 16,0 18 0,0 0-1,-1 0-15,0 0 16,-17 18-16,19 0 31,-19-1-15,0 0-16,-19-17 0,2 18 15,0-18 1,-1 18-16,-35-18 16,36 18-16,-1-18 15,0 0-15</inkml:trace>
  <inkml:trace contextRef="#ctx0" brushRef="#br0" timeOffset="178212.57">25114 5287 0,'0'-17'16,"-19"53"-1,19-19 1,0 0-16,0 18 15,0-16-15,0-2 16,0 0-16,19 1 16,-2 0-16,0-18 15,1 0 1,0-18 0,0 18-16,-1-18 0,-17 1 15,17 17-15,-17-17 16,19 17-16,-19-19 15,17 38 17,-17-2-17,18 0 1,-1-17-16,0 18 16,2-18-1,-2 0-15,1-18 16,-1 18-1,-17-17-15,19-19 16,-19 19-16,0-1 16,17 1-16,-17 0 15,0-2-15,0 2 16,0-1 0,0 53 30</inkml:trace>
  <inkml:trace contextRef="#ctx0" brushRef="#br0" timeOffset="178687.99">25643 5375 0,'0'-35'31,"-19"35"-15,2 18-1,0-1 1,17 2-1,0-2-15,-18 0 16,36-17-16,-18 18 16,0 0-16,17-18 15,0 0-15,2-18 16,-2 18-16,18-35 16,-16 18-1,-2-2-15,0 2 31,1 17-31,-18 17 32,0 2-17,17 15 1,-17-16 0,19 0-1</inkml:trace>
  <inkml:trace contextRef="#ctx0" brushRef="#br0" timeOffset="178900.07">25836 5270 0,'0'0'15</inkml:trace>
  <inkml:trace contextRef="#ctx0" brushRef="#br0" timeOffset="179896.44">25995 5306 0,'-17'0'0,"-19"17"16,18-17-1,1 17 17,34 18-17,-17-16 1,18-2-16,-18 18 31,0-17-31,-18 17 31,1-35-31,17 17 0,-17-17 16,-1 0 0,18 19-1,18-55 32,-1 36-31,0 0-1,-17-17-15,18-1 0,0 18 16,0-36-16,-1 19 16,0-19-1,2 19-15,-19-1 0,17-16 31,-17 15-31,18-16 16,-36 70 47,18-16-48,-17-2-15,17 0 16,0 1-16,0-1 0,0 2 0,-19-19 15,19 17-15,0 18 32,19-35-32,-19 18 15,17-18-15,18 0 16,-16 0 0,-2 0-16,0 0 0,1-18 15,-1 18-15,2-18 0,-2 18 16,0-17-16,37-36 15,-37 35-15,-17-16 16,17 15-16,2 2 0,-19-1 16,17 1-16,-17-2 0,18-33 15,-1 52 1,-17 18 15,0 35-15,0-36-16,0 1 15,0-1-15,0 2 16,17-2-16,-17 0 0,0 1 16,0-1-1</inkml:trace>
  <inkml:trace contextRef="#ctx0" brushRef="#br0" timeOffset="180088.71">26207 5287 0,'124'-35'16,"-107"35"-16,35-17 0,-33 17 15,-2 0-15,1-19 16,-1 19-16,2 0 15</inkml:trace>
  <inkml:trace contextRef="#ctx0" brushRef="#br0" timeOffset="181268.18">25714 6770 0,'0'-36'0,"17"36"15,0-18-15,1 18 0,-1 0 16,2 18-16,-2-18 16,0 17-16,-17 19 15,0-19 1,0 1-16,-17-1 0,0 19 15,-2-19-15,2 1 0,-1-18 0,-16 36 16,15-19 0,2-17-16,17 17 0,-18-17 15,18 19-15,18-19 32,35 0-17,-36 0-15,1 0 0,-1 0 16,19-19-16,-19 19 0,1 0 15,0 0-15,17 0 16,-18-17-16,1 17 0,0 0 16,0 0-1,-1 0-15</inkml:trace>
  <inkml:trace contextRef="#ctx0" brushRef="#br0" timeOffset="181815.82">25643 8075 0,'0'-19'15,"0"55"16,17-1-15,-17-18-16,0 2 16,0-2-16,0 1 0,0 18 15,-17-2-15,17-16 16,0-1-16,0 2 16,0-2-16,17 0 31</inkml:trace>
  <inkml:trace contextRef="#ctx0" brushRef="#br0" timeOffset="182193.94">26154 8056 0,'-18'19'16,"1"-19"-1,17 17-15,-17-17 0,-2 18 0,2-1 16,-1-17-16,1 17 0,-2 2 16,2-2-16,0 1 0,-1-1 15,0 2 1,18-2-1,18-17-15,0 17 16,-1-17 0,19 0-16,-19 0 0,1 0 0,-1 0 15,36 0-15,-35 0 0,52 0 16,-52 0 0,-18-17-16,18 17 0,0 0 15,-1 0-15</inkml:trace>
  <inkml:trace contextRef="#ctx0" brushRef="#br0" timeOffset="182394.64">26224 8039 0,'-34'88'0,"34"-52"15,0 104 1,0-104-16,0-1 16,0 1-16,0 52 15,0-54-15,0-15 0,0 16 16</inkml:trace>
  <inkml:trace contextRef="#ctx0" brushRef="#br0" timeOffset="183975.1">26295 9344 0,'0'-17'0,"-17"17"0,-1 0 16,0 17-16,0-17 15,1 0-15,0 0 16,17 18 0,-19-18-16,19 17 15,19 2-15,-19-2 16,34 54 0,-34-54-16,18 0 15,-18 2-15,0 16 0,-18-18 16,18 0-16,0 2 15,-17-19-15,0 17 0,-2 1 16,2-18-16,-1 0 16,1 0-16,0 0 0,-2 0 15,19-18 1,19 1 0,-2 17-16,18-36 15,-18 36-15,2-17 16,-2-1-16,0 1 0,19 17 0,-18-19 15,-1 2-15,0 0 0,2-1 16,-2-18 0,1 19-16,-18 0 0,0-2 15,-18 2-15,18-1 16,-17 18-16,17-17 0,-19 17 0,19-17 16,-34 17-16,16-19 15,0 19-15,-34 19 16,33-19-16,2 0 0,-1 0 15,18 17-15,-17-17 16</inkml:trace>
  <inkml:trace contextRef="#ctx0" brushRef="#br0" timeOffset="185064.65">25783 10667 0,'71'17'16,"-71"2"-16,18-19 0,-36 17 15,18 1 1,0-1 0,-18 2-16,36-2 15,0-17 1,0 17 0,-1-17-16,18 18 15,-35 0-15,18-18 0,0 18 16,-1-1-1,0 0-15,-34 1 16,0-18-16,17 18 16,-18-18-16,0 0 15,0 18 1,-16-18-16,16 0 0,0 0 16,0-18-1</inkml:trace>
  <inkml:trace contextRef="#ctx0" brushRef="#br0" timeOffset="185654.54">26224 10615 0,'36'-19'16,"-1"38"-1,1-2 1,-19 1-16,-17-1 0,-17 36 16,-2-35-16,19-1 15,-34 19 1,34-19-16,-18 19 0,0-36 16,18 18-16,0-1 15,0 0 1,18-17-16,0 0 0,-1 0 15,0 0-15,2 0 0,-2 0 16,1 0-16,-1 0 0,71 0 31,-69 0-31,-2 0 0,0 0 0,1 0 16,-1 0-16</inkml:trace>
  <inkml:trace contextRef="#ctx0" brushRef="#br0" timeOffset="188854.66">28218 6610 0,'17'-35'16,"-17"70"31,0-17-47,0 34 16,0-33-16,0-2 15,0 1-15,0 35 16,0-18-16,17 1 15</inkml:trace>
  <inkml:trace contextRef="#ctx0" brushRef="#br0" timeOffset="192584.32">28271 8075 0,'-19'0'16,"38"-19"15,-2 2-15,18 17-1,1 0-15,-1 0 16,-17 0-16,17 0 16,-18 17-16,1-17 0,-18 19 0,18-19 15,-18 17-15,0 1 0,0-1 16,0 0-16,-18 19 16,0-18-16,18-1 0,-34 36 15,34-35 1,-18-18-16,18 17 15,0 2 1,18-2 0,16-17-1,2 0-15,-1 0 16,-18 0-16,2 0 0,-2 0 16,1-17-16,35 17 15,-36 0 1,1 0-16</inkml:trace>
  <inkml:trace contextRef="#ctx0" brushRef="#br0" timeOffset="194625.48">28271 9415 0,'71'-17'16,"-54"-2"-16,0 19 0,1 0 15,0 0 1,-54 19 31,-17-2-32,36 0-15,-18 1 16,-1-18-16,36 18 16,-17-18-16,-1 18 0,18-1 31,35 0-16,-18-17 1,2 0-16,-2 19 0,1-19 0,18 17 16,-19-17-1,0 18-15,1-18 0,0 17 16,0-17-16,-18 17 0,17 2 16,-34-2-1,17 1-15,-18-18 0,18 17 16,-18-17-16,0 0 0,1 19 0,0-19 15,-90 34 1,90-34-16,-1 0 0,1 0 16,-2 0-16,2 18 0,0-18 0</inkml:trace>
  <inkml:trace contextRef="#ctx0" brushRef="#br0" timeOffset="196966.4">28394 10544 0,'36'-18'32,"-2"18"-17,-16 0-15,0 0 0,0 0 16,35-18 0,-36 18-16,1 0 15,-1 0-15,-17 18 16,19-18-16,-19 18 0,0 17 31,0-18-31,0 2 0,0-2 16,0 1-16,0-1 0,0 0 0,0 2 15,0-2-15,0 1 0,-19 18 16,19-19-16,0 54 16,0-54-16,0 0 15,0 1-15,0 0 0,0 0 16,0-1-16,0 0 0,0 2 15</inkml:trace>
  <inkml:trace contextRef="#ctx0" brushRef="#br0" timeOffset="197182">28376 10967 0,'54'-17'0,"-37"-1"0,0 18 15,1 0-15,123-36 16,-122 36-16,33-17 16,-35 17-16,2 0 15</inkml:trace>
  <inkml:trace contextRef="#ctx0" brushRef="#br0" timeOffset="204045.47">31146 5764 0,'-18'18'47,"18"16"-31,0-16-16,-17-18 0,17 18 0,0 0 15,0-1 1,0 0 0,17 2-16,1-19 31,18-19-15,-19 19-16,0-17 0,1 17 0,-18-17 15,17 17-15,-17-18 0,19 0 16,-2 36 15,-17 0-31,17-1 16,-17 0-1,18 2 1,0-19-16,0 0 0,-1 0 16,0 0-1,2-19-15,-2-15 16,1 34-16,-18-18 0,17 0 15,-17 0-15,0 1 0,17 0 0,-17-1 16,19-35 0,-19 36-1</inkml:trace>
  <inkml:trace contextRef="#ctx0" brushRef="#br0" timeOffset="204409.96">32116 5675 0,'-18'0'31,"0"19"-31,1-2 16,0 18-1,-1-17-15,18 0 0,-18-18 0,0 17 16,1 18-16,0-17 16,17 0-16,-19-18 0,19 17 0,-17 0 15,17 2-15,-18-19 0,18 17 16,-17 1 0</inkml:trace>
  <inkml:trace contextRef="#ctx0" brushRef="#br0" timeOffset="204658.2">31746 5764 0,'17'-18'31,"19"36"-15,-19 0-16,18-1 0,1 0 15,-19 1-15,1-18 0,35 36 16,0-19 0,-35-17-16,16 17 0,-16-17 0,0 19 15,0-19-15,-1 17 0,0-17 16</inkml:trace>
  <inkml:trace contextRef="#ctx0" brushRef="#br0" timeOffset="-204023.6">31270 6770 0,'0'17'16,"-19"-17"0,55-17 46,-19-2-62,19 19 16,-18 0-16,-1 0 0,19 0 0,-19 0 15,1 0-15,-1 0 0,0 0 16,2 19-16,16-2 16,-18 0-16,-17 1 0,-35 35 31,18-36-31,-2 19 0,-15-1 15,34-18-15,-18-17 0,1 36 16,17-18 0,17-18-1,1 0 1,-1 0-16,0 0 0,2 0 16,69-18-16,-36 18 15,-16 0-15,17-17 16,-35 17-16,-1 0 0,0 0 15</inkml:trace>
  <inkml:trace contextRef="#ctx0" brushRef="#br0" timeOffset="-199834.89">31270 8163 0,'-19'0'0,"55"0"47,-1 17-31,-17-17-16,17 18 15,-18-1 1,2-17-16,-19 19 0,0-2 15,0 0-15,0 1 0,0-1 16,0 2-16,-36-2 0,36 0 16,-17 1-16,-1 0 0,0 0 15,0-1-15,1-17 0,0 17 0,-2 2 16,2-19 0,17 17-16,-18-17 0,36 18 46,18-18-30,16-18-16,-34 18 16,0 0-16,35 0 15,-36 0-15,1 0 0,-1-17 16,19 17 0</inkml:trace>
  <inkml:trace contextRef="#ctx0" brushRef="#br0" timeOffset="-198995.35">31992 8198 0,'-17'-18'16,"0"1"-16,-2 17 16,-33 17-1,33-17-15,2 0 16,0 0-16,-1 35 15,18 1 1,0-19-16,0 1 16,0-1-16,18 2 0,-18-2 15,0 0-15,0 1 0,17-18 0,-17 18 16,0 17 0,-17 1-16,-1-19 15,1-17-15,-2 18 16,2-18-16,0-18 15,17 1 1,34-19 0,-15 19-16,50-54 15,-50 54 1,-2 17-16,-17-19 0,18 2 16,-1-1-16,-17-16 15,0 15 1,-17 2-16,-1 17 0,18-18 0,-17 1 15,-19 17-15,19 0 0,-18-19 0,-54 19 16,54 0 0,-1-17-16,1 17 0</inkml:trace>
  <inkml:trace contextRef="#ctx0" brushRef="#br0" timeOffset="-193255.26">31551 9486 0,'-52'17'31,"33"0"-31,2-17 16,-35 54 0,33-37-16,-15 0 0,-2 19 15,18-18-15,-16 18 16,15-36-16,19 17 15,-17-17-15,17 17 0,-18-17 0,18 36 16,-17-36-16,34 18 16,1-1-1,-1-17-15,2 0 16,-2 0-16,36 0 16,-1 0-16,-16 0 15,-18 0-15,-1 0 0,71 0 16,-69-17-1,-2 17-15,0 0 16</inkml:trace>
  <inkml:trace contextRef="#ctx0" brushRef="#br0" timeOffset="-192916.96">31480 9574 0,'-17'34'16,"17"-15"0,0-2-16,0 1 0,-17-1 0,17 19 15,0-19-15,-18 1 16,1 35-16,17-36 0,-19 19 16,2 16-1,17-33-15,0-2 16,-17 1-16</inkml:trace>
  <inkml:trace contextRef="#ctx0" brushRef="#br0" timeOffset="-192583.54">31799 9574 0,'0'0'0,"-19"17"15,2 0 1,17 2-16,-17-2 0,17 1 16,0-1-16,0 2 0,17 33 15,0-16 1,2-19-16,-2 0 0,1-17 0,-1 0 16,0 18-16,2-18 0,-2-18 15,54 1-15,-71 0 16,17-1-16,1 0 0,0-17 15,-18 18-15,0-2 0,0 2 16,-18-1-16,18-18 0,-18 19 0,1 0 16,17-1-16,-17 18 15,-2-17-15,2 17 0,-1 0 0,1 0 16,-54 35 0</inkml:trace>
  <inkml:trace contextRef="#ctx0" brushRef="#br0" timeOffset="-191290.46">32046 10720 0,'-124'54'16,"106"-37"-1,1 0-15,-2 1 16,19 0-1,0 0-15,0-1 16,19 0-16,33 1 16,-33-18-1,-2 0-15,36 0 16,-18 0-16,-18 0 0,1 0 16,0 0-16,0 0 15,-1-18-15,0 18 16</inkml:trace>
  <inkml:trace contextRef="#ctx0" brushRef="#br0" timeOffset="-191098.3">32046 10703 0,'-18'35'16,"0"-18"-16,18 54 15,-18-53-15,18 17 0,0 53 16,-17-52 0,17-1-16,0-18 0,0 0 0,-17 19 15,17-1-15,0-16 16</inkml:trace>
  <inkml:trace contextRef="#ctx0" brushRef="#br0" timeOffset="-190138.98">31358 10896 0,'0'-17'0,"0"0"0,17-1 15,0 18 1,19 0 0,-18 18-1,-18-1 1,0 18-16,-18-17 0,1 0 15,17-1-15,-36 19 16,19-19-16,-1 1 16,18-1-16,0 0 15,35-17 1,-18 0-16,2 0 16,16-17-16,-1 17 0,2 0 0,-1-17 15,1 17-15,-1 0 0,-18 0 0,19-18 16,-1 18-16,1-17 15,-19 17-15</inkml:trace>
  <inkml:trace contextRef="#ctx0" brushRef="#br0" timeOffset="-189691.59">30863 10950 0,'89'17'16,"-71"19"0,-36-19-16,18 1 0,-18-1 15,0 0-15,-35 54 16,36-52-16,-1-2 15,1 0-15,17 1 0,-17 0 16,17 0-16,17-18 16,0 0-16,1 0 0,18 0 15,69-18-15,-52 0 16,-1 18-16,143-35 16,-124 35-16,-18-17 15</inkml:trace>
  <inkml:trace contextRef="#ctx0" brushRef="#br0" timeOffset="-186485.69">30264 11760 0,'-18'-17'0,"54"17"16,-19-17-16,195-1 15,0-18 1,-89 36-16,18-17 0,18 0 0,-1-1 16,496-35-1,-390 36-15,36-19 16,-176 36-16,16-18 0,-16 18 16,0-17-16,-19 17 0,-17 0 15,107-17-15,-125 17 16,-52-19-16,-1 19 0,-17 19 15,-53-2 1,-141 35 0,124-33-16,-18-2 0,0 18 15</inkml:trace>
  <inkml:trace contextRef="#ctx0" brushRef="#br0" timeOffset="-185899.42">30494 13014 0,'88'-19'16,"-54"19"-16,20-17 16,87-1-16,52 18 15,143-34 1,-213 34-16,1 0 0,-1-19 0,18 19 15,124-17-15,-18-1 16,-123 18-16,-1 0 0,-18 0 16,2 0-16,-2-17 0,-17 17 0,-17 0 15,87 0 1,-104 0-16,-20 0 16,-15 0-16,-2 0 0,1 0 0,-1 0 15,-69 17 16,16-17-15</inkml:trace>
  <inkml:trace contextRef="#ctx0" brushRef="#br0" timeOffset="-182761.33">31216 12343 0,'18'-35'15,"-1"35"1,2-18-16,15 18 16,-16 0-16,35 0 15,-36 0 1,2 0-16,16 18 0,-35 0 0,17-18 16,-17 17-16,0 0 15,-17 19-15,-1-18 0,1-1 16,-19 19-16,19-19 15,-19 1-15,18-1 0,-16 19 16,-2-19 0,18 1-16,1-1 15,52-17 1,35 0 0,-52-17-16,18 17 15,-19 0-15,19 0 16,-19-18-16,18 18 0,1 0 0,-19-17 15,89 0 1,-89 17-16,2-19 0</inkml:trace>
  <inkml:trace contextRef="#ctx0" brushRef="#br0" timeOffset="-182307.21">32116 12255 0,'-18'-17'0,"0"17"16,1-19-16,0 19 15,-37 19 1,54-2-16,-34 0 0,15 1 16,2 0-16,17 0 15,-18-1-15,36 0 32,-18 1-32,17-18 0,2 0 15,15-18-15,-16 18 16,0 0-16,-18-17 0,18 17 0,16-17 15,-16 17 1,0 0-16,0 0 16,-18 17-1,-18 0-15,18 1 0,-18 18 16,0-2 0,18-15-16,0-2 0,0 1 15,0-1-15</inkml:trace>
  <inkml:trace contextRef="#ctx0" brushRef="#br0" timeOffset="-181964.67">32663 12326 0,'-53'17'31,"35"-17"-31,-18 17 0,19 1 16,0 0-16,-1-18 0,1 18 15,-2-18-15,2 17 0,0 0 16,-19 2-16,36-2 16,18 1 15,-18-1-31,18-17 0,-1 0 15,0 0-15,2 0 0,16 0 16,18 0 0,-36 0-16,1 0 0,-1-17 15,2 17-15,-19-18 16,17 18-16,-17-17 0</inkml:trace>
  <inkml:trace contextRef="#ctx0" brushRef="#br0" timeOffset="-181776.65">32646 12326 0,'-19'34'0,"2"-16"15,17 18-15,-18-19 0,18 19 16,-17 52 0,-2-36-16,19-33 15,0-2-15,0 0 0,0 1 0,0 0 16,0 0-16,19 16 15</inkml:trace>
  <inkml:trace contextRef="#ctx0" brushRef="#br0" timeOffset="-179118.57">25095 11726 0,'53'-18'15,"-17"18"1,104-18-16,143 0 16,-159 1-16,-19 17 15,19-17-15,-18 17 0,-1-18 16,107 0-16,-88 0 0,-19 18 16,2 0-16,192-34 15,-175 34-15,-54-19 0,36 19 16,-53-17-1,-36 17-15,2 17 16,-55 2 0,19-2-16</inkml:trace>
  <inkml:trace contextRef="#ctx0" brushRef="#br0" timeOffset="-178739.55">25448 13295 0,'106'0'0,"-17"0"16,-18 0-16,17 0 0,0 0 0,0 0 15,17-17-15,-17 17 0,72 0 16,-1 0 0,-90 0-16,2-18 0,70 18 0,-88-17 15,1 17-15,-20 0 0,-16 0 16,18-19-16,-19 19 0,0 0 15,37-34 1,-54 16-16,0 1 16,0-2-16,-18-15 0</inkml:trace>
  <inkml:trace contextRef="#ctx0" brushRef="#br0" timeOffset="-177408.76">25166 6875 0,'-88'-17'0,"53"17"15,-1 0-15,-69 17 0,51-17 0,-16 0 16,18 17-16,-19-17 0,35 18 16,1-18-16,-1 0 0,2 18 15,-37 17 1,71-18-16,0 2 0,0 16 0,17 18 15,1-18-15,18 35 16,-2-16-16,37 87 0,70 52 16,-105-122-16,-18 0 15,34 70-15,-34-70 16,0 51-16,-18-51 0,-18 0 0,-18 70 16,-105 71-1,89-160-15,-19 19 16,18-18-16,-18-18 0,1 18 0,18-17 15,-38 16-15,-15-16 16,52-19 0,35-34-16,1 17 0,17-17 15,0-2-15,35-16 16,-17 35 0,17 0-16,-18 18 0,37 35 15,-20-18-15,-15 18 16,16 18-16,-18-18 0,19 35 0,-1 300 15,-17-283 1,-18 1-16,0 0 16,0 17-16,18-16 0,-18 105 15,17-107-15,0-17 0,1 17 0,35 73 16,54 103 0,-38-192-1,2-19-15,-53-52 0,34 0 16,-34-18-16,18 0 15</inkml:trace>
  <inkml:trace contextRef="#ctx0" brushRef="#br0" timeOffset="-175878.47">21620 9168 0,'0'71'15,"0"-36"1,19 1-16,-38-2 15,19-16-15,0-1 0,0 2 0,0-2 16,0 36 0</inkml:trace>
  <inkml:trace contextRef="#ctx0" brushRef="#br0" timeOffset="-175601.69">21198 9098 0,'-18'53'0,"0"-36"0,18 1 0,36-106 15,-90 210-15,54-103 0,0 16 0,0 1 0,0-2 16,0 1-16,0 18 15,18 35-15,0 19 16,17-55-16,-18-33 16,2-2-16,-2 0 0,1-17 15,16 18-15,-15-18 16</inkml:trace>
  <inkml:trace contextRef="#ctx0" brushRef="#br0" timeOffset="-175301.63">21762 8832 0,'88'19'0,"-52"-2"15,-2 1-15,20-1 0,-20 19 16,73 35-16,-72-19 0,1-16 16,16 17-16,1 35 0,-53-36 15,17 72-15,-34 0 16,0-55-16,-19 2 16,18 0-16,-104 123 15,51-106-15,35-53 0,19 1 16,-19-1-16</inkml:trace>
  <inkml:trace contextRef="#ctx0" brushRef="#br0" timeOffset="-171417.77">27107 9186 0,'0'17'16,"-19"0"-16</inkml:trace>
  <inkml:trace contextRef="#ctx0" brushRef="#br0" timeOffset="-171148.76">26630 10086 0,'-18'0'0,"36"17"47</inkml:trace>
  <inkml:trace contextRef="#ctx0" brushRef="#br0" timeOffset="-170914.83">26878 10296 0,'17'-34'31</inkml:trace>
  <inkml:trace contextRef="#ctx0" brushRef="#br0" timeOffset="-170754.01">27000 10174 0,'0'-18'15,"0"0"1,18 0 15</inkml:trace>
  <inkml:trace contextRef="#ctx0" brushRef="#br0" timeOffset="-170646.72">27178 10067 0</inkml:trace>
  <inkml:trace contextRef="#ctx0" brushRef="#br0" timeOffset="-170443.03">26930 10403 0,'-18'17'16</inkml:trace>
  <inkml:trace contextRef="#ctx0" brushRef="#br0" timeOffset="-170283.65">27124 10332 0,'18'-17'16</inkml:trace>
  <inkml:trace contextRef="#ctx0" brushRef="#br0" timeOffset="-168749.45">25854 12572 0,'18'-17'47,"0"17"-32,-1 0 1,0 0-1,-51 17 1,16-17-16,0 18 16,-17-1-16,18-17 0,-19 19 15,-52 33 1,53-34-16,16-18 16,19 18-16,-17-18 0,17 17 0,17 0 31,2-17-31,-2 18 0,18-18 0,-16 0 15,-2 18-15,18-18 0,-18 18 16,36-1-16,-17-17 0,-18 17 16,16 2-16,-16 16 15,-18-18 1,0 2-16,-18-2 0,1 0 16,0 1-16,-37-1 15,20 19-15,15-36 0,-16 17 16,18-17-16,0 18 0,-2-18 0,2 0 15,-1 0 1,18-18 0</inkml:trace>
  <inkml:trace contextRef="#ctx0" brushRef="#br0" timeOffset="-168403.38">26524 12519 0,'-17'-17'15,"0"17"-15,-19 17 16,18 2-16,1-2 0,-19 18 16,1 35-1,35-34-15,-17-18 0,17 16 16,17 20-16,-17-37 0,18 0 15,-1 2-15,0-2 0,2-17 16,16 18-16,-18-18 0,2 0 16,-2 0-16,0 0 0,18 0 0,-16 0 15,-19-18-15,17 18 0,-17-17 16,-17-2 0,-2 19-16,2 0 0,-1 0 15,-16 0-15,-2 19 0,1-19 0,-18 17 16,18 1-16,-1-1 0,1 2 15,-54 33-15</inkml:trace>
  <inkml:trace contextRef="#ctx0" brushRef="#br0" timeOffset="-165357.86">25995 12096 0,'-35'0'0,"17"0"15,0 0-15,1 0 0,0 0 16,-1 0-16,0 18 0,0-18 0,-16 0 15,15 17-15,-16 0 16,1 2-16,-56 16 0,2 18 16,36-18-16,-1 1 0,0-2 15,-1 20-15,2-20 0,-1 2 16,18-1-16,-1 1 0,-34 52 0,35-53 16,18 18-16,-19-18 15,18 54-15,1-54 0,17 18 0,0-18 16,0 1-16,35 69 15,-18-69-15,36 16 0,-18 1 0,18 1 16,1-20-16,16 20 0,-18-20 16,19-16-16,106 52 15,-125-70-15,19 19 16,-18-19-16,18 0 0,0 0 0,-1-19 0,18 19 16,-17-17-16,88-36 0,-18 1 15,-89 33 1,1 2-16,18-18 0,-18 18 0,-18-2 15,18 2-15,-1-1 0,-16-18 16,140-33 0,-158 50-16,18 2 0,-19 0 0,19-1 15,-19 0-15,18 0 0,-16 1 16,33-54-16,-16 37 16,-19 15-16,0 2 15,1-18-15,-18 16 0,18 2 0,-18 0 16,0-1-16,18-52 15,-18 52-15,0-18 0,-18 2 16,18-20-16,-18 1 0,0 18 16,-16-1-16,15-16 0,-33-36 15,16 52-15,-69-52 0,51 35 16,2 18-16,-1 18 16,0-19-16,-18 1 0,-17 17 0,-71-17 15,-53 18-15,124 17 16,-34 0-16,-108 17 15,124-17-15,-17 17 0,16 1 0,-15 0 16,-73 34-16,107-16 16,0-18-16,-53 52 15,87-52-15,2-1 0</inkml:trace>
  <inkml:trace contextRef="#ctx0" brushRef="#br0" timeOffset="-80367.6">6558 7210 0,'0'53'16,"-19"-36"-16,19 71 15,-17-17-15,17-35 0,-18 35 16,18-54-16,0 18 0,0-17 15,0 17-15,0 18 16,-17-35-16,17-1 16</inkml:trace>
  <inkml:trace contextRef="#ctx0" brushRef="#br0" timeOffset="-79556.38">6522 6980 0,'106'-34'0,"-36"34"16,36-18-1,-52 18-15,15 0 0,-16-18 0,18 18 16,0-18-16,17 18 0,106-17 16,-88 0-16,-18 17 0,18-19 15,88 2-15,-89-1 0,-16 18 16,-1-17-16,142 0 15,-37-2 1,-140 19-16,18 0 0,-36 0 16,1-17-16,-2 17 0,-16 0 15,0 0-15,17 0 0,-18 0 0,2 0 16,-2 0 0,18 0-16,-18 0 15,2 0-15,-2 0 16,-17 17 15,0 2-15,0 15-1,0 20 1,0-37-16,0 0 0,0 19 16,0-18-16,0 16 0,0 20 0,0-20 0,0 2 15,0-1-15,18 36 16,-18-18-16,0-18 0,17 1 0,-17-2 15,0 2-15,19-1 0,-19 1 16,17 16-16,-17 1 16,17-35-16,-17 0 0,18 0 15,-18-1-15,0 0 0,0 1 16,18 35 0,-18-36-1,18 2 16,-36-2-15,0-17 0,0 0-16,-16 18 15,-2-18-15,18 0 16,-18 17-16,2-17 0,-142 36 16,122-19-16,-16 1 15,-106 18-15</inkml:trace>
  <inkml:trace contextRef="#ctx0" brushRef="#br0" timeOffset="-77641.97">5499 8092 0,'-17'52'15,"17"-16"-15,0-1 16,17 36-16,-17-18 0,0 0 0,0-18 16,0 36-16,0-1 15,17-35-15,-17-16 0,0-2 16,0 18-16,18-17 0,-18 0 15</inkml:trace>
  <inkml:trace contextRef="#ctx0" brushRef="#br0" timeOffset="-76951.77">5428 8004 0,'35'-18'16,"-16"0"-16,-73 54 0,125-89 16,-54 53-16,19 0 0,-18-17 15,52-2-15,160-16 16,-160 18-1,1 0-15,17 17 0,0-19 0,0 2 16,88-1-16,19 1 16,-107-2-16,70 2 0,-87 17 15,0-17-15,34 17 16,2 0 0,-38-18-16,-50 18 0,15 0 15,-16 0-15,18 0 16,-2 0-16,2 0 15,-18 0 1,-1 0-16,0 0 16,2 0 15,-2 18-15,1-18-1,-1 0 32,-17 17 16</inkml:trace>
  <inkml:trace contextRef="#ctx0" brushRef="#br0" timeOffset="-75390.06">5094 8851 0,'0'140'16,"0"-87"-16,17 18 16,-17 34-16,0-69 15,0 35-15,0-36 0,0 35 16,0-52-1,0 18-15,0-19 0,0 0 16,0 2-16</inkml:trace>
  <inkml:trace contextRef="#ctx0" brushRef="#br0" timeOffset="-74061.99">5075 8710 0,'107'0'0,"-55"0"16,1 0-16,-17-18 0,-1 18 15,53 0-15,-35 0 16,70-18-16,230 0 31,-124 1-31,-158 0 16,0 17-16,105-36 0,-35 36 15,0-18-15,-18 1 16,160-2 0,-230 19-1,35-17-15,-53 17 16,1 0-16,34-17 15,-18 17-15,2 0 16,-18 0-16,-2-18 0,20 18 31,-37 0-15,18 0-16,-17 0 16,17 0-1,1 0-15,-1 0 16,-18 0-1,19 0-15,-1 0 16,-18 0 0,2 0-16,-2 0 15,0 0-15,1 0 16,0 0-16,0 0 31,-18 18-31,17-18 31,-17 17-31,0 0 32,0 2-32,0 16 15,0-18-15,0 2 16,-17 15-16,17 2 0,-18-1 16,18 18-16,0-35 0,-18 87 31,18-69-31,0-19 0,0 1 15,0 18-15,0-2 0,0-16 0,0 18 16,0-19-16,0 19 16,-18-1-16,18-18 0,0 71 31,0-69-31,0-2 16,0 0-16,0 18 15,0-16 1,0-2-16,0 0 15,0 1 1,0 0 15,0 0 1,-17-18-1,0 0-16,-19 0-15,1 0 16,-18 0-16,35 0 16,-88 0-16,-17 17 15,70-17-15,-123 17 16,-300 37 0,281-20-16,90-34 15</inkml:trace>
  <inkml:trace contextRef="#ctx0" brushRef="#br0" timeOffset="-72753.55">3471 10438 0,'0'53'47,"0"0"-47,17 70 16,-17-16-16,0-55 15,0 1-15,0 0 0,0-18 16,0 1-16,0-1 0,0-1 16,0 2-16,0-1 0,0 18 0,0-17 15,0-18 1,0-1-16,0 0 0,0 1 15,0-70 17</inkml:trace>
  <inkml:trace contextRef="#ctx0" brushRef="#br0" timeOffset="-72168.12">3559 10474 0,'0'-19'31,"-36"19"-31,19 19 0,-1-2 16,1 0-16,-2 1 0,2 0 15,-71 70 1,71-70-16,-19 16 15,18-15-15,1-2 16,0-17-16,17 18 0,-19-1 16,38-52 15,33-35-15,-52 52-16,36 1 15,-19-2-15,0 2 0,1 0 16,18-1-1,-19 18-15,0-18 0,2 18 16,16 0-16,-18 0 0,36 18 16,-53 0-1,18-18-15,-1 0 0,2 17 16,-2 0-16,0 2 16,1-19-16,0 0 15,0 17-15,-1-34 16</inkml:trace>
  <inkml:trace contextRef="#ctx0" brushRef="#br0" timeOffset="-71330.74">5482 9715 0,'0'159'16,"0"-125"-16,0 37 15,0-18-15,0 1 0,0 16 0,0-18 0,-19 2 16,19-1-16,0 18 0,0-37 16,0 20-16,0-2 15,0-34 1,19-18-16</inkml:trace>
  <inkml:trace contextRef="#ctx0" brushRef="#br0" timeOffset="-69507.72">5394 9591 0,'52'0'15,"-35"0"1,2 0-16,-2 0 15,36-17 1,70 17 0,-52 0-16,-35 0 15,16 0-15,-16 0 0,-2 0 16,54 0-16,19-18 0,-55 18 16,-16 0-16,16-17 0,-16 17 15,123 0 1,-54 0-16,-69 0 0,-1 0 15,53 0-15,-35 0 16,-17-19-16,-1 38 0,1-19 0,-2-19 16,37 19-16,34 19 15,-69-19-15,16 0 16,-16 0-16,-18 0 0,18 0 16,-19 0-16,35 0 0,-33 0 15,15 0-15,-16 0 0,18 0 16,-19 0-16,0 0 0,71 0 15,-69 0-15,16 0 0,1-19 16,-19 19-16,18 0 16,1 0-16,-19 0 0,0 0 0,37 0 15,16 0 1,-35 0-16,-18 0 16,2 0-16,-2 0 0,1 0 15,-1 0-15,19 0 16,-19 0-1,1 0-15,0 0 0,0 0 16,-1 0-16,0 0 16,1 0-16,0 0 15,17 0-15,-18 0 16,2 0 0,-2 0-1,1 0 1,-1 0-1,2 19 17,-19-2-17,0 1-15,0-1 16,0 0-16,0 19 16,0-18-16,0-1 15,17 19-15,-34-19 0,34 19 16,-34-18-16,17-1 0,0 0 0,0 1 15,0 71 1,0-72-16,0 1 16,-19 16-16,19 2 15,0-18-15,0 35 16,0-36-16,-17 19 16,17-1-16,0-18 15,0 19 1,0-1-16,0-18 15,0 2-15,0-2 16,0 1 0,0-1-16,0 2 15,0-2 17,-18 0-1,1-17-16,-2 0-15,-15 0 16,16 0-16,0 0 0,-17 0 16,-36 18-16,-34-18 15,-90 0-15,125 0 16,-1 17-16,-281 2 16,264-19-1,-71 17-15,106-17 0,-71 17 16,89-17-16,-35 0 15,34 0-15,-16 0 16,-55 0 0,90 0-16,-71 18 15,17-18-15,-17 0 16,0 18-16,52-18 16,-16 0-16,16 18 0,-35-18 15,-70 17 1,72-17-1,50 17-15,-16-17 0,-35 19 16,-1-19 0,36 17-16,17-17 15,0 0-15,1 0 0,-19 18 16,19-18 0,-1 0-16,1 0 31,52 17 0,-18-17-15</inkml:trace>
  <inkml:trace contextRef="#ctx0" brushRef="#br0" timeOffset="-68498.22">1071 10632 0,'36'-17'32,"-19"-2"-17,1 19-15,52-52 16,-52 52-16,18-18 0,17-17 16,-18 18-16,-18 17 15,36-36-15,-35 36 0,-1-18 16,2 18-16,33-17 0,-16 0 15,-2-2 1,-34 2-16,18 17 16</inkml:trace>
  <inkml:trace contextRef="#ctx0" brushRef="#br0" timeOffset="-68165.47">1512 10208 0,'36'0'15,"-18"0"-15,-1 0 0,18 18 16,18 0-1,54 34 1,-73-33-16,-16-2 0,-1 1 16,19-1-16,-19 19 15,1-19-15,-18 1 0,0-1 16,0 2-16,0-2 0,-18 0 16,-52 71-16,52-69 15,-16 16-15,-20-1 0,18-15 16,2 16-16,-20-18 0,2 2 15</inkml:trace>
</inkml:ink>
</file>

<file path=ppt/ink/ink9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05T14:17:41.996"/>
    </inkml:context>
    <inkml:brush xml:id="br0">
      <inkml:brushProperty name="width" value="0.05292" units="cm"/>
      <inkml:brushProperty name="height" value="0.05292" units="cm"/>
      <inkml:brushProperty name="color" value="#0070C0"/>
    </inkml:brush>
  </inkml:definitions>
  <inkml:trace contextRef="#ctx0" brushRef="#br0">1707 10918 0,'88'0'109,"17"0"-109,71 0 16,248-17-1,-177-1-15,-18-35 16,37 18-16,-108 17 15,-18 0 1</inkml:trace>
  <inkml:trace contextRef="#ctx0" brushRef="#br0" timeOffset="1118.66">11038 10847 0,'34'0'94,"73"0"-78,-19 0-16,53 0 0,123 0 31,-158 0-31,52 0 16,-87-17-1</inkml:trace>
  <inkml:trace contextRef="#ctx0" brushRef="#br0" timeOffset="2231.17">17616 2927 0,'54'0'78,"16"0"-62,-35 0-16,36 0 15,-35 0-15,-2-17 16,-16 17-16,0-17 16,0 17 15,16 0 16</inkml:trace>
  <inkml:trace contextRef="#ctx0" brushRef="#br0" timeOffset="2998.43">19698 2893 0,'18'0'63,"17"0"-48,18 0-15,18 0 16,-19 0-16,1 0 16,-18 0-16,36 0 15,-53 0 1,0 0-1,-18-18-15,17 18 0,0 0 16,2-17 0,-2 17-1</inkml:trace>
  <inkml:trace contextRef="#ctx0" brushRef="#br0" timeOffset="35874.4">20298 5079 0,'-18'0'0,"1"0"16,-2 19-16,2-19 15,17 17 1,-17-17-16,17 18 15,17-1 1,0 2 0,2-19-16,-2 17 0,1-17 0,-1 0 15,2 17-15,-2-17 0,0 18 16,-17-1 0,-34 2-1,34-2 1,-36 0-16,1 1 15,-1 0-15,19 0 0,-1-1 16,1 0-16,-2-17 0,19 18 16,-17 0-1,17 0-15,0-1 16,17 0 0,2 2-16,-2-19 0,1 17 15,-1-17-15,0 0 0,19 0 16,-18 18-16,-1-36 0,2 18 15,-2 0-15,0 0 0,1 0 16</inkml:trace>
  <inkml:trace contextRef="#ctx0" brushRef="#br0" timeOffset="36528.4">20563 5186 0,'0'-17'16,"0"51"15,-19 1-16,19-16 1,0-2-16,0 0 0,19-17 16,-19 18-16,17 0 15,1-18 1,-1 0-16,0-18 16,19 0-16,-18 1 15,-1 17-15,-17-17 16,19 17-16,-2 0 15,0 0 1,-17 17 0,18-17-16,-18 17 0,18 1 15,0 0 1,-1-18-16,0 18 16,1-18-16,0-18 15,0 0 1,-1 0-1,0 1-15,-17 0 16,19-2 0,-2 19 15</inkml:trace>
  <inkml:trace contextRef="#ctx0" brushRef="#br0" timeOffset="36752.97">21286 5062 0,'17'0'16,"-17"17"15,-35 54-15,35-52-16,0-2 0,-18 0 15,18 1-15,0-1 0,-35 54 16,35-53-1,0 0-15,0-1 0,-17-17 16,17 17-16,0 1 0</inkml:trace>
  <inkml:trace contextRef="#ctx0" brushRef="#br0" timeOffset="36995.51">21127 5221 0,'17'36'16,"1"-19"0,0-17-16,34 35 15,-34-17 1,0-18-16,0 18 0,16-18 15,-15 17-15,-2-17 16,1 17-16,-1-17 0</inkml:trace>
  <inkml:trace contextRef="#ctx0" brushRef="#br0" timeOffset="37410.83">19680 5838 0,'-17'0'0,"88"-17"16,-37 17-1,20 0-15,16 0 0,1 0 16,246 0-16,-87-18 16,-108 18-16,2 0 0,0 0 15,-1 0-15,1 0 0,-1 0 16,-17 0-16,265-17 15,-319 17-15,1 0 0,-17 0 16,-1 0-16,-18 0 0,1 0 16,0 0-1,-54 17-15,19-17 16</inkml:trace>
  <inkml:trace contextRef="#ctx0" brushRef="#br0" timeOffset="38171.29">20722 6438 0,'-36'17'31,"18"-17"-31,1 18 15,-2-18-15,-15 18 0,16-18 0,1 18 16,-36-1-16,35 0 0,0 2 16,0 16-1,1-35-15,34 36 16,19-19-16,-18 0 16,-1-17-16,19 18 0,-19-18 15,1 17-15,16-17 0,-15 19 16,-2-19-16,1 17 15,-36-17 1,1 17-16,17 1 0,-19-18 16,-33 36-16,16-19 15,19-17-15,0 17 0,-1 2 16,0-19-16,0 0 0,18 17 0,-17 1 31,34-1-31,1 0 16,18-17-16,-19 0 15,0 0-15,19 0 0,-18 0 0,-1 0 0,19 0 16,-19 0-16,1-17 16,52 17-16,-52-17 15,0 17-15,0 0 0,-1-18 16</inkml:trace>
  <inkml:trace contextRef="#ctx0" brushRef="#br0" timeOffset="38976.64">21039 6526 0,'-19'-17'16,"2"34"15,34 19-15,-17 16-1,0-16 1,0-19-16,0 1 0,19-18 16,-19 17-16,0 2 0,17-2 15,1-17 1,35 0-1,-53-17-15,17 17 16,1-19-16,0 19 16,0 0-1,-1 19 1,0-2 0,-17 0-16,18-17 15,0 18 1,0-18-16,-1-18 15,0 18-15,2-17 16,-2 0-16,-17-2 16,18 2-16,-18-1 15,17 1-15,-17-19 0,19-16 16,-2 33 0,-17 2-1,-17 17 16</inkml:trace>
  <inkml:trace contextRef="#ctx0" brushRef="#br0" timeOffset="39815.73">18482 5909 0,'88'0'15,"-18"0"1,-52 0-16,16 0 0,-16 0 16,18 0-16,-19 0 0,0 0 0,2 0 15</inkml:trace>
  <inkml:trace contextRef="#ctx0" brushRef="#br0" timeOffset="39992.75">18516 6191 0,'0'0'32,"18"0"-17,52 0 1,-52-17-16,52 17 15,-34-19-15,-1 19 16,-18 0-16,19-17 0,-1 17 16</inkml:trace>
  <inkml:trace contextRef="#ctx0" brushRef="#br0" timeOffset="40719.68">23772 5733 0,'36'0'0,"-18"0"16,-1-18-16,36 18 0,-35 0 15,18 0-15,-19 0 0,18 0 16,-18 18-16</inkml:trace>
  <inkml:trace contextRef="#ctx0" brushRef="#br0" timeOffset="40874.37">23808 5979 0,'35'18'31,"18"-36"-16,-35 18-15,18 0 0,-2-17 16,90-19-16,-72 19 16</inkml:trace>
  <inkml:trace contextRef="#ctx0" brushRef="#br0" timeOffset="41463.12">25660 5433 0,'18'0'0,"16"-18"0,-15 36 16,-2-18-16,1 0 0,-1 0 15,2 17-15,-19 0 16,17 2-16,-53 33 16,1-33-16,18 15 15,-19-16-15,19-1 0,-18 19 0,16-19 16,-51 37-1,52-37 1,36 0 0,0-17-16,0 0 15,16 0-15,-15 0 0,69 0 32,-53 0-32,1-17 0,-2 17 0,2 0 15,-1-17-15,18 17 0,-18-18 0,-18 18 16,2 0-16,-2-18 15</inkml:trace>
  <inkml:trace contextRef="#ctx0" brushRef="#br0" timeOffset="41882.66">26559 5257 0,'-35'0'16,"18"0"-16,69 0 0,-140 0 15,71 0-15,-1 0 0,1 17 16,-2-17-16,2 17 0,0 1 0,-1 0 16,0 0-16,18-1 15,-18 0-15,36 19 16,0-36-16,-18 18 15,18-18-15,-1 0 16,0 0-16,2 0 0,33 0 16,-33 0-16,-2 0 15,0 17 1,1-17 0,-18 17-16,0 2 0,17 33 31,-17-33-31,0-2 15,19 0-15,-19 1 0,17-1 16,0-17-16,1 0 16</inkml:trace>
  <inkml:trace contextRef="#ctx0" brushRef="#br0" timeOffset="42484.74">27000 5309 0,'-17'36'31,"0"-19"-31,-1 0 16,-18 1-1,19 18-15,0-36 16,-2 17-16,19 0 0,-17-17 0,17 19 16,0-2-16,0 1 15,17-1 1,2 2-16,-2-19 0,0 0 0,1 17 16,0-17-16,17 0 0,-18 0 15,37 0-15,16 0 16,-52-17-1,-1 17-15,0-19 0,2 2 16</inkml:trace>
  <inkml:trace contextRef="#ctx0" brushRef="#br0" timeOffset="42667.92">27159 5291 0,'-17'54'0,"17"-37"0,0 0 15,-18 1-15,18 0 0,0 17 0,0 18 16,0-18-16,0-16 16,0 50-16,0-50 0,18 15 0,-18 2 15,0-18-15,0 52 16,0-52-16,0-1 16</inkml:trace>
  <inkml:trace contextRef="#ctx0" brushRef="#br0" timeOffset="43234.4">25466 6067 0,'353'-52'16,"-160"34"-16,-105 0 16,19 18-16,16-17 0,89 0 15,-106 17-15,-18-19 0,0 19 16,-17-17-16,0 17 0,-1 0 0,-18-18 16,107 1-1,-140 17-15,-2 0 0,0 0 16,1 0-16,0 0 0,0 0 15</inkml:trace>
  <inkml:trace contextRef="#ctx0" brushRef="#br0" timeOffset="44434.28">26136 6755 0,'35'-17'0,"-16"17"16,-2 0-1,-53 17 17,1-17-17,18 18-15,-2-18 16,2 18-16,0-18 0,-1 18 0,1-18 0,-2 0 15,19 17-15,-17-17 0,17 17 0,-17-17 16,17 19-16,0-2 16,17 1-16,0-1 15,2 0-15,-2-17 16,-17 19 0,18-19-16,-18 17 0,17 1 15,-17-1-15,0 2 16,-35 15-1,18-34-15,-54 35 32,53-35-32,0 19 0,1-19 0,0 0 15,-1 0-15,0 0 0,0 0 16,1 0 0</inkml:trace>
  <inkml:trace contextRef="#ctx0" brushRef="#br0" timeOffset="44768.07">26542 6614 0,'-18'19'15,"18"-2"-15,-17 0 16,0 1-16,17-1 0,-19 19 15,2-19-15,17 19 0,0-18 0,0 87 32,0-88-32,17 2 0,19 16 15,35-18-15,-54 2 16,18-19-16,-17 0 0,0 0 0,-1 0 16,36 0-16,-35-19 15,-36 2 1,1 17-1,-19 0-15,1 0 16,-1 0-16,19 0 0,0 0 16,-19 17-16,18-17 0,-16 0 0,-2 19 15,18-2-15</inkml:trace>
  <inkml:trace contextRef="#ctx0" brushRef="#br0" timeOffset="45428.55">24179 9190 0,'140'-17'15,"-104"-2"-15,-1 19 16,1 0-16,-19 0 16,36 0-16</inkml:trace>
  <inkml:trace contextRef="#ctx0" brushRef="#br0" timeOffset="45645.04">24160 9366 0,'0'0'0,"36"0"16,-1-17-1,1 17-15,-19-18 0,18 18 16,-16 0-16,15-18 0,1 18 15,-16 0-15,15 0 0,-16 0 0,52-18 32,-51 18-32,-2 0 15,1 0-15</inkml:trace>
  <inkml:trace contextRef="#ctx0" brushRef="#br0" timeOffset="52356.35">26048 8873 0,'18'0'0,"-72"0"31,2 17-16,34-17-15,-17 17 16,18-17 0,-1 0-16,0 0 0,18 18 0,-18-18 0,1 0 15,0 0-15,17 18 16,-19-18 0,38 18-1,15-1-15,-16 0 16,0-17-16,17 18 15,-18 0-15,1 0 16,0-18-16,-18 17 0,18-17 0,-18 17 16,0 2-1,-18-2-15,0 1 16,0-1-16,1-17 0,0 0 0,-1 19 16,-18-2-1,19-17-15,0 0 16,-2 0-16,2 0 15</inkml:trace>
  <inkml:trace contextRef="#ctx0" brushRef="#br0" timeOffset="52511.32">26207 9102 0</inkml:trace>
  <inkml:trace contextRef="#ctx0" brushRef="#br0" timeOffset="52859.47">26612 8907 0,'0'18'0,"0"-36"0,18 54 15,-18-18-15,-18-18 16,18 17-16,-17 0 0,0 1 0,-2 18 15,2-36 1,17 17-16,-18 0 0,18 2 16,18-19-1,-1 17 1,2-17-16,33 0 16,-34 0-16,17-17 15,-18 17-15,2 0 0,16 0 16,-18 0-16,0 0 15,2 0-15</inkml:trace>
  <inkml:trace contextRef="#ctx0" brushRef="#br0" timeOffset="53114.35">25872 9437 0,'-18'0'16,"54"-18"-16,-19 18 0,18 0 0,-17-17 16,88-2-16,-53 19 15,-1-17-15,-16 17 0,-1 0 16,18-17-16,0 17 0,-35 0 15,-1-18-15,19 18 16,-19 0-16</inkml:trace>
  <inkml:trace contextRef="#ctx0" brushRef="#br0" timeOffset="53711.46">25783 9561 0,'71'0'16,"-53"0"-16,17 0 0,70 0 15,-69-19 1,35 19-16,-19 0 0,19 0 0,-1-17 16,1 17-16,0-18 0,-1 18 0,1 0 15,0-17-15,-1 17 0,36-19 16,-36 2-16,-34 17 0,-1-17 15,0 17-15,18-18 0,-17 1 0,-1-2 16,-1 2-16,2-18 0,-1 17 16,1 0-16,17-35 0,-18 18 15,0 1-15,18-2 0,-17 18 0,-19-18 16,18 2-16,-16-2 0,-2-16 16,0-2-16,-17 20 15,0-2-15,-17 18 0,0-35 16,-19 18-16,1-18 0,-1 0 15,-140-87-15,105 104 16,-17 1-16,0-1 0,0 1 0,-1-1 16,-16 2-16,17 16 0,-19 0 15,-210-17-15,211 52 16,1-17-16,-2 18 0,2 0 0,17 0 16,-19 16-16,19 2 0,18-1 15,-18 18-15,-176 159 16,210-141-16,1-2 15,18 2-15,-1 0 0,2-1 16,16 18-16,0 54 0,54-18 16,17 17-16,-1-89 15,1 1-15,1 1 0,16-20 16,18 2-16,0-1 0,-17-18 0,210 2 16,-227-19-1,-1 0-15,-18 0 0,18 0 16,-18 0-16,1-19 0</inkml:trace>
  <inkml:trace contextRef="#ctx0" brushRef="#br0" timeOffset="60350.62">26419 8890 0,'-19'0'31,"55"-17"47,-18-2-47,-1 19-15,2 0-16,-2 0 15,0 19-15,1-19 16,-1 0-16,2 17 16,-2-17-16,-17 17 0,17-17 15,1 18 1,0 0 0,-36 0-16,18-1 0,0 0 15,-18-17 1,1 18-16,17 0 15,-17 0-15,-2-18 16</inkml:trace>
  <inkml:trace contextRef="#ctx0" brushRef="#br0" timeOffset="61639.49">28006 8995 0,'-35'18'0,"18"18"15,-2-19-15,19 0 0,-52 73 16,33-56-1,2-16-15,0 18 0,-1-19 16,0 18-16,0-17 0,1 0 0,17 16 16,-17-34-16,-1 36 0</inkml:trace>
  <inkml:trace contextRef="#ctx0" brushRef="#br0" timeOffset="61841.34">28183 9013 0,'17'0'16,"-53"70"-1,19-51-15,0 16 16,-1 1-16,-18-2 0,2 20 16,15-20-16,-33 20 0,16-1 0,-87 87 15,87-87 1,19-17-16,-18-18 0,-1 34 1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7B9670-12DD-452D-908D-9FF4D7B43FF8}" type="datetimeFigureOut">
              <a:rPr lang="en-US" smtClean="0"/>
              <a:t>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85B444-AF18-4A9D-A76B-261DB54FF503}" type="slidenum">
              <a:rPr lang="en-US" smtClean="0"/>
              <a:t>‹#›</a:t>
            </a:fld>
            <a:endParaRPr lang="en-US"/>
          </a:p>
        </p:txBody>
      </p:sp>
    </p:spTree>
    <p:extLst>
      <p:ext uri="{BB962C8B-B14F-4D97-AF65-F5344CB8AC3E}">
        <p14:creationId xmlns:p14="http://schemas.microsoft.com/office/powerpoint/2010/main" val="132087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a:t>
            </a:fld>
            <a:endParaRPr lang="en-US"/>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5</a:t>
            </a:fld>
            <a:endParaRPr lang="en-US"/>
          </a:p>
        </p:txBody>
      </p:sp>
    </p:spTree>
    <p:extLst>
      <p:ext uri="{BB962C8B-B14F-4D97-AF65-F5344CB8AC3E}">
        <p14:creationId xmlns:p14="http://schemas.microsoft.com/office/powerpoint/2010/main" val="1650524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91847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CB69B-0A21-4F90-9A8F-119E79336D6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547CBD7-C654-4FC0-B626-79F197A22D1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D884453-EF71-4AEC-B084-22DB28AE11EA}"/>
              </a:ext>
            </a:extLst>
          </p:cNvPr>
          <p:cNvSpPr>
            <a:spLocks noGrp="1"/>
          </p:cNvSpPr>
          <p:nvPr>
            <p:ph type="dt" sz="half" idx="10"/>
          </p:nvPr>
        </p:nvSpPr>
        <p:spPr/>
        <p:txBody>
          <a:bodyPr/>
          <a:lstStyle/>
          <a:p>
            <a:fld id="{FD4ECE92-5359-40C2-83A5-CE3D0DDCBA07}" type="datetimeFigureOut">
              <a:rPr lang="en-US" smtClean="0"/>
              <a:t>2/6/2022</a:t>
            </a:fld>
            <a:endParaRPr lang="en-US"/>
          </a:p>
        </p:txBody>
      </p:sp>
      <p:sp>
        <p:nvSpPr>
          <p:cNvPr id="5" name="Footer Placeholder 4">
            <a:extLst>
              <a:ext uri="{FF2B5EF4-FFF2-40B4-BE49-F238E27FC236}">
                <a16:creationId xmlns:a16="http://schemas.microsoft.com/office/drawing/2014/main" id="{5299CE7F-0BE5-492D-9C87-CFAD75F334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D15920-2225-4E23-9EC6-67F658DADA65}"/>
              </a:ext>
            </a:extLst>
          </p:cNvPr>
          <p:cNvSpPr>
            <a:spLocks noGrp="1"/>
          </p:cNvSpPr>
          <p:nvPr>
            <p:ph type="sldNum" sz="quarter" idx="12"/>
          </p:nvPr>
        </p:nvSpPr>
        <p:spPr/>
        <p:txBody>
          <a:bodyPr/>
          <a:lstStyle/>
          <a:p>
            <a:fld id="{46E657A2-F8CF-48E8-A30D-556556611EA5}" type="slidenum">
              <a:rPr lang="en-US" smtClean="0"/>
              <a:t>‹#›</a:t>
            </a:fld>
            <a:endParaRPr lang="en-US"/>
          </a:p>
        </p:txBody>
      </p:sp>
    </p:spTree>
    <p:extLst>
      <p:ext uri="{BB962C8B-B14F-4D97-AF65-F5344CB8AC3E}">
        <p14:creationId xmlns:p14="http://schemas.microsoft.com/office/powerpoint/2010/main" val="14247936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875CB-3C72-487F-BA25-734340AD990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C47BC98-4C11-4B7D-83F0-0DF4389673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F5F88D-3A01-4AAD-9121-EB64875E20B1}"/>
              </a:ext>
            </a:extLst>
          </p:cNvPr>
          <p:cNvSpPr>
            <a:spLocks noGrp="1"/>
          </p:cNvSpPr>
          <p:nvPr>
            <p:ph type="dt" sz="half" idx="10"/>
          </p:nvPr>
        </p:nvSpPr>
        <p:spPr/>
        <p:txBody>
          <a:bodyPr/>
          <a:lstStyle/>
          <a:p>
            <a:fld id="{FD4ECE92-5359-40C2-83A5-CE3D0DDCBA07}" type="datetimeFigureOut">
              <a:rPr lang="en-US" smtClean="0"/>
              <a:t>2/6/2022</a:t>
            </a:fld>
            <a:endParaRPr lang="en-US"/>
          </a:p>
        </p:txBody>
      </p:sp>
      <p:sp>
        <p:nvSpPr>
          <p:cNvPr id="5" name="Footer Placeholder 4">
            <a:extLst>
              <a:ext uri="{FF2B5EF4-FFF2-40B4-BE49-F238E27FC236}">
                <a16:creationId xmlns:a16="http://schemas.microsoft.com/office/drawing/2014/main" id="{5CF4F79E-7FC4-4AE1-B917-580D09D9CC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D21A1B-416B-471D-81DD-6832077BCEA5}"/>
              </a:ext>
            </a:extLst>
          </p:cNvPr>
          <p:cNvSpPr>
            <a:spLocks noGrp="1"/>
          </p:cNvSpPr>
          <p:nvPr>
            <p:ph type="sldNum" sz="quarter" idx="12"/>
          </p:nvPr>
        </p:nvSpPr>
        <p:spPr/>
        <p:txBody>
          <a:bodyPr/>
          <a:lstStyle/>
          <a:p>
            <a:fld id="{46E657A2-F8CF-48E8-A30D-556556611EA5}" type="slidenum">
              <a:rPr lang="en-US" smtClean="0"/>
              <a:t>‹#›</a:t>
            </a:fld>
            <a:endParaRPr lang="en-US"/>
          </a:p>
        </p:txBody>
      </p:sp>
    </p:spTree>
    <p:extLst>
      <p:ext uri="{BB962C8B-B14F-4D97-AF65-F5344CB8AC3E}">
        <p14:creationId xmlns:p14="http://schemas.microsoft.com/office/powerpoint/2010/main" val="24354255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AD0AE0-D5F0-4D19-840A-5ABF74A5A59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F1BB597-141A-4229-BB85-DE1341825F0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33D73A-9417-4D5B-B79B-C38C7B22F89A}"/>
              </a:ext>
            </a:extLst>
          </p:cNvPr>
          <p:cNvSpPr>
            <a:spLocks noGrp="1"/>
          </p:cNvSpPr>
          <p:nvPr>
            <p:ph type="dt" sz="half" idx="10"/>
          </p:nvPr>
        </p:nvSpPr>
        <p:spPr/>
        <p:txBody>
          <a:bodyPr/>
          <a:lstStyle/>
          <a:p>
            <a:fld id="{FD4ECE92-5359-40C2-83A5-CE3D0DDCBA07}" type="datetimeFigureOut">
              <a:rPr lang="en-US" smtClean="0"/>
              <a:t>2/6/2022</a:t>
            </a:fld>
            <a:endParaRPr lang="en-US"/>
          </a:p>
        </p:txBody>
      </p:sp>
      <p:sp>
        <p:nvSpPr>
          <p:cNvPr id="5" name="Footer Placeholder 4">
            <a:extLst>
              <a:ext uri="{FF2B5EF4-FFF2-40B4-BE49-F238E27FC236}">
                <a16:creationId xmlns:a16="http://schemas.microsoft.com/office/drawing/2014/main" id="{F74151C7-6DFA-4D7C-9ABA-FB6AF6D8DE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9F63E9-2E98-40B7-B093-28D8D4E7C1F0}"/>
              </a:ext>
            </a:extLst>
          </p:cNvPr>
          <p:cNvSpPr>
            <a:spLocks noGrp="1"/>
          </p:cNvSpPr>
          <p:nvPr>
            <p:ph type="sldNum" sz="quarter" idx="12"/>
          </p:nvPr>
        </p:nvSpPr>
        <p:spPr/>
        <p:txBody>
          <a:bodyPr/>
          <a:lstStyle/>
          <a:p>
            <a:fld id="{46E657A2-F8CF-48E8-A30D-556556611EA5}" type="slidenum">
              <a:rPr lang="en-US" smtClean="0"/>
              <a:t>‹#›</a:t>
            </a:fld>
            <a:endParaRPr lang="en-US"/>
          </a:p>
        </p:txBody>
      </p:sp>
    </p:spTree>
    <p:extLst>
      <p:ext uri="{BB962C8B-B14F-4D97-AF65-F5344CB8AC3E}">
        <p14:creationId xmlns:p14="http://schemas.microsoft.com/office/powerpoint/2010/main" val="27211632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61563"/>
            <a:ext cx="10972800" cy="850392"/>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766330695"/>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365760" y="1706880"/>
            <a:ext cx="10565848" cy="426720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161239902"/>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365760" y="1706880"/>
            <a:ext cx="5120640"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rgbClr val="000000"/>
                </a:solidFill>
                <a:latin typeface="Arial" panose="020B0604020202020204" pitchFamily="34" charset="0"/>
                <a:cs typeface="Arial" panose="020B0604020202020204" pitchFamily="34" charset="0"/>
              </a:defRPr>
            </a:lvl1pPr>
            <a:lvl2pPr marL="766214" indent="-309026">
              <a:lnSpc>
                <a:spcPct val="100000"/>
              </a:lnSpc>
              <a:spcBef>
                <a:spcPts val="400"/>
              </a:spcBef>
              <a:spcAft>
                <a:spcPts val="0"/>
              </a:spcAft>
              <a:buClr>
                <a:srgbClr val="AAAAAA"/>
              </a:buClr>
              <a:defRPr sz="1600" b="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b="0">
                <a:solidFill>
                  <a:srgbClr val="000000"/>
                </a:solidFill>
                <a:latin typeface="Arial" panose="020B0604020202020204" pitchFamily="34" charset="0"/>
                <a:cs typeface="Arial" panose="020B0604020202020204" pitchFamily="34"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5852160" y="1706880"/>
            <a:ext cx="5120640"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rgbClr val="000000"/>
                </a:solidFill>
                <a:latin typeface="Arial" panose="020B0604020202020204" pitchFamily="34" charset="0"/>
                <a:cs typeface="Arial" panose="020B0604020202020204" pitchFamily="34" charset="0"/>
              </a:defRPr>
            </a:lvl1pPr>
            <a:lvl2pPr marL="766214" indent="-309026">
              <a:lnSpc>
                <a:spcPct val="100000"/>
              </a:lnSpc>
              <a:spcBef>
                <a:spcPts val="400"/>
              </a:spcBef>
              <a:spcAft>
                <a:spcPts val="0"/>
              </a:spcAft>
              <a:buClr>
                <a:srgbClr val="AAAAAA"/>
              </a:buClr>
              <a:defRPr sz="1600" b="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b="0">
                <a:solidFill>
                  <a:srgbClr val="000000"/>
                </a:solidFill>
                <a:latin typeface="Arial" panose="020B0604020202020204" pitchFamily="34" charset="0"/>
                <a:cs typeface="Arial" panose="020B0604020202020204" pitchFamily="34"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56535548"/>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5759" y="1463040"/>
            <a:ext cx="10607040" cy="318456"/>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365759" y="362513"/>
            <a:ext cx="10607040" cy="85344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365760" y="2072640"/>
            <a:ext cx="10607040" cy="402336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533265551"/>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4067" y="361951"/>
            <a:ext cx="5726959" cy="85344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365760" y="1706880"/>
            <a:ext cx="5711813"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rgbClr val="000000"/>
                </a:solidFill>
                <a:latin typeface="Arial" panose="020B0604020202020204" pitchFamily="34" charset="0"/>
                <a:cs typeface="Arial" panose="020B0604020202020204" pitchFamily="34" charset="0"/>
              </a:defRPr>
            </a:lvl1pPr>
            <a:lvl2pPr marL="766214" indent="-309026">
              <a:lnSpc>
                <a:spcPct val="100000"/>
              </a:lnSpc>
              <a:spcBef>
                <a:spcPts val="400"/>
              </a:spcBef>
              <a:spcAft>
                <a:spcPts val="0"/>
              </a:spcAft>
              <a:buClr>
                <a:srgbClr val="AAAAAA"/>
              </a:buClr>
              <a:defRPr sz="1600" b="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b="0">
                <a:solidFill>
                  <a:srgbClr val="000000"/>
                </a:solidFill>
                <a:latin typeface="Arial" panose="020B0604020202020204" pitchFamily="34" charset="0"/>
                <a:cs typeface="Arial" panose="020B0604020202020204" pitchFamily="34" charset="0"/>
              </a:defRPr>
            </a:lvl3pPr>
            <a:lvl4pPr>
              <a:defRPr sz="1333"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51828499"/>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174A3-7148-441B-A0D3-F6CD1BDAB6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EB4623-3B90-4D6A-9452-778442CAF5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CE985A-B38D-4EDD-BD4F-C70EDCCB44C6}"/>
              </a:ext>
            </a:extLst>
          </p:cNvPr>
          <p:cNvSpPr>
            <a:spLocks noGrp="1"/>
          </p:cNvSpPr>
          <p:nvPr>
            <p:ph type="dt" sz="half" idx="10"/>
          </p:nvPr>
        </p:nvSpPr>
        <p:spPr/>
        <p:txBody>
          <a:bodyPr/>
          <a:lstStyle/>
          <a:p>
            <a:fld id="{FD4ECE92-5359-40C2-83A5-CE3D0DDCBA07}" type="datetimeFigureOut">
              <a:rPr lang="en-US" smtClean="0"/>
              <a:t>2/6/2022</a:t>
            </a:fld>
            <a:endParaRPr lang="en-US"/>
          </a:p>
        </p:txBody>
      </p:sp>
      <p:sp>
        <p:nvSpPr>
          <p:cNvPr id="5" name="Footer Placeholder 4">
            <a:extLst>
              <a:ext uri="{FF2B5EF4-FFF2-40B4-BE49-F238E27FC236}">
                <a16:creationId xmlns:a16="http://schemas.microsoft.com/office/drawing/2014/main" id="{B240F81F-265E-4EAF-B6BD-86CDF42C54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DD921B-6EB4-4E8A-AD7C-B6D6B7D4C805}"/>
              </a:ext>
            </a:extLst>
          </p:cNvPr>
          <p:cNvSpPr>
            <a:spLocks noGrp="1"/>
          </p:cNvSpPr>
          <p:nvPr>
            <p:ph type="sldNum" sz="quarter" idx="12"/>
          </p:nvPr>
        </p:nvSpPr>
        <p:spPr/>
        <p:txBody>
          <a:bodyPr/>
          <a:lstStyle/>
          <a:p>
            <a:fld id="{46E657A2-F8CF-48E8-A30D-556556611EA5}" type="slidenum">
              <a:rPr lang="en-US" smtClean="0"/>
              <a:t>‹#›</a:t>
            </a:fld>
            <a:endParaRPr lang="en-US"/>
          </a:p>
        </p:txBody>
      </p:sp>
    </p:spTree>
    <p:extLst>
      <p:ext uri="{BB962C8B-B14F-4D97-AF65-F5344CB8AC3E}">
        <p14:creationId xmlns:p14="http://schemas.microsoft.com/office/powerpoint/2010/main" val="1887138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FA96D-F731-4B56-8B6D-989C6801978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0EDA511-618B-4ABA-B49B-9B6D26ACE26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3E4E70A-30B1-4E83-ABFB-EFB7E9B22AD6}"/>
              </a:ext>
            </a:extLst>
          </p:cNvPr>
          <p:cNvSpPr>
            <a:spLocks noGrp="1"/>
          </p:cNvSpPr>
          <p:nvPr>
            <p:ph type="dt" sz="half" idx="10"/>
          </p:nvPr>
        </p:nvSpPr>
        <p:spPr/>
        <p:txBody>
          <a:bodyPr/>
          <a:lstStyle/>
          <a:p>
            <a:fld id="{FD4ECE92-5359-40C2-83A5-CE3D0DDCBA07}" type="datetimeFigureOut">
              <a:rPr lang="en-US" smtClean="0"/>
              <a:t>2/6/2022</a:t>
            </a:fld>
            <a:endParaRPr lang="en-US"/>
          </a:p>
        </p:txBody>
      </p:sp>
      <p:sp>
        <p:nvSpPr>
          <p:cNvPr id="5" name="Footer Placeholder 4">
            <a:extLst>
              <a:ext uri="{FF2B5EF4-FFF2-40B4-BE49-F238E27FC236}">
                <a16:creationId xmlns:a16="http://schemas.microsoft.com/office/drawing/2014/main" id="{121EA1B9-C898-49F4-9781-205EB90D9A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CA8E07-6FF9-47C4-8D47-505E0778B4C8}"/>
              </a:ext>
            </a:extLst>
          </p:cNvPr>
          <p:cNvSpPr>
            <a:spLocks noGrp="1"/>
          </p:cNvSpPr>
          <p:nvPr>
            <p:ph type="sldNum" sz="quarter" idx="12"/>
          </p:nvPr>
        </p:nvSpPr>
        <p:spPr/>
        <p:txBody>
          <a:bodyPr/>
          <a:lstStyle/>
          <a:p>
            <a:fld id="{46E657A2-F8CF-48E8-A30D-556556611EA5}" type="slidenum">
              <a:rPr lang="en-US" smtClean="0"/>
              <a:t>‹#›</a:t>
            </a:fld>
            <a:endParaRPr lang="en-US"/>
          </a:p>
        </p:txBody>
      </p:sp>
    </p:spTree>
    <p:extLst>
      <p:ext uri="{BB962C8B-B14F-4D97-AF65-F5344CB8AC3E}">
        <p14:creationId xmlns:p14="http://schemas.microsoft.com/office/powerpoint/2010/main" val="17842625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6B6EAA-25DB-435F-9115-A894F94F10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70FBFB-94CA-4667-BC87-4A866441E02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0152752-4ABF-42A7-97FA-B18F197767D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5D9EF7D-B936-49AF-82D0-22E3862CD85B}"/>
              </a:ext>
            </a:extLst>
          </p:cNvPr>
          <p:cNvSpPr>
            <a:spLocks noGrp="1"/>
          </p:cNvSpPr>
          <p:nvPr>
            <p:ph type="dt" sz="half" idx="10"/>
          </p:nvPr>
        </p:nvSpPr>
        <p:spPr/>
        <p:txBody>
          <a:bodyPr/>
          <a:lstStyle/>
          <a:p>
            <a:fld id="{FD4ECE92-5359-40C2-83A5-CE3D0DDCBA07}" type="datetimeFigureOut">
              <a:rPr lang="en-US" smtClean="0"/>
              <a:t>2/6/2022</a:t>
            </a:fld>
            <a:endParaRPr lang="en-US"/>
          </a:p>
        </p:txBody>
      </p:sp>
      <p:sp>
        <p:nvSpPr>
          <p:cNvPr id="6" name="Footer Placeholder 5">
            <a:extLst>
              <a:ext uri="{FF2B5EF4-FFF2-40B4-BE49-F238E27FC236}">
                <a16:creationId xmlns:a16="http://schemas.microsoft.com/office/drawing/2014/main" id="{9583BB03-C35C-4198-8507-2C9C972765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4CC8A-2532-4584-8803-431547FB0FDA}"/>
              </a:ext>
            </a:extLst>
          </p:cNvPr>
          <p:cNvSpPr>
            <a:spLocks noGrp="1"/>
          </p:cNvSpPr>
          <p:nvPr>
            <p:ph type="sldNum" sz="quarter" idx="12"/>
          </p:nvPr>
        </p:nvSpPr>
        <p:spPr/>
        <p:txBody>
          <a:bodyPr/>
          <a:lstStyle/>
          <a:p>
            <a:fld id="{46E657A2-F8CF-48E8-A30D-556556611EA5}" type="slidenum">
              <a:rPr lang="en-US" smtClean="0"/>
              <a:t>‹#›</a:t>
            </a:fld>
            <a:endParaRPr lang="en-US"/>
          </a:p>
        </p:txBody>
      </p:sp>
    </p:spTree>
    <p:extLst>
      <p:ext uri="{BB962C8B-B14F-4D97-AF65-F5344CB8AC3E}">
        <p14:creationId xmlns:p14="http://schemas.microsoft.com/office/powerpoint/2010/main" val="14351484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FE9FA-A7D1-41A5-BC0D-E9C970A3855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509A4BD-8DDF-47A9-A1E9-6AAD0C6588E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A7B32B6-2B52-4840-BE80-2B62F3281B2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C68F29D-FB71-4BC6-A7DE-9C9A1A0CABB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D8526ED-BA52-47F0-B245-C96E2A770D6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3EF82A-9ABD-4338-9E86-DF24158E6A5E}"/>
              </a:ext>
            </a:extLst>
          </p:cNvPr>
          <p:cNvSpPr>
            <a:spLocks noGrp="1"/>
          </p:cNvSpPr>
          <p:nvPr>
            <p:ph type="dt" sz="half" idx="10"/>
          </p:nvPr>
        </p:nvSpPr>
        <p:spPr/>
        <p:txBody>
          <a:bodyPr/>
          <a:lstStyle/>
          <a:p>
            <a:fld id="{FD4ECE92-5359-40C2-83A5-CE3D0DDCBA07}" type="datetimeFigureOut">
              <a:rPr lang="en-US" smtClean="0"/>
              <a:t>2/6/2022</a:t>
            </a:fld>
            <a:endParaRPr lang="en-US"/>
          </a:p>
        </p:txBody>
      </p:sp>
      <p:sp>
        <p:nvSpPr>
          <p:cNvPr id="8" name="Footer Placeholder 7">
            <a:extLst>
              <a:ext uri="{FF2B5EF4-FFF2-40B4-BE49-F238E27FC236}">
                <a16:creationId xmlns:a16="http://schemas.microsoft.com/office/drawing/2014/main" id="{74A72483-F89C-477A-A6E3-1AFDE3EAAEB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FB3729-22B1-4AF4-8106-8F69F013B592}"/>
              </a:ext>
            </a:extLst>
          </p:cNvPr>
          <p:cNvSpPr>
            <a:spLocks noGrp="1"/>
          </p:cNvSpPr>
          <p:nvPr>
            <p:ph type="sldNum" sz="quarter" idx="12"/>
          </p:nvPr>
        </p:nvSpPr>
        <p:spPr/>
        <p:txBody>
          <a:bodyPr/>
          <a:lstStyle/>
          <a:p>
            <a:fld id="{46E657A2-F8CF-48E8-A30D-556556611EA5}" type="slidenum">
              <a:rPr lang="en-US" smtClean="0"/>
              <a:t>‹#›</a:t>
            </a:fld>
            <a:endParaRPr lang="en-US"/>
          </a:p>
        </p:txBody>
      </p:sp>
    </p:spTree>
    <p:extLst>
      <p:ext uri="{BB962C8B-B14F-4D97-AF65-F5344CB8AC3E}">
        <p14:creationId xmlns:p14="http://schemas.microsoft.com/office/powerpoint/2010/main" val="2296301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7BED7-B59A-4135-B9B0-4E63742C6B6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F7219DC-60D9-40EC-9401-480FA27C0636}"/>
              </a:ext>
            </a:extLst>
          </p:cNvPr>
          <p:cNvSpPr>
            <a:spLocks noGrp="1"/>
          </p:cNvSpPr>
          <p:nvPr>
            <p:ph type="dt" sz="half" idx="10"/>
          </p:nvPr>
        </p:nvSpPr>
        <p:spPr/>
        <p:txBody>
          <a:bodyPr/>
          <a:lstStyle/>
          <a:p>
            <a:fld id="{FD4ECE92-5359-40C2-83A5-CE3D0DDCBA07}" type="datetimeFigureOut">
              <a:rPr lang="en-US" smtClean="0"/>
              <a:t>2/6/2022</a:t>
            </a:fld>
            <a:endParaRPr lang="en-US"/>
          </a:p>
        </p:txBody>
      </p:sp>
      <p:sp>
        <p:nvSpPr>
          <p:cNvPr id="4" name="Footer Placeholder 3">
            <a:extLst>
              <a:ext uri="{FF2B5EF4-FFF2-40B4-BE49-F238E27FC236}">
                <a16:creationId xmlns:a16="http://schemas.microsoft.com/office/drawing/2014/main" id="{4EDF297A-17E3-43DD-887F-8426DD91BF5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904A47B-3223-4646-B11A-F6F781C826C4}"/>
              </a:ext>
            </a:extLst>
          </p:cNvPr>
          <p:cNvSpPr>
            <a:spLocks noGrp="1"/>
          </p:cNvSpPr>
          <p:nvPr>
            <p:ph type="sldNum" sz="quarter" idx="12"/>
          </p:nvPr>
        </p:nvSpPr>
        <p:spPr/>
        <p:txBody>
          <a:bodyPr/>
          <a:lstStyle/>
          <a:p>
            <a:fld id="{46E657A2-F8CF-48E8-A30D-556556611EA5}" type="slidenum">
              <a:rPr lang="en-US" smtClean="0"/>
              <a:t>‹#›</a:t>
            </a:fld>
            <a:endParaRPr lang="en-US"/>
          </a:p>
        </p:txBody>
      </p:sp>
    </p:spTree>
    <p:extLst>
      <p:ext uri="{BB962C8B-B14F-4D97-AF65-F5344CB8AC3E}">
        <p14:creationId xmlns:p14="http://schemas.microsoft.com/office/powerpoint/2010/main" val="936266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BF860E-AD71-4774-B02A-CE7A14FCCE72}"/>
              </a:ext>
            </a:extLst>
          </p:cNvPr>
          <p:cNvSpPr>
            <a:spLocks noGrp="1"/>
          </p:cNvSpPr>
          <p:nvPr>
            <p:ph type="dt" sz="half" idx="10"/>
          </p:nvPr>
        </p:nvSpPr>
        <p:spPr/>
        <p:txBody>
          <a:bodyPr/>
          <a:lstStyle/>
          <a:p>
            <a:fld id="{FD4ECE92-5359-40C2-83A5-CE3D0DDCBA07}" type="datetimeFigureOut">
              <a:rPr lang="en-US" smtClean="0"/>
              <a:t>2/6/2022</a:t>
            </a:fld>
            <a:endParaRPr lang="en-US"/>
          </a:p>
        </p:txBody>
      </p:sp>
      <p:sp>
        <p:nvSpPr>
          <p:cNvPr id="3" name="Footer Placeholder 2">
            <a:extLst>
              <a:ext uri="{FF2B5EF4-FFF2-40B4-BE49-F238E27FC236}">
                <a16:creationId xmlns:a16="http://schemas.microsoft.com/office/drawing/2014/main" id="{15A8B3EE-0BF7-4D05-A73F-B270BAD9BA0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BC460A8-2897-4169-9779-69379E566C79}"/>
              </a:ext>
            </a:extLst>
          </p:cNvPr>
          <p:cNvSpPr>
            <a:spLocks noGrp="1"/>
          </p:cNvSpPr>
          <p:nvPr>
            <p:ph type="sldNum" sz="quarter" idx="12"/>
          </p:nvPr>
        </p:nvSpPr>
        <p:spPr/>
        <p:txBody>
          <a:bodyPr/>
          <a:lstStyle/>
          <a:p>
            <a:fld id="{46E657A2-F8CF-48E8-A30D-556556611EA5}" type="slidenum">
              <a:rPr lang="en-US" smtClean="0"/>
              <a:t>‹#›</a:t>
            </a:fld>
            <a:endParaRPr lang="en-US"/>
          </a:p>
        </p:txBody>
      </p:sp>
    </p:spTree>
    <p:extLst>
      <p:ext uri="{BB962C8B-B14F-4D97-AF65-F5344CB8AC3E}">
        <p14:creationId xmlns:p14="http://schemas.microsoft.com/office/powerpoint/2010/main" val="34157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1E9D6-3AC4-43EC-A30A-4511179332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F2D820C-BD7A-40AD-8167-89BB5F93D4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557D035-D965-4221-9966-361303F0F6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FEA1D3-83F5-4A25-A4B8-3EC57ACAE7EA}"/>
              </a:ext>
            </a:extLst>
          </p:cNvPr>
          <p:cNvSpPr>
            <a:spLocks noGrp="1"/>
          </p:cNvSpPr>
          <p:nvPr>
            <p:ph type="dt" sz="half" idx="10"/>
          </p:nvPr>
        </p:nvSpPr>
        <p:spPr/>
        <p:txBody>
          <a:bodyPr/>
          <a:lstStyle/>
          <a:p>
            <a:fld id="{FD4ECE92-5359-40C2-83A5-CE3D0DDCBA07}" type="datetimeFigureOut">
              <a:rPr lang="en-US" smtClean="0"/>
              <a:t>2/6/2022</a:t>
            </a:fld>
            <a:endParaRPr lang="en-US"/>
          </a:p>
        </p:txBody>
      </p:sp>
      <p:sp>
        <p:nvSpPr>
          <p:cNvPr id="6" name="Footer Placeholder 5">
            <a:extLst>
              <a:ext uri="{FF2B5EF4-FFF2-40B4-BE49-F238E27FC236}">
                <a16:creationId xmlns:a16="http://schemas.microsoft.com/office/drawing/2014/main" id="{22BA4ED4-3260-4CF2-84F5-DAE1650162B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305319-598E-4720-84FC-BFF05CCD4770}"/>
              </a:ext>
            </a:extLst>
          </p:cNvPr>
          <p:cNvSpPr>
            <a:spLocks noGrp="1"/>
          </p:cNvSpPr>
          <p:nvPr>
            <p:ph type="sldNum" sz="quarter" idx="12"/>
          </p:nvPr>
        </p:nvSpPr>
        <p:spPr/>
        <p:txBody>
          <a:bodyPr/>
          <a:lstStyle/>
          <a:p>
            <a:fld id="{46E657A2-F8CF-48E8-A30D-556556611EA5}" type="slidenum">
              <a:rPr lang="en-US" smtClean="0"/>
              <a:t>‹#›</a:t>
            </a:fld>
            <a:endParaRPr lang="en-US"/>
          </a:p>
        </p:txBody>
      </p:sp>
    </p:spTree>
    <p:extLst>
      <p:ext uri="{BB962C8B-B14F-4D97-AF65-F5344CB8AC3E}">
        <p14:creationId xmlns:p14="http://schemas.microsoft.com/office/powerpoint/2010/main" val="8258725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CD707-BCB0-4552-B91D-16651B01B39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5D5211D-1B56-43F2-8AAE-48C53F333D5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876104E-F868-4222-86AC-D69A6F473A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1471D7C-6C1F-4269-A9C0-7C7147485FD7}"/>
              </a:ext>
            </a:extLst>
          </p:cNvPr>
          <p:cNvSpPr>
            <a:spLocks noGrp="1"/>
          </p:cNvSpPr>
          <p:nvPr>
            <p:ph type="dt" sz="half" idx="10"/>
          </p:nvPr>
        </p:nvSpPr>
        <p:spPr/>
        <p:txBody>
          <a:bodyPr/>
          <a:lstStyle/>
          <a:p>
            <a:fld id="{FD4ECE92-5359-40C2-83A5-CE3D0DDCBA07}" type="datetimeFigureOut">
              <a:rPr lang="en-US" smtClean="0"/>
              <a:t>2/6/2022</a:t>
            </a:fld>
            <a:endParaRPr lang="en-US"/>
          </a:p>
        </p:txBody>
      </p:sp>
      <p:sp>
        <p:nvSpPr>
          <p:cNvPr id="6" name="Footer Placeholder 5">
            <a:extLst>
              <a:ext uri="{FF2B5EF4-FFF2-40B4-BE49-F238E27FC236}">
                <a16:creationId xmlns:a16="http://schemas.microsoft.com/office/drawing/2014/main" id="{76685582-8297-45E9-9024-E288267E87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BA74AF8-5EFF-4112-9D1D-E811953BFBD1}"/>
              </a:ext>
            </a:extLst>
          </p:cNvPr>
          <p:cNvSpPr>
            <a:spLocks noGrp="1"/>
          </p:cNvSpPr>
          <p:nvPr>
            <p:ph type="sldNum" sz="quarter" idx="12"/>
          </p:nvPr>
        </p:nvSpPr>
        <p:spPr/>
        <p:txBody>
          <a:bodyPr/>
          <a:lstStyle/>
          <a:p>
            <a:fld id="{46E657A2-F8CF-48E8-A30D-556556611EA5}" type="slidenum">
              <a:rPr lang="en-US" smtClean="0"/>
              <a:t>‹#›</a:t>
            </a:fld>
            <a:endParaRPr lang="en-US"/>
          </a:p>
        </p:txBody>
      </p:sp>
    </p:spTree>
    <p:extLst>
      <p:ext uri="{BB962C8B-B14F-4D97-AF65-F5344CB8AC3E}">
        <p14:creationId xmlns:p14="http://schemas.microsoft.com/office/powerpoint/2010/main" val="41400995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531C634-5586-4505-A298-58EF5BE11A0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B456F74-370D-4B82-8D3D-6733ACD6DB0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1C1DA5-0952-49D2-B79E-AE301C99A77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4ECE92-5359-40C2-83A5-CE3D0DDCBA07}" type="datetimeFigureOut">
              <a:rPr lang="en-US" smtClean="0"/>
              <a:t>2/6/2022</a:t>
            </a:fld>
            <a:endParaRPr lang="en-US"/>
          </a:p>
        </p:txBody>
      </p:sp>
      <p:sp>
        <p:nvSpPr>
          <p:cNvPr id="5" name="Footer Placeholder 4">
            <a:extLst>
              <a:ext uri="{FF2B5EF4-FFF2-40B4-BE49-F238E27FC236}">
                <a16:creationId xmlns:a16="http://schemas.microsoft.com/office/drawing/2014/main" id="{298C08C9-49EC-4EFA-A077-05898CFAB3E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35C8CDF-8DDA-4459-93FE-4556FEF98AC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E657A2-F8CF-48E8-A30D-556556611EA5}" type="slidenum">
              <a:rPr lang="en-US" smtClean="0"/>
              <a:t>‹#›</a:t>
            </a:fld>
            <a:endParaRPr lang="en-US"/>
          </a:p>
        </p:txBody>
      </p:sp>
      <p:sp>
        <p:nvSpPr>
          <p:cNvPr id="7" name="MSIPCMContentMarking" descr="{&quot;HashCode&quot;:-1876667767,&quot;Placement&quot;:&quot;Footer&quot;,&quot;Top&quot;:523.380066,&quot;Left&quot;:0.0,&quot;SlideWidth&quot;:960,&quot;SlideHeight&quot;:540}">
            <a:extLst>
              <a:ext uri="{FF2B5EF4-FFF2-40B4-BE49-F238E27FC236}">
                <a16:creationId xmlns:a16="http://schemas.microsoft.com/office/drawing/2014/main" id="{9922D5D6-6411-4B61-A4DA-69F14C84293F}"/>
              </a:ext>
            </a:extLst>
          </p:cNvPr>
          <p:cNvSpPr txBox="1"/>
          <p:nvPr userDrawn="1"/>
        </p:nvSpPr>
        <p:spPr>
          <a:xfrm>
            <a:off x="0" y="6646927"/>
            <a:ext cx="1185008" cy="211073"/>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737373"/>
                </a:solidFill>
                <a:latin typeface="Calibri" panose="020F0502020204030204" pitchFamily="34" charset="0"/>
              </a:rPr>
              <a:t>Internal Use - Confidential</a:t>
            </a:r>
          </a:p>
        </p:txBody>
      </p:sp>
    </p:spTree>
    <p:extLst>
      <p:ext uri="{BB962C8B-B14F-4D97-AF65-F5344CB8AC3E}">
        <p14:creationId xmlns:p14="http://schemas.microsoft.com/office/powerpoint/2010/main" val="17425371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2.xml"/><Relationship Id="rId9" Type="http://schemas.openxmlformats.org/officeDocument/2006/relationships/hyperlink" Target="https://scherlund.blogspot.com/2018/01/ai-and-machine-learning-give-new.html"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201.emf"/><Relationship Id="rId1" Type="http://schemas.openxmlformats.org/officeDocument/2006/relationships/slideLayout" Target="../slideLayouts/slideLayout12.xml"/><Relationship Id="rId4" Type="http://schemas.openxmlformats.org/officeDocument/2006/relationships/image" Target="../media/image203.png"/></Relationships>
</file>

<file path=ppt/slides/_rels/slide10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customXml" Target="../ink/ink133.xml"/><Relationship Id="rId1" Type="http://schemas.openxmlformats.org/officeDocument/2006/relationships/slideLayout" Target="../slideLayouts/slideLayout12.xml"/></Relationships>
</file>

<file path=ppt/slides/_rels/slide103.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hyperlink" Target="https://www.mathsisfun.com/data/bar-graphs.html" TargetMode="External"/><Relationship Id="rId1" Type="http://schemas.openxmlformats.org/officeDocument/2006/relationships/slideLayout" Target="../slideLayouts/slideLayout12.xml"/><Relationship Id="rId4" Type="http://schemas.openxmlformats.org/officeDocument/2006/relationships/image" Target="../media/image206.png"/></Relationships>
</file>

<file path=ppt/slides/_rels/slide104.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12.xml"/></Relationships>
</file>

<file path=ppt/slides/_rels/slide105.xml.rels><?xml version="1.0" encoding="UTF-8" standalone="yes"?>
<Relationships xmlns="http://schemas.openxmlformats.org/package/2006/relationships"><Relationship Id="rId3" Type="http://schemas.openxmlformats.org/officeDocument/2006/relationships/image" Target="../media/image208.emf"/><Relationship Id="rId2" Type="http://schemas.openxmlformats.org/officeDocument/2006/relationships/image" Target="../media/image207.png"/><Relationship Id="rId1" Type="http://schemas.openxmlformats.org/officeDocument/2006/relationships/slideLayout" Target="../slideLayouts/slideLayout16.xml"/><Relationship Id="rId5" Type="http://schemas.openxmlformats.org/officeDocument/2006/relationships/hyperlink" Target="https://www.mathsisfun.com/data/bar-graphs.html" TargetMode="External"/><Relationship Id="rId4" Type="http://schemas.openxmlformats.org/officeDocument/2006/relationships/hyperlink" Target="https://www.mathsisfun.com/data/data-discrete-continuous.html" TargetMode="External"/></Relationships>
</file>

<file path=ppt/slides/_rels/slide106.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16.xml"/></Relationships>
</file>

<file path=ppt/slides/_rels/slide107.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image" Target="../media/image210.png"/><Relationship Id="rId1" Type="http://schemas.openxmlformats.org/officeDocument/2006/relationships/slideLayout" Target="../slideLayouts/slideLayout16.xml"/><Relationship Id="rId4" Type="http://schemas.openxmlformats.org/officeDocument/2006/relationships/image" Target="../media/image212.png"/></Relationships>
</file>

<file path=ppt/slides/_rels/slide108.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16.xml"/></Relationships>
</file>

<file path=ppt/slides/_rels/slide109.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4.png"/><Relationship Id="rId1" Type="http://schemas.openxmlformats.org/officeDocument/2006/relationships/slideLayout" Target="../slideLayouts/slideLayout16.xml"/><Relationship Id="rId4" Type="http://schemas.openxmlformats.org/officeDocument/2006/relationships/image" Target="../media/image216.png"/></Relationships>
</file>

<file path=ppt/slides/_rels/slide11.xml.rels><?xml version="1.0" encoding="UTF-8" standalone="yes"?>
<Relationships xmlns="http://schemas.openxmlformats.org/package/2006/relationships"><Relationship Id="rId3" Type="http://schemas.openxmlformats.org/officeDocument/2006/relationships/hyperlink" Target="http://www.collectedny.org/careerposts/assessing-job-offers/" TargetMode="External"/><Relationship Id="rId2" Type="http://schemas.openxmlformats.org/officeDocument/2006/relationships/image" Target="../media/image12.jpg"/><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hyperlink" Target="https://www.pexels.com/photo/university-entrance-arch-247823/" TargetMode="External"/><Relationship Id="rId4" Type="http://schemas.openxmlformats.org/officeDocument/2006/relationships/image" Target="../media/image13.jpe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4.xml.rels><?xml version="1.0" encoding="UTF-8" standalone="yes"?>
<Relationships xmlns="http://schemas.openxmlformats.org/package/2006/relationships"><Relationship Id="rId3" Type="http://schemas.openxmlformats.org/officeDocument/2006/relationships/hyperlink" Target="https://www.mathsisfun.com/data/standard-normal-distribution.html" TargetMode="External"/><Relationship Id="rId2" Type="http://schemas.openxmlformats.org/officeDocument/2006/relationships/image" Target="../media/image217.png"/><Relationship Id="rId1" Type="http://schemas.openxmlformats.org/officeDocument/2006/relationships/slideLayout" Target="../slideLayouts/slideLayout16.xml"/></Relationships>
</file>

<file path=ppt/slides/_rels/slide115.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hyperlink" Target="http://capitalcurrent.ca/opioid-overdoses-dwarf-covid-19/" TargetMode="External"/><Relationship Id="rId2" Type="http://schemas.openxmlformats.org/officeDocument/2006/relationships/image" Target="../media/image21.jpg"/><Relationship Id="rId1" Type="http://schemas.openxmlformats.org/officeDocument/2006/relationships/slideLayout" Target="../slideLayouts/slideLayout14.xml"/><Relationship Id="rId4" Type="http://schemas.openxmlformats.org/officeDocument/2006/relationships/hyperlink" Target="https://creativecommons.org/licenses/by-nc-nd/3.0/"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2" Type="http://schemas.openxmlformats.org/officeDocument/2006/relationships/image" Target="../media/image4.jpeg"/><Relationship Id="rId1" Type="http://schemas.openxmlformats.org/officeDocument/2006/relationships/slideLayout" Target="../slideLayouts/slideLayout13.xml"/><Relationship Id="rId6" Type="http://schemas.openxmlformats.org/officeDocument/2006/relationships/image" Target="../media/image6.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8.jpeg"/><Relationship Id="rId4" Type="http://schemas.openxmlformats.org/officeDocument/2006/relationships/image" Target="../media/image5.png"/><Relationship Id="rId9" Type="http://schemas.openxmlformats.org/officeDocument/2006/relationships/hyperlink" Target="http://dangerouslee.biz/insurance-agency-seo/"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hyperlink" Target="https://blog.scielo.org/en/2015/03/27/peer-review-modalities-pros-and-cons/" TargetMode="External"/><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7.jpg"/><Relationship Id="rId5" Type="http://schemas.openxmlformats.org/officeDocument/2006/relationships/notesSlide" Target="../notesSlides/notesSlide4.xml"/><Relationship Id="rId4" Type="http://schemas.openxmlformats.org/officeDocument/2006/relationships/slideLayout" Target="../slideLayouts/slideLayout12.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12.xml"/><Relationship Id="rId9" Type="http://schemas.openxmlformats.org/officeDocument/2006/relationships/hyperlink" Target="https://www.actuaries.digital/2020/08/06/a-data-scientists-guide-to-data-architecture/"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hyperlink" Target="https://www.publicdomainpictures.net/view-image.php?image=176108&amp;picture=fast-sport-car" TargetMode="External"/><Relationship Id="rId2" Type="http://schemas.openxmlformats.org/officeDocument/2006/relationships/image" Target="../media/image29.jpe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hyperlink" Target="https://www.flickr.com/photos/emptyjames/4768555013" TargetMode="External"/><Relationship Id="rId2" Type="http://schemas.openxmlformats.org/officeDocument/2006/relationships/image" Target="../media/image30.jpeg"/><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31.jpeg"/><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31.jpeg"/><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hyperlink" Target="http://www.publicdomainpictures.net/view-image.php?image=120577&amp;picture=forklift-truck-loading-up" TargetMode="External"/><Relationship Id="rId2" Type="http://schemas.openxmlformats.org/officeDocument/2006/relationships/image" Target="../media/image32.jpeg"/><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26" Type="http://schemas.openxmlformats.org/officeDocument/2006/relationships/image" Target="../media/image42.png"/><Relationship Id="rId21" Type="http://schemas.openxmlformats.org/officeDocument/2006/relationships/customXml" Target="../ink/ink10.xml"/><Relationship Id="rId42" Type="http://schemas.openxmlformats.org/officeDocument/2006/relationships/image" Target="../media/image50.png"/><Relationship Id="rId47" Type="http://schemas.openxmlformats.org/officeDocument/2006/relationships/customXml" Target="../ink/ink23.xml"/><Relationship Id="rId63" Type="http://schemas.openxmlformats.org/officeDocument/2006/relationships/customXml" Target="../ink/ink31.xml"/><Relationship Id="rId68" Type="http://schemas.openxmlformats.org/officeDocument/2006/relationships/image" Target="../media/image63.png"/><Relationship Id="rId2" Type="http://schemas.openxmlformats.org/officeDocument/2006/relationships/image" Target="../media/image33.png"/><Relationship Id="rId16" Type="http://schemas.openxmlformats.org/officeDocument/2006/relationships/image" Target="../media/image37.png"/><Relationship Id="rId29" Type="http://schemas.openxmlformats.org/officeDocument/2006/relationships/customXml" Target="../ink/ink14.xml"/><Relationship Id="rId11" Type="http://schemas.openxmlformats.org/officeDocument/2006/relationships/customXml" Target="../ink/ink5.xml"/><Relationship Id="rId24" Type="http://schemas.openxmlformats.org/officeDocument/2006/relationships/image" Target="../media/image41.png"/><Relationship Id="rId32" Type="http://schemas.openxmlformats.org/officeDocument/2006/relationships/image" Target="../media/image45.png"/><Relationship Id="rId37" Type="http://schemas.openxmlformats.org/officeDocument/2006/relationships/customXml" Target="../ink/ink18.xml"/><Relationship Id="rId40" Type="http://schemas.openxmlformats.org/officeDocument/2006/relationships/image" Target="../media/image49.png"/><Relationship Id="rId45" Type="http://schemas.openxmlformats.org/officeDocument/2006/relationships/customXml" Target="../ink/ink22.xml"/><Relationship Id="rId53" Type="http://schemas.openxmlformats.org/officeDocument/2006/relationships/customXml" Target="../ink/ink26.xml"/><Relationship Id="rId58" Type="http://schemas.openxmlformats.org/officeDocument/2006/relationships/image" Target="../media/image58.png"/><Relationship Id="rId66" Type="http://schemas.openxmlformats.org/officeDocument/2006/relationships/image" Target="../media/image62.png"/><Relationship Id="rId74" Type="http://schemas.openxmlformats.org/officeDocument/2006/relationships/image" Target="../media/image66.png"/><Relationship Id="rId5" Type="http://schemas.openxmlformats.org/officeDocument/2006/relationships/customXml" Target="../ink/ink2.xml"/><Relationship Id="rId61" Type="http://schemas.openxmlformats.org/officeDocument/2006/relationships/customXml" Target="../ink/ink30.xml"/><Relationship Id="rId19" Type="http://schemas.openxmlformats.org/officeDocument/2006/relationships/customXml" Target="../ink/ink9.xml"/><Relationship Id="rId14" Type="http://schemas.openxmlformats.org/officeDocument/2006/relationships/image" Target="../media/image36.png"/><Relationship Id="rId22" Type="http://schemas.openxmlformats.org/officeDocument/2006/relationships/image" Target="../media/image40.png"/><Relationship Id="rId27" Type="http://schemas.openxmlformats.org/officeDocument/2006/relationships/customXml" Target="../ink/ink13.xml"/><Relationship Id="rId30" Type="http://schemas.openxmlformats.org/officeDocument/2006/relationships/image" Target="../media/image44.png"/><Relationship Id="rId35" Type="http://schemas.openxmlformats.org/officeDocument/2006/relationships/customXml" Target="../ink/ink17.xml"/><Relationship Id="rId43" Type="http://schemas.openxmlformats.org/officeDocument/2006/relationships/customXml" Target="../ink/ink21.xml"/><Relationship Id="rId48" Type="http://schemas.openxmlformats.org/officeDocument/2006/relationships/image" Target="../media/image53.png"/><Relationship Id="rId56" Type="http://schemas.openxmlformats.org/officeDocument/2006/relationships/image" Target="../media/image57.png"/><Relationship Id="rId64" Type="http://schemas.openxmlformats.org/officeDocument/2006/relationships/image" Target="../media/image61.png"/><Relationship Id="rId69" Type="http://schemas.openxmlformats.org/officeDocument/2006/relationships/customXml" Target="../ink/ink34.xml"/><Relationship Id="rId8" Type="http://schemas.openxmlformats.org/officeDocument/2006/relationships/image" Target="../media/image330.png"/><Relationship Id="rId51" Type="http://schemas.openxmlformats.org/officeDocument/2006/relationships/customXml" Target="../ink/ink25.xml"/><Relationship Id="rId72" Type="http://schemas.openxmlformats.org/officeDocument/2006/relationships/image" Target="../media/image65.png"/><Relationship Id="rId3" Type="http://schemas.openxmlformats.org/officeDocument/2006/relationships/customXml" Target="../ink/ink1.xml"/><Relationship Id="rId12" Type="http://schemas.openxmlformats.org/officeDocument/2006/relationships/image" Target="../media/image35.png"/><Relationship Id="rId17" Type="http://schemas.openxmlformats.org/officeDocument/2006/relationships/customXml" Target="../ink/ink8.xml"/><Relationship Id="rId25" Type="http://schemas.openxmlformats.org/officeDocument/2006/relationships/customXml" Target="../ink/ink12.xml"/><Relationship Id="rId33" Type="http://schemas.openxmlformats.org/officeDocument/2006/relationships/customXml" Target="../ink/ink16.xml"/><Relationship Id="rId38" Type="http://schemas.openxmlformats.org/officeDocument/2006/relationships/image" Target="../media/image48.png"/><Relationship Id="rId46" Type="http://schemas.openxmlformats.org/officeDocument/2006/relationships/image" Target="../media/image52.png"/><Relationship Id="rId59" Type="http://schemas.openxmlformats.org/officeDocument/2006/relationships/customXml" Target="../ink/ink29.xml"/><Relationship Id="rId67" Type="http://schemas.openxmlformats.org/officeDocument/2006/relationships/customXml" Target="../ink/ink33.xml"/><Relationship Id="rId20" Type="http://schemas.openxmlformats.org/officeDocument/2006/relationships/image" Target="../media/image39.png"/><Relationship Id="rId41" Type="http://schemas.openxmlformats.org/officeDocument/2006/relationships/customXml" Target="../ink/ink20.xml"/><Relationship Id="rId54" Type="http://schemas.openxmlformats.org/officeDocument/2006/relationships/image" Target="../media/image56.png"/><Relationship Id="rId62" Type="http://schemas.openxmlformats.org/officeDocument/2006/relationships/image" Target="../media/image60.png"/><Relationship Id="rId70" Type="http://schemas.openxmlformats.org/officeDocument/2006/relationships/image" Target="../media/image64.png"/><Relationship Id="rId75" Type="http://schemas.openxmlformats.org/officeDocument/2006/relationships/customXml" Target="../ink/ink37.xml"/><Relationship Id="rId1" Type="http://schemas.openxmlformats.org/officeDocument/2006/relationships/slideLayout" Target="../slideLayouts/slideLayout15.xml"/><Relationship Id="rId6" Type="http://schemas.openxmlformats.org/officeDocument/2006/relationships/image" Target="../media/image32.png"/><Relationship Id="rId15" Type="http://schemas.openxmlformats.org/officeDocument/2006/relationships/customXml" Target="../ink/ink7.xml"/><Relationship Id="rId23" Type="http://schemas.openxmlformats.org/officeDocument/2006/relationships/customXml" Target="../ink/ink11.xml"/><Relationship Id="rId28" Type="http://schemas.openxmlformats.org/officeDocument/2006/relationships/image" Target="../media/image43.png"/><Relationship Id="rId36" Type="http://schemas.openxmlformats.org/officeDocument/2006/relationships/image" Target="../media/image47.png"/><Relationship Id="rId49" Type="http://schemas.openxmlformats.org/officeDocument/2006/relationships/customXml" Target="../ink/ink24.xml"/><Relationship Id="rId57" Type="http://schemas.openxmlformats.org/officeDocument/2006/relationships/customXml" Target="../ink/ink28.xml"/><Relationship Id="rId10" Type="http://schemas.openxmlformats.org/officeDocument/2006/relationships/image" Target="../media/image34.png"/><Relationship Id="rId31" Type="http://schemas.openxmlformats.org/officeDocument/2006/relationships/customXml" Target="../ink/ink15.xml"/><Relationship Id="rId44" Type="http://schemas.openxmlformats.org/officeDocument/2006/relationships/image" Target="../media/image51.png"/><Relationship Id="rId52" Type="http://schemas.openxmlformats.org/officeDocument/2006/relationships/image" Target="../media/image55.png"/><Relationship Id="rId60" Type="http://schemas.openxmlformats.org/officeDocument/2006/relationships/image" Target="../media/image59.png"/><Relationship Id="rId65" Type="http://schemas.openxmlformats.org/officeDocument/2006/relationships/customXml" Target="../ink/ink32.xml"/><Relationship Id="rId73" Type="http://schemas.openxmlformats.org/officeDocument/2006/relationships/customXml" Target="../ink/ink36.xml"/><Relationship Id="rId4" Type="http://schemas.openxmlformats.org/officeDocument/2006/relationships/image" Target="../media/image310.png"/><Relationship Id="rId9" Type="http://schemas.openxmlformats.org/officeDocument/2006/relationships/customXml" Target="../ink/ink4.xml"/><Relationship Id="rId13" Type="http://schemas.openxmlformats.org/officeDocument/2006/relationships/customXml" Target="../ink/ink6.xml"/><Relationship Id="rId18" Type="http://schemas.openxmlformats.org/officeDocument/2006/relationships/image" Target="../media/image38.png"/><Relationship Id="rId39" Type="http://schemas.openxmlformats.org/officeDocument/2006/relationships/customXml" Target="../ink/ink19.xml"/><Relationship Id="rId34" Type="http://schemas.openxmlformats.org/officeDocument/2006/relationships/image" Target="../media/image46.png"/><Relationship Id="rId50" Type="http://schemas.openxmlformats.org/officeDocument/2006/relationships/image" Target="../media/image54.png"/><Relationship Id="rId55" Type="http://schemas.openxmlformats.org/officeDocument/2006/relationships/customXml" Target="../ink/ink27.xml"/><Relationship Id="rId76" Type="http://schemas.openxmlformats.org/officeDocument/2006/relationships/image" Target="../media/image67.png"/><Relationship Id="rId7" Type="http://schemas.openxmlformats.org/officeDocument/2006/relationships/customXml" Target="../ink/ink3.xml"/><Relationship Id="rId71" Type="http://schemas.openxmlformats.org/officeDocument/2006/relationships/customXml" Target="../ink/ink35.xml"/></Relationships>
</file>

<file path=ppt/slides/_rels/slide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hyperlink" Target="http://www.bettertechtips.com/bestbuy/dell-lightweight-laptop/" TargetMode="External"/><Relationship Id="rId2" Type="http://schemas.openxmlformats.org/officeDocument/2006/relationships/image" Target="../media/image69.jpeg"/><Relationship Id="rId1" Type="http://schemas.openxmlformats.org/officeDocument/2006/relationships/slideLayout" Target="../slideLayouts/slideLayout15.xml"/><Relationship Id="rId4" Type="http://schemas.openxmlformats.org/officeDocument/2006/relationships/image" Target="../media/image70.png"/></Relationships>
</file>

<file path=ppt/slides/_rels/slide51.xml.rels><?xml version="1.0" encoding="UTF-8" standalone="yes"?>
<Relationships xmlns="http://schemas.openxmlformats.org/package/2006/relationships"><Relationship Id="rId26" Type="http://schemas.openxmlformats.org/officeDocument/2006/relationships/customXml" Target="../ink/ink50.xml"/><Relationship Id="rId21" Type="http://schemas.openxmlformats.org/officeDocument/2006/relationships/image" Target="../media/image80.png"/><Relationship Id="rId42" Type="http://schemas.openxmlformats.org/officeDocument/2006/relationships/customXml" Target="../ink/ink58.xml"/><Relationship Id="rId47" Type="http://schemas.openxmlformats.org/officeDocument/2006/relationships/image" Target="../media/image93.png"/><Relationship Id="rId63" Type="http://schemas.openxmlformats.org/officeDocument/2006/relationships/image" Target="../media/image101.png"/><Relationship Id="rId68" Type="http://schemas.openxmlformats.org/officeDocument/2006/relationships/customXml" Target="../ink/ink71.xml"/><Relationship Id="rId84" Type="http://schemas.openxmlformats.org/officeDocument/2006/relationships/customXml" Target="../ink/ink79.xml"/><Relationship Id="rId89" Type="http://schemas.openxmlformats.org/officeDocument/2006/relationships/customXml" Target="../ink/ink82.xml"/><Relationship Id="rId112" Type="http://schemas.openxmlformats.org/officeDocument/2006/relationships/customXml" Target="../ink/ink94.xml"/><Relationship Id="rId16" Type="http://schemas.openxmlformats.org/officeDocument/2006/relationships/customXml" Target="../ink/ink45.xml"/><Relationship Id="rId107" Type="http://schemas.openxmlformats.org/officeDocument/2006/relationships/image" Target="../media/image121.png"/><Relationship Id="rId11" Type="http://schemas.openxmlformats.org/officeDocument/2006/relationships/image" Target="../media/image75.png"/><Relationship Id="rId32" Type="http://schemas.openxmlformats.org/officeDocument/2006/relationships/customXml" Target="../ink/ink53.xml"/><Relationship Id="rId37" Type="http://schemas.openxmlformats.org/officeDocument/2006/relationships/image" Target="../media/image88.png"/><Relationship Id="rId53" Type="http://schemas.openxmlformats.org/officeDocument/2006/relationships/image" Target="../media/image96.png"/><Relationship Id="rId58" Type="http://schemas.openxmlformats.org/officeDocument/2006/relationships/customXml" Target="../ink/ink66.xml"/><Relationship Id="rId74" Type="http://schemas.openxmlformats.org/officeDocument/2006/relationships/customXml" Target="../ink/ink74.xml"/><Relationship Id="rId79" Type="http://schemas.openxmlformats.org/officeDocument/2006/relationships/image" Target="../media/image710.png"/><Relationship Id="rId102" Type="http://schemas.openxmlformats.org/officeDocument/2006/relationships/image" Target="../media/image119.png"/><Relationship Id="rId5" Type="http://schemas.openxmlformats.org/officeDocument/2006/relationships/image" Target="../media/image72.png"/><Relationship Id="rId90" Type="http://schemas.openxmlformats.org/officeDocument/2006/relationships/image" Target="../media/image113.png"/><Relationship Id="rId95" Type="http://schemas.openxmlformats.org/officeDocument/2006/relationships/customXml" Target="../ink/ink85.xml"/><Relationship Id="rId22" Type="http://schemas.openxmlformats.org/officeDocument/2006/relationships/customXml" Target="../ink/ink48.xml"/><Relationship Id="rId27"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customXml" Target="../ink/ink61.xml"/><Relationship Id="rId64" Type="http://schemas.openxmlformats.org/officeDocument/2006/relationships/customXml" Target="../ink/ink69.xml"/><Relationship Id="rId69" Type="http://schemas.openxmlformats.org/officeDocument/2006/relationships/image" Target="../media/image104.png"/><Relationship Id="rId113" Type="http://schemas.openxmlformats.org/officeDocument/2006/relationships/image" Target="../media/image124.png"/><Relationship Id="rId80" Type="http://schemas.openxmlformats.org/officeDocument/2006/relationships/customXml" Target="../ink/ink77.xml"/><Relationship Id="rId85" Type="http://schemas.openxmlformats.org/officeDocument/2006/relationships/customXml" Target="../ink/ink80.xml"/><Relationship Id="rId12" Type="http://schemas.openxmlformats.org/officeDocument/2006/relationships/customXml" Target="../ink/ink43.xml"/><Relationship Id="rId17"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customXml" Target="../ink/ink56.xml"/><Relationship Id="rId59" Type="http://schemas.openxmlformats.org/officeDocument/2006/relationships/image" Target="../media/image99.png"/><Relationship Id="rId103" Type="http://schemas.openxmlformats.org/officeDocument/2006/relationships/customXml" Target="../ink/ink89.xml"/><Relationship Id="rId108" Type="http://schemas.openxmlformats.org/officeDocument/2006/relationships/customXml" Target="../ink/ink92.xml"/><Relationship Id="rId54" Type="http://schemas.openxmlformats.org/officeDocument/2006/relationships/customXml" Target="../ink/ink64.xml"/><Relationship Id="rId70" Type="http://schemas.openxmlformats.org/officeDocument/2006/relationships/customXml" Target="../ink/ink72.xml"/><Relationship Id="rId75" Type="http://schemas.openxmlformats.org/officeDocument/2006/relationships/image" Target="../media/image107.png"/><Relationship Id="rId91" Type="http://schemas.openxmlformats.org/officeDocument/2006/relationships/customXml" Target="../ink/ink83.xml"/><Relationship Id="rId96" Type="http://schemas.openxmlformats.org/officeDocument/2006/relationships/image" Target="../media/image116.png"/><Relationship Id="rId1" Type="http://schemas.openxmlformats.org/officeDocument/2006/relationships/slideLayout" Target="../slideLayouts/slideLayout15.xml"/><Relationship Id="rId6" Type="http://schemas.openxmlformats.org/officeDocument/2006/relationships/customXml" Target="../ink/ink40.xml"/><Relationship Id="rId15" Type="http://schemas.openxmlformats.org/officeDocument/2006/relationships/image" Target="../media/image77.png"/><Relationship Id="rId23" Type="http://schemas.openxmlformats.org/officeDocument/2006/relationships/image" Target="../media/image81.png"/><Relationship Id="rId28" Type="http://schemas.openxmlformats.org/officeDocument/2006/relationships/customXml" Target="../ink/ink51.xml"/><Relationship Id="rId36" Type="http://schemas.openxmlformats.org/officeDocument/2006/relationships/customXml" Target="../ink/ink55.xml"/><Relationship Id="rId49" Type="http://schemas.openxmlformats.org/officeDocument/2006/relationships/image" Target="../media/image94.png"/><Relationship Id="rId57" Type="http://schemas.openxmlformats.org/officeDocument/2006/relationships/image" Target="../media/image98.png"/><Relationship Id="rId106" Type="http://schemas.openxmlformats.org/officeDocument/2006/relationships/customXml" Target="../ink/ink91.xml"/><Relationship Id="rId10" Type="http://schemas.openxmlformats.org/officeDocument/2006/relationships/customXml" Target="../ink/ink42.xml"/><Relationship Id="rId31" Type="http://schemas.openxmlformats.org/officeDocument/2006/relationships/image" Target="../media/image85.png"/><Relationship Id="rId44" Type="http://schemas.openxmlformats.org/officeDocument/2006/relationships/customXml" Target="../ink/ink59.xml"/><Relationship Id="rId52" Type="http://schemas.openxmlformats.org/officeDocument/2006/relationships/customXml" Target="../ink/ink63.xml"/><Relationship Id="rId60" Type="http://schemas.openxmlformats.org/officeDocument/2006/relationships/customXml" Target="../ink/ink67.xml"/><Relationship Id="rId65" Type="http://schemas.openxmlformats.org/officeDocument/2006/relationships/image" Target="../media/image102.png"/><Relationship Id="rId73" Type="http://schemas.openxmlformats.org/officeDocument/2006/relationships/image" Target="../media/image106.png"/><Relationship Id="rId78" Type="http://schemas.openxmlformats.org/officeDocument/2006/relationships/customXml" Target="../ink/ink76.xml"/><Relationship Id="rId81" Type="http://schemas.openxmlformats.org/officeDocument/2006/relationships/image" Target="../media/image109.png"/><Relationship Id="rId86" Type="http://schemas.openxmlformats.org/officeDocument/2006/relationships/image" Target="../media/image111.png"/><Relationship Id="rId94" Type="http://schemas.openxmlformats.org/officeDocument/2006/relationships/image" Target="../media/image115.png"/><Relationship Id="rId99" Type="http://schemas.openxmlformats.org/officeDocument/2006/relationships/customXml" Target="../ink/ink87.xml"/><Relationship Id="rId101" Type="http://schemas.openxmlformats.org/officeDocument/2006/relationships/customXml" Target="../ink/ink88.xml"/><Relationship Id="rId4" Type="http://schemas.openxmlformats.org/officeDocument/2006/relationships/customXml" Target="../ink/ink39.xml"/><Relationship Id="rId9" Type="http://schemas.openxmlformats.org/officeDocument/2006/relationships/image" Target="../media/image74.png"/><Relationship Id="rId13" Type="http://schemas.openxmlformats.org/officeDocument/2006/relationships/image" Target="../media/image76.png"/><Relationship Id="rId18" Type="http://schemas.openxmlformats.org/officeDocument/2006/relationships/customXml" Target="../ink/ink46.xml"/><Relationship Id="rId39" Type="http://schemas.openxmlformats.org/officeDocument/2006/relationships/image" Target="../media/image89.png"/><Relationship Id="rId109" Type="http://schemas.openxmlformats.org/officeDocument/2006/relationships/image" Target="../media/image122.png"/><Relationship Id="rId34" Type="http://schemas.openxmlformats.org/officeDocument/2006/relationships/customXml" Target="../ink/ink54.xml"/><Relationship Id="rId50" Type="http://schemas.openxmlformats.org/officeDocument/2006/relationships/customXml" Target="../ink/ink62.xml"/><Relationship Id="rId55" Type="http://schemas.openxmlformats.org/officeDocument/2006/relationships/image" Target="../media/image97.png"/><Relationship Id="rId76" Type="http://schemas.openxmlformats.org/officeDocument/2006/relationships/customXml" Target="../ink/ink75.xml"/><Relationship Id="rId97" Type="http://schemas.openxmlformats.org/officeDocument/2006/relationships/customXml" Target="../ink/ink86.xml"/><Relationship Id="rId104" Type="http://schemas.openxmlformats.org/officeDocument/2006/relationships/customXml" Target="../ink/ink90.xml"/><Relationship Id="rId7" Type="http://schemas.openxmlformats.org/officeDocument/2006/relationships/image" Target="../media/image73.png"/><Relationship Id="rId71" Type="http://schemas.openxmlformats.org/officeDocument/2006/relationships/image" Target="../media/image105.png"/><Relationship Id="rId92" Type="http://schemas.openxmlformats.org/officeDocument/2006/relationships/image" Target="../media/image114.png"/><Relationship Id="rId2" Type="http://schemas.openxmlformats.org/officeDocument/2006/relationships/customXml" Target="../ink/ink38.xml"/><Relationship Id="rId29" Type="http://schemas.openxmlformats.org/officeDocument/2006/relationships/image" Target="../media/image84.png"/><Relationship Id="rId24" Type="http://schemas.openxmlformats.org/officeDocument/2006/relationships/customXml" Target="../ink/ink49.xml"/><Relationship Id="rId40" Type="http://schemas.openxmlformats.org/officeDocument/2006/relationships/customXml" Target="../ink/ink57.xml"/><Relationship Id="rId45" Type="http://schemas.openxmlformats.org/officeDocument/2006/relationships/image" Target="../media/image92.png"/><Relationship Id="rId66" Type="http://schemas.openxmlformats.org/officeDocument/2006/relationships/customXml" Target="../ink/ink70.xml"/><Relationship Id="rId87" Type="http://schemas.openxmlformats.org/officeDocument/2006/relationships/customXml" Target="../ink/ink81.xml"/><Relationship Id="rId110" Type="http://schemas.openxmlformats.org/officeDocument/2006/relationships/customXml" Target="../ink/ink93.xml"/><Relationship Id="rId61" Type="http://schemas.openxmlformats.org/officeDocument/2006/relationships/image" Target="../media/image100.png"/><Relationship Id="rId82" Type="http://schemas.openxmlformats.org/officeDocument/2006/relationships/customXml" Target="../ink/ink78.xml"/><Relationship Id="rId19" Type="http://schemas.openxmlformats.org/officeDocument/2006/relationships/image" Target="../media/image79.png"/><Relationship Id="rId14" Type="http://schemas.openxmlformats.org/officeDocument/2006/relationships/customXml" Target="../ink/ink44.xml"/><Relationship Id="rId30" Type="http://schemas.openxmlformats.org/officeDocument/2006/relationships/customXml" Target="../ink/ink52.xml"/><Relationship Id="rId35" Type="http://schemas.openxmlformats.org/officeDocument/2006/relationships/image" Target="../media/image87.png"/><Relationship Id="rId56" Type="http://schemas.openxmlformats.org/officeDocument/2006/relationships/customXml" Target="../ink/ink65.xml"/><Relationship Id="rId77" Type="http://schemas.openxmlformats.org/officeDocument/2006/relationships/image" Target="../media/image108.png"/><Relationship Id="rId100" Type="http://schemas.openxmlformats.org/officeDocument/2006/relationships/image" Target="../media/image118.png"/><Relationship Id="rId105" Type="http://schemas.openxmlformats.org/officeDocument/2006/relationships/image" Target="../media/image120.png"/><Relationship Id="rId8" Type="http://schemas.openxmlformats.org/officeDocument/2006/relationships/customXml" Target="../ink/ink41.xml"/><Relationship Id="rId51" Type="http://schemas.openxmlformats.org/officeDocument/2006/relationships/image" Target="../media/image95.png"/><Relationship Id="rId72" Type="http://schemas.openxmlformats.org/officeDocument/2006/relationships/customXml" Target="../ink/ink73.xml"/><Relationship Id="rId93" Type="http://schemas.openxmlformats.org/officeDocument/2006/relationships/customXml" Target="../ink/ink84.xml"/><Relationship Id="rId98" Type="http://schemas.openxmlformats.org/officeDocument/2006/relationships/image" Target="../media/image117.png"/><Relationship Id="rId3" Type="http://schemas.openxmlformats.org/officeDocument/2006/relationships/image" Target="../media/image71.png"/><Relationship Id="rId25" Type="http://schemas.openxmlformats.org/officeDocument/2006/relationships/image" Target="../media/image82.png"/><Relationship Id="rId46" Type="http://schemas.openxmlformats.org/officeDocument/2006/relationships/customXml" Target="../ink/ink60.xml"/><Relationship Id="rId67" Type="http://schemas.openxmlformats.org/officeDocument/2006/relationships/image" Target="../media/image103.png"/><Relationship Id="rId20" Type="http://schemas.openxmlformats.org/officeDocument/2006/relationships/customXml" Target="../ink/ink47.xml"/><Relationship Id="rId41" Type="http://schemas.openxmlformats.org/officeDocument/2006/relationships/image" Target="../media/image90.png"/><Relationship Id="rId62" Type="http://schemas.openxmlformats.org/officeDocument/2006/relationships/customXml" Target="../ink/ink68.xml"/><Relationship Id="rId83" Type="http://schemas.openxmlformats.org/officeDocument/2006/relationships/image" Target="../media/image110.png"/><Relationship Id="rId88" Type="http://schemas.openxmlformats.org/officeDocument/2006/relationships/image" Target="../media/image112.png"/><Relationship Id="rId111" Type="http://schemas.openxmlformats.org/officeDocument/2006/relationships/image" Target="../media/image123.png"/></Relationships>
</file>

<file path=ppt/slides/_rels/slide52.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hyperlink" Target="https://www.mathsisfun.com/mean.html" TargetMode="External"/><Relationship Id="rId1" Type="http://schemas.openxmlformats.org/officeDocument/2006/relationships/slideLayout" Target="../slideLayouts/slideLayout15.xml"/><Relationship Id="rId5" Type="http://schemas.openxmlformats.org/officeDocument/2006/relationships/image" Target="../media/image130.png"/><Relationship Id="rId4" Type="http://schemas.openxmlformats.org/officeDocument/2006/relationships/customXml" Target="../ink/ink95.xml"/></Relationships>
</file>

<file path=ppt/slides/_rels/slide59.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image" Target="../media/image131.png"/><Relationship Id="rId1" Type="http://schemas.openxmlformats.org/officeDocument/2006/relationships/slideLayout" Target="../slideLayouts/slideLayout15.xml"/><Relationship Id="rId6" Type="http://schemas.openxmlformats.org/officeDocument/2006/relationships/image" Target="../media/image133.png"/><Relationship Id="rId5" Type="http://schemas.openxmlformats.org/officeDocument/2006/relationships/customXml" Target="../ink/ink96.xml"/><Relationship Id="rId4" Type="http://schemas.openxmlformats.org/officeDocument/2006/relationships/hyperlink" Target="http://intersection4learning.blogspot.com/2012/01/wonder-wednesday-most-important.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9.jpeg"/><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hyperlink" Target="https://www.pexels.com/photo/black-dslr-camera-mounted-on-black-tripod-212372/" TargetMode="External"/><Relationship Id="rId2" Type="http://schemas.openxmlformats.org/officeDocument/2006/relationships/image" Target="../media/image134.jpeg"/><Relationship Id="rId1" Type="http://schemas.openxmlformats.org/officeDocument/2006/relationships/slideLayout" Target="../slideLayouts/slideLayout15.xml"/><Relationship Id="rId5" Type="http://schemas.openxmlformats.org/officeDocument/2006/relationships/image" Target="../media/image135.png"/><Relationship Id="rId4" Type="http://schemas.openxmlformats.org/officeDocument/2006/relationships/customXml" Target="../ink/ink97.xml"/></Relationships>
</file>

<file path=ppt/slides/_rels/slide61.xml.rels><?xml version="1.0" encoding="UTF-8" standalone="yes"?>
<Relationships xmlns="http://schemas.openxmlformats.org/package/2006/relationships"><Relationship Id="rId3" Type="http://schemas.openxmlformats.org/officeDocument/2006/relationships/hyperlink" Target="http://priyankas-point.blogspot.com/2009_06_14_archive.html" TargetMode="External"/><Relationship Id="rId2" Type="http://schemas.openxmlformats.org/officeDocument/2006/relationships/image" Target="../media/image136.jpeg"/><Relationship Id="rId1" Type="http://schemas.openxmlformats.org/officeDocument/2006/relationships/slideLayout" Target="../slideLayouts/slideLayout15.xml"/><Relationship Id="rId5" Type="http://schemas.openxmlformats.org/officeDocument/2006/relationships/image" Target="../media/image137.png"/><Relationship Id="rId4" Type="http://schemas.openxmlformats.org/officeDocument/2006/relationships/customXml" Target="../ink/ink98.xml"/></Relationships>
</file>

<file path=ppt/slides/_rels/slide62.xml.rels><?xml version="1.0" encoding="UTF-8" standalone="yes"?>
<Relationships xmlns="http://schemas.openxmlformats.org/package/2006/relationships"><Relationship Id="rId3" Type="http://schemas.openxmlformats.org/officeDocument/2006/relationships/hyperlink" Target="http://intersection4learning.blogspot.com/2012/01/wonder-wednesday-most-important.html" TargetMode="External"/><Relationship Id="rId2" Type="http://schemas.openxmlformats.org/officeDocument/2006/relationships/image" Target="../media/image138.jpeg"/><Relationship Id="rId1" Type="http://schemas.openxmlformats.org/officeDocument/2006/relationships/slideLayout" Target="../slideLayouts/slideLayout15.xml"/><Relationship Id="rId4" Type="http://schemas.openxmlformats.org/officeDocument/2006/relationships/image" Target="../media/image139.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3" Type="http://schemas.openxmlformats.org/officeDocument/2006/relationships/customXml" Target="../ink/ink99.xml"/><Relationship Id="rId2" Type="http://schemas.openxmlformats.org/officeDocument/2006/relationships/image" Target="../media/image140.png"/><Relationship Id="rId1" Type="http://schemas.openxmlformats.org/officeDocument/2006/relationships/slideLayout" Target="../slideLayouts/slideLayout15.xml"/><Relationship Id="rId4" Type="http://schemas.openxmlformats.org/officeDocument/2006/relationships/image" Target="../media/image141.png"/></Relationships>
</file>

<file path=ppt/slides/_rels/slide65.xml.rels><?xml version="1.0" encoding="UTF-8" standalone="yes"?>
<Relationships xmlns="http://schemas.openxmlformats.org/package/2006/relationships"><Relationship Id="rId3" Type="http://schemas.openxmlformats.org/officeDocument/2006/relationships/customXml" Target="../ink/ink100.xml"/><Relationship Id="rId2" Type="http://schemas.openxmlformats.org/officeDocument/2006/relationships/image" Target="../media/image142.png"/><Relationship Id="rId1" Type="http://schemas.openxmlformats.org/officeDocument/2006/relationships/slideLayout" Target="../slideLayouts/slideLayout15.xml"/><Relationship Id="rId4" Type="http://schemas.openxmlformats.org/officeDocument/2006/relationships/image" Target="../media/image143.png"/></Relationships>
</file>

<file path=ppt/slides/_rels/slide6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1.bin"/><Relationship Id="rId11" Type="http://schemas.openxmlformats.org/officeDocument/2006/relationships/image" Target="../media/image144.png"/><Relationship Id="rId5" Type="http://schemas.openxmlformats.org/officeDocument/2006/relationships/notesSlide" Target="../notesSlides/notesSlide6.xml"/><Relationship Id="rId10" Type="http://schemas.openxmlformats.org/officeDocument/2006/relationships/customXml" Target="../ink/ink101.xml"/><Relationship Id="rId4" Type="http://schemas.openxmlformats.org/officeDocument/2006/relationships/slideLayout" Target="../slideLayouts/slideLayout12.xml"/><Relationship Id="rId9" Type="http://schemas.openxmlformats.org/officeDocument/2006/relationships/hyperlink" Target="https://www.actuaries.digital/2020/08/06/a-data-scientists-guide-to-data-architectur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ww.scribbr.com/statistics/interquartile-range/" TargetMode="External"/><Relationship Id="rId7" Type="http://schemas.openxmlformats.org/officeDocument/2006/relationships/image" Target="../media/image145.png"/><Relationship Id="rId2" Type="http://schemas.openxmlformats.org/officeDocument/2006/relationships/hyperlink" Target="https://www.scribbr.com/statistics/range/" TargetMode="External"/><Relationship Id="rId1" Type="http://schemas.openxmlformats.org/officeDocument/2006/relationships/slideLayout" Target="../slideLayouts/slideLayout12.xml"/><Relationship Id="rId6" Type="http://schemas.openxmlformats.org/officeDocument/2006/relationships/customXml" Target="../ink/ink102.xml"/><Relationship Id="rId5" Type="http://schemas.openxmlformats.org/officeDocument/2006/relationships/hyperlink" Target="https://www.scribbr.com/statistics/variance/" TargetMode="External"/><Relationship Id="rId4" Type="http://schemas.openxmlformats.org/officeDocument/2006/relationships/hyperlink" Target="https://www.scribbr.com/statistics/standard-deviatio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ww.scribbr.com/methodology/simple-random-sampling/" TargetMode="External"/><Relationship Id="rId2" Type="http://schemas.openxmlformats.org/officeDocument/2006/relationships/image" Target="../media/image146.png"/><Relationship Id="rId1" Type="http://schemas.openxmlformats.org/officeDocument/2006/relationships/slideLayout" Target="../slideLayouts/slideLayout12.xml"/><Relationship Id="rId6" Type="http://schemas.openxmlformats.org/officeDocument/2006/relationships/image" Target="../media/image147.png"/><Relationship Id="rId5" Type="http://schemas.openxmlformats.org/officeDocument/2006/relationships/customXml" Target="../ink/ink103.xml"/><Relationship Id="rId4" Type="http://schemas.openxmlformats.org/officeDocument/2006/relationships/hyperlink" Target="https://www.scribbr.com/statistics/normal-distribution/" TargetMode="External"/></Relationships>
</file>

<file path=ppt/slides/_rels/slide69.xml.rels><?xml version="1.0" encoding="UTF-8" standalone="yes"?>
<Relationships xmlns="http://schemas.openxmlformats.org/package/2006/relationships"><Relationship Id="rId3" Type="http://schemas.openxmlformats.org/officeDocument/2006/relationships/customXml" Target="../ink/ink104.xml"/><Relationship Id="rId2" Type="http://schemas.openxmlformats.org/officeDocument/2006/relationships/hyperlink" Target="https://www.scribbr.com/statistics/range/" TargetMode="External"/><Relationship Id="rId1" Type="http://schemas.openxmlformats.org/officeDocument/2006/relationships/slideLayout" Target="../slideLayouts/slideLayout12.xml"/><Relationship Id="rId4" Type="http://schemas.openxmlformats.org/officeDocument/2006/relationships/image" Target="../media/image148.png"/></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3" Type="http://schemas.openxmlformats.org/officeDocument/2006/relationships/customXml" Target="../ink/ink105.xml"/><Relationship Id="rId2" Type="http://schemas.openxmlformats.org/officeDocument/2006/relationships/hyperlink" Target="https://www.scribbr.com/statistics/outliers/" TargetMode="External"/><Relationship Id="rId1" Type="http://schemas.openxmlformats.org/officeDocument/2006/relationships/slideLayout" Target="../slideLayouts/slideLayout12.xml"/><Relationship Id="rId4" Type="http://schemas.openxmlformats.org/officeDocument/2006/relationships/image" Target="../media/image149.png"/></Relationships>
</file>

<file path=ppt/slides/_rels/slide71.xml.rels><?xml version="1.0" encoding="UTF-8" standalone="yes"?>
<Relationships xmlns="http://schemas.openxmlformats.org/package/2006/relationships"><Relationship Id="rId3" Type="http://schemas.openxmlformats.org/officeDocument/2006/relationships/hyperlink" Target="https://pixabay.com/en/question-mark-question-response-1019983/" TargetMode="External"/><Relationship Id="rId2" Type="http://schemas.openxmlformats.org/officeDocument/2006/relationships/image" Target="../media/image150.jpg"/><Relationship Id="rId1" Type="http://schemas.openxmlformats.org/officeDocument/2006/relationships/slideLayout" Target="../slideLayouts/slideLayout12.xml"/><Relationship Id="rId5" Type="http://schemas.openxmlformats.org/officeDocument/2006/relationships/image" Target="../media/image151.png"/><Relationship Id="rId4" Type="http://schemas.openxmlformats.org/officeDocument/2006/relationships/customXml" Target="../ink/ink106.xml"/></Relationships>
</file>

<file path=ppt/slides/_rels/slide72.xml.rels><?xml version="1.0" encoding="UTF-8" standalone="yes"?>
<Relationships xmlns="http://schemas.openxmlformats.org/package/2006/relationships"><Relationship Id="rId3" Type="http://schemas.openxmlformats.org/officeDocument/2006/relationships/customXml" Target="../ink/ink107.xml"/><Relationship Id="rId2" Type="http://schemas.openxmlformats.org/officeDocument/2006/relationships/image" Target="../media/image152.png"/><Relationship Id="rId1" Type="http://schemas.openxmlformats.org/officeDocument/2006/relationships/slideLayout" Target="../slideLayouts/slideLayout12.xml"/><Relationship Id="rId4" Type="http://schemas.openxmlformats.org/officeDocument/2006/relationships/image" Target="../media/image153.png"/></Relationships>
</file>

<file path=ppt/slides/_rels/slide73.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customXml" Target="../ink/ink108.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hyperlink" Target="https://www.scribbr.com/statistics/interquartile-range/" TargetMode="External"/><Relationship Id="rId1" Type="http://schemas.openxmlformats.org/officeDocument/2006/relationships/slideLayout" Target="../slideLayouts/slideLayout12.xml"/><Relationship Id="rId5" Type="http://schemas.openxmlformats.org/officeDocument/2006/relationships/image" Target="../media/image157.png"/><Relationship Id="rId4" Type="http://schemas.openxmlformats.org/officeDocument/2006/relationships/customXml" Target="../ink/ink109.xml"/></Relationships>
</file>

<file path=ppt/slides/_rels/slide7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customXml" Target="../ink/ink110.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3" Type="http://schemas.openxmlformats.org/officeDocument/2006/relationships/customXml" Target="../ink/ink111.xml"/><Relationship Id="rId2" Type="http://schemas.openxmlformats.org/officeDocument/2006/relationships/image" Target="../media/image159.png"/><Relationship Id="rId1" Type="http://schemas.openxmlformats.org/officeDocument/2006/relationships/slideLayout" Target="../slideLayouts/slideLayout12.xml"/><Relationship Id="rId4" Type="http://schemas.openxmlformats.org/officeDocument/2006/relationships/image" Target="../media/image160.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3" Type="http://schemas.openxmlformats.org/officeDocument/2006/relationships/customXml" Target="../ink/ink112.xml"/><Relationship Id="rId2" Type="http://schemas.openxmlformats.org/officeDocument/2006/relationships/image" Target="../media/image161.png"/><Relationship Id="rId1" Type="http://schemas.openxmlformats.org/officeDocument/2006/relationships/slideLayout" Target="../slideLayouts/slideLayout12.xml"/><Relationship Id="rId4" Type="http://schemas.openxmlformats.org/officeDocument/2006/relationships/image" Target="../media/image16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customXml" Target="../ink/ink113.xml"/><Relationship Id="rId2" Type="http://schemas.openxmlformats.org/officeDocument/2006/relationships/image" Target="../media/image163.png"/><Relationship Id="rId1" Type="http://schemas.openxmlformats.org/officeDocument/2006/relationships/slideLayout" Target="../slideLayouts/slideLayout12.xml"/><Relationship Id="rId4" Type="http://schemas.openxmlformats.org/officeDocument/2006/relationships/image" Target="../media/image164.png"/></Relationships>
</file>

<file path=ppt/slides/_rels/slide8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customXml" Target="../ink/ink114.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3" Type="http://schemas.openxmlformats.org/officeDocument/2006/relationships/customXml" Target="../ink/ink115.xml"/><Relationship Id="rId2" Type="http://schemas.openxmlformats.org/officeDocument/2006/relationships/hyperlink" Target="https://www.mathsisfun.com/mean.html" TargetMode="External"/><Relationship Id="rId1" Type="http://schemas.openxmlformats.org/officeDocument/2006/relationships/slideLayout" Target="../slideLayouts/slideLayout12.xml"/><Relationship Id="rId4" Type="http://schemas.openxmlformats.org/officeDocument/2006/relationships/image" Target="../media/image166.png"/></Relationships>
</file>

<file path=ppt/slides/_rels/slide83.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12.xml"/><Relationship Id="rId5" Type="http://schemas.openxmlformats.org/officeDocument/2006/relationships/image" Target="../media/image169.png"/><Relationship Id="rId4" Type="http://schemas.openxmlformats.org/officeDocument/2006/relationships/customXml" Target="../ink/ink116.xml"/></Relationships>
</file>

<file path=ppt/slides/_rels/slide84.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customXml" Target="../ink/ink117.xml"/><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3" Type="http://schemas.openxmlformats.org/officeDocument/2006/relationships/hyperlink" Target="https://www.mathsisfun.com/numbers/absolute-value.html" TargetMode="External"/><Relationship Id="rId2" Type="http://schemas.openxmlformats.org/officeDocument/2006/relationships/hyperlink" Target="https://www.mathsisfun.com/algebra/sigma-notation.html" TargetMode="External"/><Relationship Id="rId1" Type="http://schemas.openxmlformats.org/officeDocument/2006/relationships/slideLayout" Target="../slideLayouts/slideLayout12.xml"/><Relationship Id="rId6" Type="http://schemas.openxmlformats.org/officeDocument/2006/relationships/image" Target="../media/image172.png"/><Relationship Id="rId5" Type="http://schemas.openxmlformats.org/officeDocument/2006/relationships/customXml" Target="../ink/ink118.xml"/><Relationship Id="rId4" Type="http://schemas.openxmlformats.org/officeDocument/2006/relationships/image" Target="../media/image171.png"/></Relationships>
</file>

<file path=ppt/slides/_rels/slide86.xml.rels><?xml version="1.0" encoding="UTF-8" standalone="yes"?>
<Relationships xmlns="http://schemas.openxmlformats.org/package/2006/relationships"><Relationship Id="rId3" Type="http://schemas.openxmlformats.org/officeDocument/2006/relationships/customXml" Target="../ink/ink119.xml"/><Relationship Id="rId2" Type="http://schemas.openxmlformats.org/officeDocument/2006/relationships/image" Target="../media/image173.png"/><Relationship Id="rId1" Type="http://schemas.openxmlformats.org/officeDocument/2006/relationships/slideLayout" Target="../slideLayouts/slideLayout12.xml"/><Relationship Id="rId4" Type="http://schemas.openxmlformats.org/officeDocument/2006/relationships/image" Target="../media/image174.png"/></Relationships>
</file>

<file path=ppt/slides/_rels/slide8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Layout" Target="../slideLayouts/slideLayout12.xml"/><Relationship Id="rId5" Type="http://schemas.openxmlformats.org/officeDocument/2006/relationships/image" Target="../media/image177.png"/><Relationship Id="rId4" Type="http://schemas.openxmlformats.org/officeDocument/2006/relationships/customXml" Target="../ink/ink120.xml"/></Relationships>
</file>

<file path=ppt/slides/_rels/slide88.xml.rels><?xml version="1.0" encoding="UTF-8" standalone="yes"?>
<Relationships xmlns="http://schemas.openxmlformats.org/package/2006/relationships"><Relationship Id="rId3" Type="http://schemas.openxmlformats.org/officeDocument/2006/relationships/customXml" Target="../ink/ink121.xml"/><Relationship Id="rId2" Type="http://schemas.openxmlformats.org/officeDocument/2006/relationships/image" Target="../media/image178.png"/><Relationship Id="rId1" Type="http://schemas.openxmlformats.org/officeDocument/2006/relationships/slideLayout" Target="../slideLayouts/slideLayout12.xml"/><Relationship Id="rId4" Type="http://schemas.openxmlformats.org/officeDocument/2006/relationships/image" Target="../media/image179.png"/></Relationships>
</file>

<file path=ppt/slides/_rels/slide89.xml.rels><?xml version="1.0" encoding="UTF-8" standalone="yes"?>
<Relationships xmlns="http://schemas.openxmlformats.org/package/2006/relationships"><Relationship Id="rId3" Type="http://schemas.openxmlformats.org/officeDocument/2006/relationships/customXml" Target="../ink/ink122.xml"/><Relationship Id="rId2" Type="http://schemas.openxmlformats.org/officeDocument/2006/relationships/image" Target="../media/image175.png"/><Relationship Id="rId1" Type="http://schemas.openxmlformats.org/officeDocument/2006/relationships/slideLayout" Target="../slideLayouts/slideLayout12.xml"/><Relationship Id="rId4" Type="http://schemas.openxmlformats.org/officeDocument/2006/relationships/image" Target="../media/image180.png"/></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3" Type="http://schemas.openxmlformats.org/officeDocument/2006/relationships/hyperlink" Target="https://www.mathsisfun.com/data/standard-deviation.html#WhySquare"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12.xml"/><Relationship Id="rId5" Type="http://schemas.openxmlformats.org/officeDocument/2006/relationships/image" Target="../media/image181.png"/><Relationship Id="rId4" Type="http://schemas.openxmlformats.org/officeDocument/2006/relationships/customXml" Target="../ink/ink123.xml"/></Relationships>
</file>

<file path=ppt/slides/_rels/slide91.xml.rels><?xml version="1.0" encoding="UTF-8" standalone="yes"?>
<Relationships xmlns="http://schemas.openxmlformats.org/package/2006/relationships"><Relationship Id="rId3" Type="http://schemas.openxmlformats.org/officeDocument/2006/relationships/customXml" Target="../ink/ink124.xml"/><Relationship Id="rId2" Type="http://schemas.openxmlformats.org/officeDocument/2006/relationships/image" Target="../media/image182.png"/><Relationship Id="rId1" Type="http://schemas.openxmlformats.org/officeDocument/2006/relationships/slideLayout" Target="../slideLayouts/slideLayout12.xml"/><Relationship Id="rId4" Type="http://schemas.openxmlformats.org/officeDocument/2006/relationships/image" Target="../media/image183.png"/></Relationships>
</file>

<file path=ppt/slides/_rels/slide92.xml.rels><?xml version="1.0" encoding="UTF-8" standalone="yes"?>
<Relationships xmlns="http://schemas.openxmlformats.org/package/2006/relationships"><Relationship Id="rId3" Type="http://schemas.openxmlformats.org/officeDocument/2006/relationships/customXml" Target="../ink/ink125.xml"/><Relationship Id="rId2" Type="http://schemas.openxmlformats.org/officeDocument/2006/relationships/image" Target="../media/image184.png"/><Relationship Id="rId1" Type="http://schemas.openxmlformats.org/officeDocument/2006/relationships/slideLayout" Target="../slideLayouts/slideLayout12.xml"/><Relationship Id="rId4" Type="http://schemas.openxmlformats.org/officeDocument/2006/relationships/image" Target="../media/image185.png"/></Relationships>
</file>

<file path=ppt/slides/_rels/slide93.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12.xml"/><Relationship Id="rId5" Type="http://schemas.openxmlformats.org/officeDocument/2006/relationships/image" Target="../media/image188.png"/><Relationship Id="rId4" Type="http://schemas.openxmlformats.org/officeDocument/2006/relationships/customXml" Target="../ink/ink126.xml"/></Relationships>
</file>

<file path=ppt/slides/_rels/slide94.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customXml" Target="../ink/ink127.xml"/><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customXml" Target="../ink/ink128.xml"/><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png"/><Relationship Id="rId1" Type="http://schemas.openxmlformats.org/officeDocument/2006/relationships/slideLayout" Target="../slideLayouts/slideLayout12.xml"/><Relationship Id="rId5" Type="http://schemas.openxmlformats.org/officeDocument/2006/relationships/image" Target="../media/image193.png"/><Relationship Id="rId4" Type="http://schemas.openxmlformats.org/officeDocument/2006/relationships/customXml" Target="../ink/ink129.xml"/></Relationships>
</file>

<file path=ppt/slides/_rels/slide97.xml.rels><?xml version="1.0" encoding="UTF-8" standalone="yes"?>
<Relationships xmlns="http://schemas.openxmlformats.org/package/2006/relationships"><Relationship Id="rId3" Type="http://schemas.openxmlformats.org/officeDocument/2006/relationships/hyperlink" Target="https://www.mathsisfun.com/data/mean-deviation.html" TargetMode="External"/><Relationship Id="rId7" Type="http://schemas.openxmlformats.org/officeDocument/2006/relationships/image" Target="../media/image196.png"/><Relationship Id="rId2" Type="http://schemas.openxmlformats.org/officeDocument/2006/relationships/hyperlink" Target="https://www.mathsisfun.com/numbers/absolute-value.html" TargetMode="External"/><Relationship Id="rId1" Type="http://schemas.openxmlformats.org/officeDocument/2006/relationships/slideLayout" Target="../slideLayouts/slideLayout12.xml"/><Relationship Id="rId6" Type="http://schemas.openxmlformats.org/officeDocument/2006/relationships/customXml" Target="../ink/ink130.xml"/><Relationship Id="rId5" Type="http://schemas.openxmlformats.org/officeDocument/2006/relationships/image" Target="../media/image195.png"/><Relationship Id="rId4" Type="http://schemas.openxmlformats.org/officeDocument/2006/relationships/image" Target="../media/image194.png"/></Relationships>
</file>

<file path=ppt/slides/_rels/slide98.xml.rels><?xml version="1.0" encoding="UTF-8" standalone="yes"?>
<Relationships xmlns="http://schemas.openxmlformats.org/package/2006/relationships"><Relationship Id="rId3" Type="http://schemas.openxmlformats.org/officeDocument/2006/relationships/customXml" Target="../ink/ink131.xml"/><Relationship Id="rId2" Type="http://schemas.openxmlformats.org/officeDocument/2006/relationships/image" Target="../media/image197.png"/><Relationship Id="rId1" Type="http://schemas.openxmlformats.org/officeDocument/2006/relationships/slideLayout" Target="../slideLayouts/slideLayout12.xml"/><Relationship Id="rId4" Type="http://schemas.openxmlformats.org/officeDocument/2006/relationships/image" Target="../media/image198.png"/></Relationships>
</file>

<file path=ppt/slides/_rels/slide99.xml.rels><?xml version="1.0" encoding="UTF-8" standalone="yes"?>
<Relationships xmlns="http://schemas.openxmlformats.org/package/2006/relationships"><Relationship Id="rId3" Type="http://schemas.openxmlformats.org/officeDocument/2006/relationships/customXml" Target="../ink/ink132.xml"/><Relationship Id="rId2" Type="http://schemas.openxmlformats.org/officeDocument/2006/relationships/image" Target="../media/image199.png"/><Relationship Id="rId1" Type="http://schemas.openxmlformats.org/officeDocument/2006/relationships/slideLayout" Target="../slideLayouts/slideLayout12.xml"/><Relationship Id="rId4" Type="http://schemas.openxmlformats.org/officeDocument/2006/relationships/image" Target="../media/image20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525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524001" y="1"/>
            <a:ext cx="158751" cy="158751"/>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8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108559" y="1405305"/>
            <a:ext cx="3824612" cy="4047391"/>
          </a:xfrm>
        </p:spPr>
        <p:txBody>
          <a:bodyPr>
            <a:normAutofit fontScale="90000"/>
          </a:bodyPr>
          <a:lstStyle/>
          <a:p>
            <a:r>
              <a:rPr lang="en-US" sz="6400" dirty="0"/>
              <a:t>Statistics for </a:t>
            </a:r>
            <a:br>
              <a:rPr lang="en-US" sz="6400" dirty="0"/>
            </a:br>
            <a:r>
              <a:rPr lang="en-US" sz="64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242147" y="-1"/>
            <a:ext cx="7949852" cy="6858000"/>
          </a:xfrm>
          <a:prstGeom prst="rect">
            <a:avLst/>
          </a:prstGeom>
        </p:spPr>
      </p:pic>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425927352"/>
      </p:ext>
    </p:extLst>
  </p:cSld>
  <p:clrMapOvr>
    <a:masterClrMapping/>
  </p:clrMapOvr>
  <p:transition spd="med">
    <p:wipe dir="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15513-4618-43CC-A58D-6EBBB5D6C779}"/>
              </a:ext>
            </a:extLst>
          </p:cNvPr>
          <p:cNvSpPr>
            <a:spLocks noGrp="1"/>
          </p:cNvSpPr>
          <p:nvPr>
            <p:ph type="title"/>
          </p:nvPr>
        </p:nvSpPr>
        <p:spPr>
          <a:xfrm>
            <a:off x="0" y="0"/>
            <a:ext cx="10972800" cy="850392"/>
          </a:xfrm>
        </p:spPr>
        <p:txBody>
          <a:bodyPr/>
          <a:lstStyle/>
          <a:p>
            <a:r>
              <a:rPr lang="en-US" dirty="0"/>
              <a:t>Coefficient of Variance (CV)</a:t>
            </a:r>
          </a:p>
        </p:txBody>
      </p:sp>
      <p:sp>
        <p:nvSpPr>
          <p:cNvPr id="3" name="TextBox 2">
            <a:extLst>
              <a:ext uri="{FF2B5EF4-FFF2-40B4-BE49-F238E27FC236}">
                <a16:creationId xmlns:a16="http://schemas.microsoft.com/office/drawing/2014/main" id="{513FCA3B-E05B-4E7A-A5F2-9F78E18C22D3}"/>
              </a:ext>
            </a:extLst>
          </p:cNvPr>
          <p:cNvSpPr txBox="1"/>
          <p:nvPr/>
        </p:nvSpPr>
        <p:spPr>
          <a:xfrm>
            <a:off x="102377" y="670095"/>
            <a:ext cx="11782497" cy="5488747"/>
          </a:xfrm>
          <a:prstGeom prst="rect">
            <a:avLst/>
          </a:prstGeom>
          <a:noFill/>
        </p:spPr>
        <p:txBody>
          <a:bodyPr wrap="square" rtlCol="0">
            <a:spAutoFit/>
          </a:bodyPr>
          <a:lstStyle/>
          <a:p>
            <a:pPr marL="228594" indent="-228594">
              <a:buClr>
                <a:schemeClr val="bg1"/>
              </a:buClr>
              <a:buFont typeface="Arial" panose="020B0604020202020204" pitchFamily="34" charset="0"/>
              <a:buChar char="•"/>
            </a:pPr>
            <a:r>
              <a:rPr lang="en-US" sz="2400" dirty="0">
                <a:solidFill>
                  <a:schemeClr val="bg2">
                    <a:lumMod val="50000"/>
                    <a:lumOff val="50000"/>
                  </a:schemeClr>
                </a:solidFill>
                <a:latin typeface="Verdana" panose="020B0604030504040204" pitchFamily="34" charset="0"/>
              </a:rPr>
              <a:t>Also known as relative standard deviation (RSD), the coefficient of variation (CV) is a standardized measure of dispersion. </a:t>
            </a:r>
          </a:p>
          <a:p>
            <a:pPr marL="228594" indent="-228594">
              <a:buClr>
                <a:schemeClr val="bg1"/>
              </a:buClr>
              <a:buFont typeface="Arial" panose="020B0604020202020204" pitchFamily="34" charset="0"/>
              <a:buChar char="•"/>
            </a:pPr>
            <a:r>
              <a:rPr lang="en-US" sz="2400" dirty="0">
                <a:solidFill>
                  <a:schemeClr val="bg2">
                    <a:lumMod val="50000"/>
                    <a:lumOff val="50000"/>
                  </a:schemeClr>
                </a:solidFill>
                <a:latin typeface="Verdana" panose="020B0604030504040204" pitchFamily="34" charset="0"/>
              </a:rPr>
              <a:t>It tells you how variable your data is relative to the mean. It can only be used with ratio levels of measurement because it is a fraction. The coefficient of variation (CV) is the standard deviation divided by the mean.</a:t>
            </a:r>
          </a:p>
          <a:p>
            <a:pPr marL="228594" indent="-228594">
              <a:buClr>
                <a:schemeClr val="bg1"/>
              </a:buClr>
              <a:buFont typeface="Arial" panose="020B0604020202020204" pitchFamily="34" charset="0"/>
              <a:buChar char="•"/>
            </a:pPr>
            <a:endParaRPr lang="en-US" sz="2400" dirty="0">
              <a:solidFill>
                <a:schemeClr val="bg2">
                  <a:lumMod val="50000"/>
                  <a:lumOff val="50000"/>
                </a:schemeClr>
              </a:solidFill>
              <a:latin typeface="Verdana" panose="020B0604030504040204" pitchFamily="34" charset="0"/>
            </a:endParaRPr>
          </a:p>
          <a:p>
            <a:pPr marL="228594" indent="-228594">
              <a:buClr>
                <a:schemeClr val="bg1"/>
              </a:buClr>
              <a:buFont typeface="Arial" panose="020B0604020202020204" pitchFamily="34" charset="0"/>
              <a:buChar char="•"/>
            </a:pPr>
            <a:endParaRPr lang="en-US" sz="2400" dirty="0">
              <a:solidFill>
                <a:schemeClr val="bg2">
                  <a:lumMod val="50000"/>
                  <a:lumOff val="50000"/>
                </a:schemeClr>
              </a:solidFill>
              <a:latin typeface="Verdana" panose="020B0604030504040204" pitchFamily="34" charset="0"/>
            </a:endParaRPr>
          </a:p>
          <a:p>
            <a:pPr algn="ctr"/>
            <a:r>
              <a:rPr lang="en-US" sz="2400" dirty="0">
                <a:solidFill>
                  <a:schemeClr val="accent1"/>
                </a:solidFill>
                <a:latin typeface="Verdana" panose="020B0604030504040204" pitchFamily="34" charset="0"/>
              </a:rPr>
              <a:t>CV = SD/Mean</a:t>
            </a:r>
          </a:p>
          <a:p>
            <a:pPr algn="ctr"/>
            <a:endParaRPr lang="en-US" sz="2400" dirty="0">
              <a:solidFill>
                <a:schemeClr val="accent1"/>
              </a:solidFill>
              <a:latin typeface="Verdana" panose="020B0604030504040204" pitchFamily="34" charset="0"/>
            </a:endParaRPr>
          </a:p>
          <a:p>
            <a:pPr algn="ctr"/>
            <a:r>
              <a:rPr lang="en-US" sz="2400" dirty="0">
                <a:solidFill>
                  <a:schemeClr val="accent1"/>
                </a:solidFill>
                <a:latin typeface="Verdana" panose="020B0604030504040204" pitchFamily="34" charset="0"/>
              </a:rPr>
              <a:t>CV = 36.9/13.34 = 0.36</a:t>
            </a:r>
          </a:p>
          <a:p>
            <a:pPr algn="ctr"/>
            <a:endParaRPr lang="en-US" sz="2400" dirty="0">
              <a:solidFill>
                <a:schemeClr val="bg2">
                  <a:lumMod val="50000"/>
                  <a:lumOff val="50000"/>
                </a:schemeClr>
              </a:solidFill>
              <a:latin typeface="Verdana" panose="020B0604030504040204" pitchFamily="34" charset="0"/>
            </a:endParaRPr>
          </a:p>
          <a:p>
            <a:pPr algn="l"/>
            <a:r>
              <a:rPr lang="en-US" sz="2400" dirty="0">
                <a:solidFill>
                  <a:schemeClr val="bg2">
                    <a:lumMod val="50000"/>
                    <a:lumOff val="50000"/>
                  </a:schemeClr>
                </a:solidFill>
                <a:latin typeface="Verdana" panose="020B0604030504040204" pitchFamily="34" charset="0"/>
              </a:rPr>
              <a:t>The coefficient of variation is 0.36 or 36%. This tells you that your data has a large spread because the standard deviation is 36% of the mean</a:t>
            </a:r>
          </a:p>
          <a:p>
            <a:pPr marL="228594" indent="-228594">
              <a:buClr>
                <a:schemeClr val="bg1"/>
              </a:buClr>
              <a:buFont typeface="Arial" panose="020B0604020202020204" pitchFamily="34" charset="0"/>
              <a:buChar char="•"/>
            </a:pPr>
            <a:endParaRPr lang="en-US" sz="1467" dirty="0">
              <a:solidFill>
                <a:schemeClr val="bg2">
                  <a:lumMod val="50000"/>
                  <a:lumOff val="50000"/>
                </a:schemeClr>
              </a:solidFill>
              <a:latin typeface="Verdana" panose="020B0604030504040204" pitchFamily="34" charset="0"/>
            </a:endParaRPr>
          </a:p>
        </p:txBody>
      </p:sp>
    </p:spTree>
    <p:extLst>
      <p:ext uri="{BB962C8B-B14F-4D97-AF65-F5344CB8AC3E}">
        <p14:creationId xmlns:p14="http://schemas.microsoft.com/office/powerpoint/2010/main" val="3643765442"/>
      </p:ext>
    </p:extLst>
  </p:cSld>
  <p:clrMapOvr>
    <a:masterClrMapping/>
  </p:clrMapOvr>
  <p:transition spd="med">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FE915-C6F8-4B84-BF0E-CC4886DA14AD}"/>
              </a:ext>
            </a:extLst>
          </p:cNvPr>
          <p:cNvSpPr>
            <a:spLocks noGrp="1"/>
          </p:cNvSpPr>
          <p:nvPr>
            <p:ph type="title"/>
          </p:nvPr>
        </p:nvSpPr>
        <p:spPr>
          <a:xfrm>
            <a:off x="0" y="0"/>
            <a:ext cx="12192000" cy="850392"/>
          </a:xfrm>
        </p:spPr>
        <p:txBody>
          <a:bodyPr>
            <a:normAutofit fontScale="90000"/>
          </a:bodyPr>
          <a:lstStyle/>
          <a:p>
            <a:r>
              <a:rPr lang="en-US" dirty="0"/>
              <a:t>Example : </a:t>
            </a:r>
            <a:br>
              <a:rPr lang="en-US" dirty="0"/>
            </a:br>
            <a:br>
              <a:rPr lang="en-US" dirty="0"/>
            </a:br>
            <a:r>
              <a:rPr lang="en-US" sz="1600" dirty="0">
                <a:solidFill>
                  <a:srgbClr val="777777"/>
                </a:solidFill>
                <a:latin typeface="pt sans" panose="020B0503020203020204" pitchFamily="34" charset="0"/>
              </a:rPr>
              <a:t>The CV is particularly useful when you want to compare results from two different surveys or tests that have different measures or values. For example, if you are comparing the results from two tests that have different scoring mechanisms. </a:t>
            </a:r>
          </a:p>
        </p:txBody>
      </p:sp>
      <p:graphicFrame>
        <p:nvGraphicFramePr>
          <p:cNvPr id="4" name="Table 4">
            <a:extLst>
              <a:ext uri="{FF2B5EF4-FFF2-40B4-BE49-F238E27FC236}">
                <a16:creationId xmlns:a16="http://schemas.microsoft.com/office/drawing/2014/main" id="{82BE1733-3C10-42E3-A691-1E95C43C85BB}"/>
              </a:ext>
            </a:extLst>
          </p:cNvPr>
          <p:cNvGraphicFramePr>
            <a:graphicFrameLocks noGrp="1"/>
          </p:cNvGraphicFramePr>
          <p:nvPr/>
        </p:nvGraphicFramePr>
        <p:xfrm>
          <a:off x="3867717" y="2059013"/>
          <a:ext cx="8128000" cy="2472267"/>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3954299871"/>
                    </a:ext>
                  </a:extLst>
                </a:gridCol>
                <a:gridCol w="2709333">
                  <a:extLst>
                    <a:ext uri="{9D8B030D-6E8A-4147-A177-3AD203B41FA5}">
                      <a16:colId xmlns:a16="http://schemas.microsoft.com/office/drawing/2014/main" val="1596437874"/>
                    </a:ext>
                  </a:extLst>
                </a:gridCol>
                <a:gridCol w="2709333">
                  <a:extLst>
                    <a:ext uri="{9D8B030D-6E8A-4147-A177-3AD203B41FA5}">
                      <a16:colId xmlns:a16="http://schemas.microsoft.com/office/drawing/2014/main" val="4240368581"/>
                    </a:ext>
                  </a:extLst>
                </a:gridCol>
              </a:tblGrid>
              <a:tr h="494453">
                <a:tc>
                  <a:txBody>
                    <a:bodyPr/>
                    <a:lstStyle/>
                    <a:p>
                      <a:endParaRPr lang="en-US" sz="2400">
                        <a:solidFill>
                          <a:schemeClr val="tx2"/>
                        </a:solidFill>
                      </a:endParaRPr>
                    </a:p>
                  </a:txBody>
                  <a:tcPr marL="121920" marR="121920" marT="60960" marB="60960"/>
                </a:tc>
                <a:tc>
                  <a:txBody>
                    <a:bodyPr/>
                    <a:lstStyle/>
                    <a:p>
                      <a:r>
                        <a:rPr lang="en-US" sz="2400" dirty="0">
                          <a:solidFill>
                            <a:schemeClr val="tx2"/>
                          </a:solidFill>
                        </a:rPr>
                        <a:t>SGD </a:t>
                      </a:r>
                    </a:p>
                  </a:txBody>
                  <a:tcPr marL="121920" marR="121920" marT="60960" marB="60960"/>
                </a:tc>
                <a:tc>
                  <a:txBody>
                    <a:bodyPr/>
                    <a:lstStyle/>
                    <a:p>
                      <a:r>
                        <a:rPr lang="en-US" sz="2400" dirty="0">
                          <a:solidFill>
                            <a:schemeClr val="tx2"/>
                          </a:solidFill>
                        </a:rPr>
                        <a:t>MY Ringgit</a:t>
                      </a:r>
                    </a:p>
                  </a:txBody>
                  <a:tcPr marL="121920" marR="121920" marT="60960" marB="60960"/>
                </a:tc>
                <a:extLst>
                  <a:ext uri="{0D108BD9-81ED-4DB2-BD59-A6C34878D82A}">
                    <a16:rowId xmlns:a16="http://schemas.microsoft.com/office/drawing/2014/main" val="1887661748"/>
                  </a:ext>
                </a:extLst>
              </a:tr>
              <a:tr h="494453">
                <a:tc>
                  <a:txBody>
                    <a:bodyPr/>
                    <a:lstStyle/>
                    <a:p>
                      <a:r>
                        <a:rPr lang="en-US" sz="2400" dirty="0"/>
                        <a:t>Mean</a:t>
                      </a:r>
                    </a:p>
                  </a:txBody>
                  <a:tcPr marL="121920" marR="121920" marT="60960" marB="60960"/>
                </a:tc>
                <a:tc>
                  <a:txBody>
                    <a:bodyPr/>
                    <a:lstStyle/>
                    <a:p>
                      <a:endParaRPr lang="en-US" sz="2400" dirty="0"/>
                    </a:p>
                  </a:txBody>
                  <a:tcPr marL="121920" marR="121920" marT="60960" marB="60960"/>
                </a:tc>
                <a:tc>
                  <a:txBody>
                    <a:bodyPr/>
                    <a:lstStyle/>
                    <a:p>
                      <a:endParaRPr lang="en-US" sz="2400"/>
                    </a:p>
                  </a:txBody>
                  <a:tcPr marL="121920" marR="121920" marT="60960" marB="60960"/>
                </a:tc>
                <a:extLst>
                  <a:ext uri="{0D108BD9-81ED-4DB2-BD59-A6C34878D82A}">
                    <a16:rowId xmlns:a16="http://schemas.microsoft.com/office/drawing/2014/main" val="321239270"/>
                  </a:ext>
                </a:extLst>
              </a:tr>
              <a:tr h="494453">
                <a:tc>
                  <a:txBody>
                    <a:bodyPr/>
                    <a:lstStyle/>
                    <a:p>
                      <a:r>
                        <a:rPr lang="en-US" sz="2400" dirty="0"/>
                        <a:t>Sample Variance</a:t>
                      </a:r>
                    </a:p>
                  </a:txBody>
                  <a:tcPr marL="121920" marR="121920" marT="60960" marB="60960"/>
                </a:tc>
                <a:tc>
                  <a:txBody>
                    <a:bodyPr/>
                    <a:lstStyle/>
                    <a:p>
                      <a:endParaRPr lang="en-US" sz="2400"/>
                    </a:p>
                  </a:txBody>
                  <a:tcPr marL="121920" marR="121920" marT="60960" marB="60960"/>
                </a:tc>
                <a:tc>
                  <a:txBody>
                    <a:bodyPr/>
                    <a:lstStyle/>
                    <a:p>
                      <a:endParaRPr lang="en-US" sz="2400"/>
                    </a:p>
                  </a:txBody>
                  <a:tcPr marL="121920" marR="121920" marT="60960" marB="60960"/>
                </a:tc>
                <a:extLst>
                  <a:ext uri="{0D108BD9-81ED-4DB2-BD59-A6C34878D82A}">
                    <a16:rowId xmlns:a16="http://schemas.microsoft.com/office/drawing/2014/main" val="502728200"/>
                  </a:ext>
                </a:extLst>
              </a:tr>
              <a:tr h="494453">
                <a:tc>
                  <a:txBody>
                    <a:bodyPr/>
                    <a:lstStyle/>
                    <a:p>
                      <a:r>
                        <a:rPr lang="en-US" sz="2400" dirty="0"/>
                        <a:t>Sample SD</a:t>
                      </a:r>
                    </a:p>
                  </a:txBody>
                  <a:tcPr marL="121920" marR="121920" marT="60960" marB="60960"/>
                </a:tc>
                <a:tc>
                  <a:txBody>
                    <a:bodyPr/>
                    <a:lstStyle/>
                    <a:p>
                      <a:endParaRPr lang="en-US" sz="2400" dirty="0"/>
                    </a:p>
                  </a:txBody>
                  <a:tcPr marL="121920" marR="121920" marT="60960" marB="60960"/>
                </a:tc>
                <a:tc>
                  <a:txBody>
                    <a:bodyPr/>
                    <a:lstStyle/>
                    <a:p>
                      <a:endParaRPr lang="en-US" sz="2400" dirty="0"/>
                    </a:p>
                  </a:txBody>
                  <a:tcPr marL="121920" marR="121920" marT="60960" marB="60960"/>
                </a:tc>
                <a:extLst>
                  <a:ext uri="{0D108BD9-81ED-4DB2-BD59-A6C34878D82A}">
                    <a16:rowId xmlns:a16="http://schemas.microsoft.com/office/drawing/2014/main" val="3041960276"/>
                  </a:ext>
                </a:extLst>
              </a:tr>
              <a:tr h="494453">
                <a:tc>
                  <a:txBody>
                    <a:bodyPr/>
                    <a:lstStyle/>
                    <a:p>
                      <a:r>
                        <a:rPr lang="en-US" sz="2400" dirty="0"/>
                        <a:t>Sample CV</a:t>
                      </a:r>
                    </a:p>
                  </a:txBody>
                  <a:tcPr marL="121920" marR="121920" marT="60960" marB="60960"/>
                </a:tc>
                <a:tc>
                  <a:txBody>
                    <a:bodyPr/>
                    <a:lstStyle/>
                    <a:p>
                      <a:endParaRPr lang="en-US" sz="2400" dirty="0"/>
                    </a:p>
                  </a:txBody>
                  <a:tcPr marL="121920" marR="121920" marT="60960" marB="60960"/>
                </a:tc>
                <a:tc>
                  <a:txBody>
                    <a:bodyPr/>
                    <a:lstStyle/>
                    <a:p>
                      <a:endParaRPr lang="en-US" sz="2400" dirty="0"/>
                    </a:p>
                  </a:txBody>
                  <a:tcPr marL="121920" marR="121920" marT="60960" marB="60960"/>
                </a:tc>
                <a:extLst>
                  <a:ext uri="{0D108BD9-81ED-4DB2-BD59-A6C34878D82A}">
                    <a16:rowId xmlns:a16="http://schemas.microsoft.com/office/drawing/2014/main" val="939018461"/>
                  </a:ext>
                </a:extLst>
              </a:tr>
            </a:tbl>
          </a:graphicData>
        </a:graphic>
      </p:graphicFrame>
      <p:pic>
        <p:nvPicPr>
          <p:cNvPr id="6" name="Picture 5">
            <a:extLst>
              <a:ext uri="{FF2B5EF4-FFF2-40B4-BE49-F238E27FC236}">
                <a16:creationId xmlns:a16="http://schemas.microsoft.com/office/drawing/2014/main" id="{A319A54D-F911-4807-9AAD-7170EAF02AE0}"/>
              </a:ext>
            </a:extLst>
          </p:cNvPr>
          <p:cNvPicPr>
            <a:picLocks noChangeAspect="1"/>
          </p:cNvPicPr>
          <p:nvPr/>
        </p:nvPicPr>
        <p:blipFill>
          <a:blip r:embed="rId2"/>
          <a:stretch>
            <a:fillRect/>
          </a:stretch>
        </p:blipFill>
        <p:spPr>
          <a:xfrm>
            <a:off x="196284" y="2059013"/>
            <a:ext cx="2930825" cy="3244120"/>
          </a:xfrm>
          <a:prstGeom prst="rect">
            <a:avLst/>
          </a:prstGeom>
        </p:spPr>
      </p:pic>
      <p:pic>
        <p:nvPicPr>
          <p:cNvPr id="8" name="Picture 7">
            <a:extLst>
              <a:ext uri="{FF2B5EF4-FFF2-40B4-BE49-F238E27FC236}">
                <a16:creationId xmlns:a16="http://schemas.microsoft.com/office/drawing/2014/main" id="{F2244643-DE6F-479F-98B8-7DC4A272C509}"/>
              </a:ext>
            </a:extLst>
          </p:cNvPr>
          <p:cNvPicPr>
            <a:picLocks noChangeAspect="1"/>
          </p:cNvPicPr>
          <p:nvPr/>
        </p:nvPicPr>
        <p:blipFill>
          <a:blip r:embed="rId3"/>
          <a:stretch>
            <a:fillRect/>
          </a:stretch>
        </p:blipFill>
        <p:spPr>
          <a:xfrm>
            <a:off x="3797785" y="4875017"/>
            <a:ext cx="3200400" cy="1549400"/>
          </a:xfrm>
          <a:prstGeom prst="rect">
            <a:avLst/>
          </a:prstGeom>
        </p:spPr>
      </p:pic>
      <p:pic>
        <p:nvPicPr>
          <p:cNvPr id="10" name="Picture 9">
            <a:extLst>
              <a:ext uri="{FF2B5EF4-FFF2-40B4-BE49-F238E27FC236}">
                <a16:creationId xmlns:a16="http://schemas.microsoft.com/office/drawing/2014/main" id="{68ED49FD-3088-4EE4-BA72-E57EC13DB468}"/>
              </a:ext>
            </a:extLst>
          </p:cNvPr>
          <p:cNvPicPr>
            <a:picLocks noChangeAspect="1"/>
          </p:cNvPicPr>
          <p:nvPr/>
        </p:nvPicPr>
        <p:blipFill>
          <a:blip r:embed="rId4"/>
          <a:stretch>
            <a:fillRect/>
          </a:stretch>
        </p:blipFill>
        <p:spPr>
          <a:xfrm>
            <a:off x="7607301" y="5227103"/>
            <a:ext cx="3365500" cy="622300"/>
          </a:xfrm>
          <a:prstGeom prst="rect">
            <a:avLst/>
          </a:prstGeom>
        </p:spPr>
      </p:pic>
    </p:spTree>
    <p:extLst>
      <p:ext uri="{BB962C8B-B14F-4D97-AF65-F5344CB8AC3E}">
        <p14:creationId xmlns:p14="http://schemas.microsoft.com/office/powerpoint/2010/main" val="2749778074"/>
      </p:ext>
    </p:extLst>
  </p:cSld>
  <p:clrMapOvr>
    <a:masterClrMapping/>
  </p:clrMapOvr>
  <p:transition spd="med">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5BBCD-0354-47E7-94C3-A29794FCA18F}"/>
              </a:ext>
            </a:extLst>
          </p:cNvPr>
          <p:cNvSpPr>
            <a:spLocks noGrp="1"/>
          </p:cNvSpPr>
          <p:nvPr>
            <p:ph type="title"/>
          </p:nvPr>
        </p:nvSpPr>
        <p:spPr>
          <a:xfrm>
            <a:off x="0" y="0"/>
            <a:ext cx="10972800" cy="850392"/>
          </a:xfrm>
        </p:spPr>
        <p:txBody>
          <a:bodyPr/>
          <a:lstStyle/>
          <a:p>
            <a:r>
              <a:rPr lang="en-US" dirty="0"/>
              <a:t>Standard deviation - Example</a:t>
            </a:r>
          </a:p>
        </p:txBody>
      </p:sp>
      <p:sp>
        <p:nvSpPr>
          <p:cNvPr id="3" name="TextBox 2">
            <a:extLst>
              <a:ext uri="{FF2B5EF4-FFF2-40B4-BE49-F238E27FC236}">
                <a16:creationId xmlns:a16="http://schemas.microsoft.com/office/drawing/2014/main" id="{6AFC26AC-E651-4FD1-B690-D878A0FD673F}"/>
              </a:ext>
            </a:extLst>
          </p:cNvPr>
          <p:cNvSpPr txBox="1"/>
          <p:nvPr/>
        </p:nvSpPr>
        <p:spPr>
          <a:xfrm>
            <a:off x="102375" y="850391"/>
            <a:ext cx="10423696" cy="748795"/>
          </a:xfrm>
          <a:prstGeom prst="rect">
            <a:avLst/>
          </a:prstGeom>
          <a:noFill/>
        </p:spPr>
        <p:txBody>
          <a:bodyPr wrap="square" rtlCol="0">
            <a:spAutoFit/>
          </a:bodyPr>
          <a:lstStyle/>
          <a:p>
            <a:pPr>
              <a:buClr>
                <a:schemeClr val="bg1"/>
              </a:buClr>
            </a:pPr>
            <a:r>
              <a:rPr lang="en-US" sz="2133" b="1" dirty="0">
                <a:solidFill>
                  <a:schemeClr val="bg2">
                    <a:lumMod val="50000"/>
                    <a:lumOff val="50000"/>
                  </a:schemeClr>
                </a:solidFill>
              </a:rPr>
              <a:t>Question : </a:t>
            </a:r>
            <a:r>
              <a:rPr lang="en-US" sz="2133" dirty="0">
                <a:solidFill>
                  <a:schemeClr val="bg2">
                    <a:lumMod val="50000"/>
                    <a:lumOff val="50000"/>
                  </a:schemeClr>
                </a:solidFill>
              </a:rPr>
              <a:t>95% of student at school are between 1.1m and 1.7m tall. Assuming this data is normally distributed can you calculate the mean and Standard deviation ?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D718EB43-F1F7-4E71-B2E5-97DC0ED3BCE5}"/>
                  </a:ext>
                </a:extLst>
              </p14:cNvPr>
              <p14:cNvContentPartPr/>
              <p14:nvPr/>
            </p14:nvContentPartPr>
            <p14:xfrm>
              <a:off x="133440" y="622080"/>
              <a:ext cx="11049600" cy="6204480"/>
            </p14:xfrm>
          </p:contentPart>
        </mc:Choice>
        <mc:Fallback>
          <p:pic>
            <p:nvPicPr>
              <p:cNvPr id="4" name="Ink 3">
                <a:extLst>
                  <a:ext uri="{FF2B5EF4-FFF2-40B4-BE49-F238E27FC236}">
                    <a16:creationId xmlns:a16="http://schemas.microsoft.com/office/drawing/2014/main" id="{D718EB43-F1F7-4E71-B2E5-97DC0ED3BCE5}"/>
                  </a:ext>
                </a:extLst>
              </p:cNvPr>
              <p:cNvPicPr/>
              <p:nvPr/>
            </p:nvPicPr>
            <p:blipFill>
              <a:blip r:embed="rId3"/>
              <a:stretch>
                <a:fillRect/>
              </a:stretch>
            </p:blipFill>
            <p:spPr>
              <a:xfrm>
                <a:off x="124080" y="612720"/>
                <a:ext cx="11068320" cy="6223201"/>
              </a:xfrm>
              <a:prstGeom prst="rect">
                <a:avLst/>
              </a:prstGeom>
            </p:spPr>
          </p:pic>
        </mc:Fallback>
      </mc:AlternateContent>
    </p:spTree>
    <p:extLst>
      <p:ext uri="{BB962C8B-B14F-4D97-AF65-F5344CB8AC3E}">
        <p14:creationId xmlns:p14="http://schemas.microsoft.com/office/powerpoint/2010/main" val="3141678141"/>
      </p:ext>
    </p:extLst>
  </p:cSld>
  <p:clrMapOvr>
    <a:masterClrMapping/>
  </p:clrMapOvr>
  <p:transition spd="med">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95229-5250-4E90-BFE7-38424398256E}"/>
              </a:ext>
            </a:extLst>
          </p:cNvPr>
          <p:cNvSpPr>
            <a:spLocks noGrp="1"/>
          </p:cNvSpPr>
          <p:nvPr>
            <p:ph type="title"/>
          </p:nvPr>
        </p:nvSpPr>
        <p:spPr>
          <a:xfrm>
            <a:off x="0" y="0"/>
            <a:ext cx="10972800" cy="850392"/>
          </a:xfrm>
        </p:spPr>
        <p:txBody>
          <a:bodyPr/>
          <a:lstStyle/>
          <a:p>
            <a:r>
              <a:rPr lang="en-US" dirty="0"/>
              <a:t>Histograms</a:t>
            </a:r>
          </a:p>
        </p:txBody>
      </p:sp>
      <p:sp>
        <p:nvSpPr>
          <p:cNvPr id="3" name="TextBox 2">
            <a:extLst>
              <a:ext uri="{FF2B5EF4-FFF2-40B4-BE49-F238E27FC236}">
                <a16:creationId xmlns:a16="http://schemas.microsoft.com/office/drawing/2014/main" id="{02CA0D85-203F-4043-BAA0-B836164FA90E}"/>
              </a:ext>
            </a:extLst>
          </p:cNvPr>
          <p:cNvSpPr txBox="1"/>
          <p:nvPr/>
        </p:nvSpPr>
        <p:spPr>
          <a:xfrm>
            <a:off x="130297" y="757017"/>
            <a:ext cx="9167268" cy="5284780"/>
          </a:xfrm>
          <a:prstGeom prst="rect">
            <a:avLst/>
          </a:prstGeom>
          <a:noFill/>
        </p:spPr>
        <p:txBody>
          <a:bodyPr wrap="square" rtlCol="0">
            <a:spAutoFit/>
          </a:bodyPr>
          <a:lstStyle/>
          <a:p>
            <a:pPr algn="l"/>
            <a:r>
              <a:rPr lang="en-US" sz="1467" dirty="0">
                <a:solidFill>
                  <a:schemeClr val="bg2">
                    <a:lumMod val="50000"/>
                    <a:lumOff val="50000"/>
                  </a:schemeClr>
                </a:solidFill>
                <a:latin typeface="Verdana" panose="020B0604030504040204" pitchFamily="34" charset="0"/>
              </a:rPr>
              <a:t>It is like a </a:t>
            </a:r>
            <a:r>
              <a:rPr lang="en-US" sz="1467" dirty="0">
                <a:solidFill>
                  <a:schemeClr val="bg2">
                    <a:lumMod val="50000"/>
                    <a:lumOff val="50000"/>
                  </a:schemeClr>
                </a:solidFill>
                <a:latin typeface="Verdana" panose="020B0604030504040204" pitchFamily="34" charset="0"/>
                <a:hlinkClick r:id="rId2">
                  <a:extLst>
                    <a:ext uri="{A12FA001-AC4F-418D-AE19-62706E023703}">
                      <ahyp:hlinkClr xmlns:ahyp="http://schemas.microsoft.com/office/drawing/2018/hyperlinkcolor" val="tx"/>
                    </a:ext>
                  </a:extLst>
                </a:hlinkClick>
              </a:rPr>
              <a:t>Bar Chart</a:t>
            </a:r>
            <a:r>
              <a:rPr lang="en-US" sz="1467" dirty="0">
                <a:solidFill>
                  <a:schemeClr val="bg2">
                    <a:lumMod val="50000"/>
                    <a:lumOff val="50000"/>
                  </a:schemeClr>
                </a:solidFill>
                <a:latin typeface="Verdana" panose="020B0604030504040204" pitchFamily="34" charset="0"/>
              </a:rPr>
              <a:t>, but a histogram groups numbers into </a:t>
            </a:r>
            <a:r>
              <a:rPr lang="en-US" sz="1467" b="1" dirty="0">
                <a:solidFill>
                  <a:schemeClr val="bg2">
                    <a:lumMod val="50000"/>
                    <a:lumOff val="50000"/>
                  </a:schemeClr>
                </a:solidFill>
                <a:latin typeface="Verdana" panose="020B0604030504040204" pitchFamily="34" charset="0"/>
              </a:rPr>
              <a:t>ranges </a:t>
            </a:r>
            <a:r>
              <a:rPr lang="en-US" sz="1467" dirty="0">
                <a:solidFill>
                  <a:schemeClr val="bg2">
                    <a:lumMod val="50000"/>
                    <a:lumOff val="50000"/>
                  </a:schemeClr>
                </a:solidFill>
                <a:latin typeface="Verdana" panose="020B0604030504040204" pitchFamily="34" charset="0"/>
              </a:rPr>
              <a:t>.</a:t>
            </a:r>
          </a:p>
          <a:p>
            <a:pPr algn="l"/>
            <a:endParaRPr lang="en-US" sz="1467" dirty="0">
              <a:solidFill>
                <a:schemeClr val="bg2">
                  <a:lumMod val="50000"/>
                  <a:lumOff val="50000"/>
                </a:schemeClr>
              </a:solidFill>
              <a:latin typeface="Verdana" panose="020B0604030504040204" pitchFamily="34" charset="0"/>
            </a:endParaRPr>
          </a:p>
          <a:p>
            <a:pPr algn="l"/>
            <a:r>
              <a:rPr lang="en-US" sz="1467" dirty="0">
                <a:solidFill>
                  <a:schemeClr val="bg2">
                    <a:lumMod val="50000"/>
                    <a:lumOff val="50000"/>
                  </a:schemeClr>
                </a:solidFill>
                <a:latin typeface="Verdana" panose="020B0604030504040204" pitchFamily="34" charset="0"/>
              </a:rPr>
              <a:t>The height of each bar shows how many fall into each range.</a:t>
            </a:r>
          </a:p>
          <a:p>
            <a:pPr algn="l"/>
            <a:r>
              <a:rPr lang="en-US" sz="1467" dirty="0">
                <a:solidFill>
                  <a:schemeClr val="bg2">
                    <a:lumMod val="50000"/>
                    <a:lumOff val="50000"/>
                  </a:schemeClr>
                </a:solidFill>
                <a:latin typeface="Verdana" panose="020B0604030504040204" pitchFamily="34" charset="0"/>
              </a:rPr>
              <a:t>And you decide what ranges to use!</a:t>
            </a:r>
          </a:p>
          <a:p>
            <a:pPr algn="l"/>
            <a:endParaRPr lang="en-US" sz="1467" b="1" dirty="0">
              <a:solidFill>
                <a:schemeClr val="bg2">
                  <a:lumMod val="50000"/>
                  <a:lumOff val="50000"/>
                </a:schemeClr>
              </a:solidFill>
              <a:latin typeface="Verdana" panose="020B0604030504040204" pitchFamily="34" charset="0"/>
            </a:endParaRPr>
          </a:p>
          <a:p>
            <a:pPr algn="l"/>
            <a:endParaRPr lang="en-US" sz="1467" b="1" dirty="0">
              <a:solidFill>
                <a:schemeClr val="bg2">
                  <a:lumMod val="50000"/>
                  <a:lumOff val="50000"/>
                </a:schemeClr>
              </a:solidFill>
              <a:latin typeface="Verdana" panose="020B0604030504040204" pitchFamily="34" charset="0"/>
            </a:endParaRPr>
          </a:p>
          <a:p>
            <a:pPr algn="l"/>
            <a:r>
              <a:rPr lang="en-US" sz="1467" b="1" dirty="0">
                <a:solidFill>
                  <a:schemeClr val="bg2">
                    <a:lumMod val="50000"/>
                    <a:lumOff val="50000"/>
                  </a:schemeClr>
                </a:solidFill>
                <a:latin typeface="Verdana" panose="020B0604030504040204" pitchFamily="34" charset="0"/>
              </a:rPr>
              <a:t>Ex: </a:t>
            </a:r>
          </a:p>
          <a:p>
            <a:pPr algn="l"/>
            <a:endParaRPr lang="en-US" sz="1467" b="1" dirty="0">
              <a:solidFill>
                <a:schemeClr val="bg2">
                  <a:lumMod val="50000"/>
                  <a:lumOff val="50000"/>
                </a:schemeClr>
              </a:solidFill>
              <a:latin typeface="Verdana" panose="020B0604030504040204" pitchFamily="34" charset="0"/>
            </a:endParaRPr>
          </a:p>
          <a:p>
            <a:pPr algn="l"/>
            <a:r>
              <a:rPr lang="en-US" sz="1867" dirty="0">
                <a:solidFill>
                  <a:schemeClr val="bg2">
                    <a:lumMod val="50000"/>
                    <a:lumOff val="50000"/>
                  </a:schemeClr>
                </a:solidFill>
                <a:latin typeface="Verdana" panose="020B0604030504040204" pitchFamily="34" charset="0"/>
              </a:rPr>
              <a:t>The heights vary from 100 cm to 340 cm</a:t>
            </a:r>
          </a:p>
          <a:p>
            <a:pPr algn="l"/>
            <a:r>
              <a:rPr lang="en-US" sz="1867" dirty="0">
                <a:solidFill>
                  <a:schemeClr val="bg2">
                    <a:lumMod val="50000"/>
                    <a:lumOff val="50000"/>
                  </a:schemeClr>
                </a:solidFill>
                <a:latin typeface="Verdana" panose="020B0604030504040204" pitchFamily="34" charset="0"/>
              </a:rPr>
              <a:t>You decide to put the results into groups of 50 cm:</a:t>
            </a:r>
          </a:p>
          <a:p>
            <a:pPr algn="l"/>
            <a:endParaRPr lang="en-US" sz="1867" dirty="0">
              <a:solidFill>
                <a:schemeClr val="bg2">
                  <a:lumMod val="50000"/>
                  <a:lumOff val="50000"/>
                </a:schemeClr>
              </a:solidFill>
              <a:latin typeface="Verdana" panose="020B0604030504040204" pitchFamily="34" charset="0"/>
            </a:endParaRPr>
          </a:p>
          <a:p>
            <a:pPr marL="228594" indent="-228594">
              <a:buFont typeface="Arial" panose="020B0604020202020204" pitchFamily="34" charset="0"/>
              <a:buChar char="•"/>
            </a:pPr>
            <a:r>
              <a:rPr lang="en-US" sz="1867" dirty="0">
                <a:solidFill>
                  <a:schemeClr val="bg2">
                    <a:lumMod val="50000"/>
                    <a:lumOff val="50000"/>
                  </a:schemeClr>
                </a:solidFill>
                <a:latin typeface="Verdana" panose="020B0604030504040204" pitchFamily="34" charset="0"/>
              </a:rPr>
              <a:t>The </a:t>
            </a:r>
            <a:r>
              <a:rPr lang="en-US" sz="1867" b="1" dirty="0">
                <a:solidFill>
                  <a:schemeClr val="bg2">
                    <a:lumMod val="50000"/>
                    <a:lumOff val="50000"/>
                  </a:schemeClr>
                </a:solidFill>
                <a:latin typeface="Verdana" panose="020B0604030504040204" pitchFamily="34" charset="0"/>
              </a:rPr>
              <a:t>100 to just below 150 cm</a:t>
            </a:r>
            <a:r>
              <a:rPr lang="en-US" sz="1867" dirty="0">
                <a:solidFill>
                  <a:schemeClr val="bg2">
                    <a:lumMod val="50000"/>
                    <a:lumOff val="50000"/>
                  </a:schemeClr>
                </a:solidFill>
                <a:latin typeface="Verdana" panose="020B0604030504040204" pitchFamily="34" charset="0"/>
              </a:rPr>
              <a:t> range,</a:t>
            </a:r>
          </a:p>
          <a:p>
            <a:pPr marL="228594" indent="-228594">
              <a:buFont typeface="Arial" panose="020B0604020202020204" pitchFamily="34" charset="0"/>
              <a:buChar char="•"/>
            </a:pPr>
            <a:r>
              <a:rPr lang="en-US" sz="1867" dirty="0">
                <a:solidFill>
                  <a:schemeClr val="bg2">
                    <a:lumMod val="50000"/>
                    <a:lumOff val="50000"/>
                  </a:schemeClr>
                </a:solidFill>
                <a:latin typeface="Verdana" panose="020B0604030504040204" pitchFamily="34" charset="0"/>
              </a:rPr>
              <a:t>The </a:t>
            </a:r>
            <a:r>
              <a:rPr lang="en-US" sz="1867" b="1" dirty="0">
                <a:solidFill>
                  <a:schemeClr val="bg2">
                    <a:lumMod val="50000"/>
                    <a:lumOff val="50000"/>
                  </a:schemeClr>
                </a:solidFill>
                <a:latin typeface="Verdana" panose="020B0604030504040204" pitchFamily="34" charset="0"/>
              </a:rPr>
              <a:t>150 to just below 200 cm</a:t>
            </a:r>
            <a:r>
              <a:rPr lang="en-US" sz="1867" dirty="0">
                <a:solidFill>
                  <a:schemeClr val="bg2">
                    <a:lumMod val="50000"/>
                    <a:lumOff val="50000"/>
                  </a:schemeClr>
                </a:solidFill>
                <a:latin typeface="Verdana" panose="020B0604030504040204" pitchFamily="34" charset="0"/>
              </a:rPr>
              <a:t> range,</a:t>
            </a:r>
          </a:p>
          <a:p>
            <a:pPr marL="228594" indent="-228594">
              <a:buFont typeface="Arial" panose="020B0604020202020204" pitchFamily="34" charset="0"/>
              <a:buChar char="•"/>
            </a:pPr>
            <a:r>
              <a:rPr lang="en-US" sz="1867" dirty="0">
                <a:solidFill>
                  <a:schemeClr val="bg2">
                    <a:lumMod val="50000"/>
                    <a:lumOff val="50000"/>
                  </a:schemeClr>
                </a:solidFill>
                <a:latin typeface="Verdana" panose="020B0604030504040204" pitchFamily="34" charset="0"/>
              </a:rPr>
              <a:t>etc...</a:t>
            </a:r>
          </a:p>
          <a:p>
            <a:pPr algn="l">
              <a:buFont typeface="Arial" panose="020B0604020202020204" pitchFamily="34" charset="0"/>
              <a:buChar char="•"/>
            </a:pPr>
            <a:endParaRPr lang="en-US" sz="1867" dirty="0">
              <a:solidFill>
                <a:schemeClr val="bg2">
                  <a:lumMod val="50000"/>
                  <a:lumOff val="50000"/>
                </a:schemeClr>
              </a:solidFill>
              <a:latin typeface="Verdana" panose="020B0604030504040204" pitchFamily="34" charset="0"/>
            </a:endParaRPr>
          </a:p>
          <a:p>
            <a:pPr algn="l"/>
            <a:r>
              <a:rPr lang="en-US" sz="1867" dirty="0">
                <a:solidFill>
                  <a:schemeClr val="bg2">
                    <a:lumMod val="50000"/>
                    <a:lumOff val="50000"/>
                  </a:schemeClr>
                </a:solidFill>
                <a:latin typeface="Verdana" panose="020B0604030504040204" pitchFamily="34" charset="0"/>
              </a:rPr>
              <a:t>So, a tree that is 260 cm tall is added to the "250-300" range.</a:t>
            </a:r>
          </a:p>
          <a:p>
            <a:pPr algn="l"/>
            <a:r>
              <a:rPr lang="en-US" sz="1867" dirty="0">
                <a:solidFill>
                  <a:schemeClr val="bg2">
                    <a:lumMod val="50000"/>
                    <a:lumOff val="50000"/>
                  </a:schemeClr>
                </a:solidFill>
                <a:latin typeface="Verdana" panose="020B0604030504040204" pitchFamily="34" charset="0"/>
              </a:rPr>
              <a:t>And here is the result: You can see (for example) that there are </a:t>
            </a:r>
            <a:r>
              <a:rPr lang="en-US" sz="1867" b="1" dirty="0">
                <a:solidFill>
                  <a:schemeClr val="bg2">
                    <a:lumMod val="50000"/>
                    <a:lumOff val="50000"/>
                  </a:schemeClr>
                </a:solidFill>
                <a:latin typeface="Verdana" panose="020B0604030504040204" pitchFamily="34" charset="0"/>
              </a:rPr>
              <a:t>30 trees </a:t>
            </a:r>
            <a:r>
              <a:rPr lang="en-US" sz="1867" dirty="0">
                <a:solidFill>
                  <a:schemeClr val="bg2">
                    <a:lumMod val="50000"/>
                    <a:lumOff val="50000"/>
                  </a:schemeClr>
                </a:solidFill>
                <a:latin typeface="Verdana" panose="020B0604030504040204" pitchFamily="34" charset="0"/>
              </a:rPr>
              <a:t>from 150 cm to just below 200 cm tall</a:t>
            </a:r>
          </a:p>
          <a:p>
            <a:pPr algn="l"/>
            <a:endParaRPr lang="en-US" sz="1467" b="1" dirty="0">
              <a:solidFill>
                <a:schemeClr val="bg2">
                  <a:lumMod val="50000"/>
                  <a:lumOff val="50000"/>
                </a:schemeClr>
              </a:solidFill>
              <a:latin typeface="Verdana" panose="020B0604030504040204" pitchFamily="34" charset="0"/>
            </a:endParaRPr>
          </a:p>
          <a:p>
            <a:pPr>
              <a:buClr>
                <a:schemeClr val="bg1"/>
              </a:buClr>
            </a:pPr>
            <a:endParaRPr lang="en-US" sz="1867" dirty="0" err="1">
              <a:solidFill>
                <a:schemeClr val="bg2"/>
              </a:solidFill>
            </a:endParaRPr>
          </a:p>
        </p:txBody>
      </p:sp>
      <p:pic>
        <p:nvPicPr>
          <p:cNvPr id="5" name="Picture 4">
            <a:extLst>
              <a:ext uri="{FF2B5EF4-FFF2-40B4-BE49-F238E27FC236}">
                <a16:creationId xmlns:a16="http://schemas.microsoft.com/office/drawing/2014/main" id="{4AB5BAB6-917D-48BD-A220-866ABDB030B4}"/>
              </a:ext>
            </a:extLst>
          </p:cNvPr>
          <p:cNvPicPr>
            <a:picLocks noChangeAspect="1"/>
          </p:cNvPicPr>
          <p:nvPr/>
        </p:nvPicPr>
        <p:blipFill>
          <a:blip r:embed="rId3"/>
          <a:stretch>
            <a:fillRect/>
          </a:stretch>
        </p:blipFill>
        <p:spPr>
          <a:xfrm>
            <a:off x="9585967" y="0"/>
            <a:ext cx="2193279" cy="1963749"/>
          </a:xfrm>
          <a:prstGeom prst="rect">
            <a:avLst/>
          </a:prstGeom>
        </p:spPr>
      </p:pic>
      <p:sp>
        <p:nvSpPr>
          <p:cNvPr id="6" name="TextBox 5">
            <a:extLst>
              <a:ext uri="{FF2B5EF4-FFF2-40B4-BE49-F238E27FC236}">
                <a16:creationId xmlns:a16="http://schemas.microsoft.com/office/drawing/2014/main" id="{B2C1368F-05C5-41F3-8C92-C3184D2F0C42}"/>
              </a:ext>
            </a:extLst>
          </p:cNvPr>
          <p:cNvSpPr txBox="1"/>
          <p:nvPr/>
        </p:nvSpPr>
        <p:spPr>
          <a:xfrm>
            <a:off x="130297" y="5556202"/>
            <a:ext cx="10433001" cy="338554"/>
          </a:xfrm>
          <a:prstGeom prst="rect">
            <a:avLst/>
          </a:prstGeom>
          <a:noFill/>
        </p:spPr>
        <p:txBody>
          <a:bodyPr wrap="square" rtlCol="0">
            <a:spAutoFit/>
          </a:bodyPr>
          <a:lstStyle/>
          <a:p>
            <a:pPr>
              <a:buClr>
                <a:schemeClr val="bg1"/>
              </a:buClr>
            </a:pPr>
            <a:r>
              <a:rPr lang="en-US" sz="1600" dirty="0">
                <a:solidFill>
                  <a:schemeClr val="bg2">
                    <a:lumMod val="50000"/>
                    <a:lumOff val="50000"/>
                  </a:schemeClr>
                </a:solidFill>
                <a:latin typeface="Verdana" panose="020B0604030504040204" pitchFamily="34" charset="0"/>
              </a:rPr>
              <a:t>The range of each bar is also called the </a:t>
            </a:r>
            <a:r>
              <a:rPr lang="en-US" sz="1600" b="1" dirty="0">
                <a:solidFill>
                  <a:schemeClr val="bg2">
                    <a:lumMod val="50000"/>
                    <a:lumOff val="50000"/>
                  </a:schemeClr>
                </a:solidFill>
                <a:latin typeface="Verdana" panose="020B0604030504040204" pitchFamily="34" charset="0"/>
              </a:rPr>
              <a:t>Class Interval</a:t>
            </a:r>
            <a:endParaRPr lang="en-US" sz="2133" dirty="0">
              <a:solidFill>
                <a:schemeClr val="bg2">
                  <a:lumMod val="50000"/>
                  <a:lumOff val="50000"/>
                </a:schemeClr>
              </a:solidFill>
            </a:endParaRPr>
          </a:p>
        </p:txBody>
      </p:sp>
      <p:pic>
        <p:nvPicPr>
          <p:cNvPr id="8" name="Picture 7">
            <a:extLst>
              <a:ext uri="{FF2B5EF4-FFF2-40B4-BE49-F238E27FC236}">
                <a16:creationId xmlns:a16="http://schemas.microsoft.com/office/drawing/2014/main" id="{333C77C3-B4B9-46DA-8353-DCB6A97BD6C3}"/>
              </a:ext>
            </a:extLst>
          </p:cNvPr>
          <p:cNvPicPr>
            <a:picLocks noChangeAspect="1"/>
          </p:cNvPicPr>
          <p:nvPr/>
        </p:nvPicPr>
        <p:blipFill>
          <a:blip r:embed="rId4"/>
          <a:stretch>
            <a:fillRect/>
          </a:stretch>
        </p:blipFill>
        <p:spPr>
          <a:xfrm>
            <a:off x="9464119" y="2698509"/>
            <a:ext cx="2436973" cy="2345815"/>
          </a:xfrm>
          <a:prstGeom prst="rect">
            <a:avLst/>
          </a:prstGeom>
        </p:spPr>
      </p:pic>
    </p:spTree>
    <p:extLst>
      <p:ext uri="{BB962C8B-B14F-4D97-AF65-F5344CB8AC3E}">
        <p14:creationId xmlns:p14="http://schemas.microsoft.com/office/powerpoint/2010/main" val="1076367964"/>
      </p:ext>
    </p:extLst>
  </p:cSld>
  <p:clrMapOvr>
    <a:masterClrMapping/>
  </p:clrMapOvr>
  <p:transition spd="med">
    <p:wipe dir="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AD516-EB32-4D6F-A996-A221CB731514}"/>
              </a:ext>
            </a:extLst>
          </p:cNvPr>
          <p:cNvSpPr>
            <a:spLocks noGrp="1"/>
          </p:cNvSpPr>
          <p:nvPr>
            <p:ph type="title"/>
          </p:nvPr>
        </p:nvSpPr>
        <p:spPr/>
        <p:txBody>
          <a:bodyPr/>
          <a:lstStyle/>
          <a:p>
            <a:r>
              <a:rPr lang="en-US" dirty="0"/>
              <a:t>Histograms</a:t>
            </a:r>
          </a:p>
        </p:txBody>
      </p:sp>
      <p:pic>
        <p:nvPicPr>
          <p:cNvPr id="3" name="Picture 2">
            <a:extLst>
              <a:ext uri="{FF2B5EF4-FFF2-40B4-BE49-F238E27FC236}">
                <a16:creationId xmlns:a16="http://schemas.microsoft.com/office/drawing/2014/main" id="{1B4DE7F2-4C3F-4932-B02E-677EDE091489}"/>
              </a:ext>
            </a:extLst>
          </p:cNvPr>
          <p:cNvPicPr>
            <a:picLocks noChangeAspect="1"/>
          </p:cNvPicPr>
          <p:nvPr/>
        </p:nvPicPr>
        <p:blipFill>
          <a:blip r:embed="rId2"/>
          <a:stretch>
            <a:fillRect/>
          </a:stretch>
        </p:blipFill>
        <p:spPr>
          <a:xfrm>
            <a:off x="9352436" y="1525843"/>
            <a:ext cx="2436973" cy="2345815"/>
          </a:xfrm>
          <a:prstGeom prst="rect">
            <a:avLst/>
          </a:prstGeom>
        </p:spPr>
      </p:pic>
      <p:sp>
        <p:nvSpPr>
          <p:cNvPr id="4" name="TextBox 3">
            <a:extLst>
              <a:ext uri="{FF2B5EF4-FFF2-40B4-BE49-F238E27FC236}">
                <a16:creationId xmlns:a16="http://schemas.microsoft.com/office/drawing/2014/main" id="{CA3E50D1-0830-44E2-884E-56D3C7A922DC}"/>
              </a:ext>
            </a:extLst>
          </p:cNvPr>
          <p:cNvSpPr txBox="1"/>
          <p:nvPr/>
        </p:nvSpPr>
        <p:spPr>
          <a:xfrm>
            <a:off x="232672" y="1312270"/>
            <a:ext cx="8152819" cy="2595647"/>
          </a:xfrm>
          <a:prstGeom prst="rect">
            <a:avLst/>
          </a:prstGeom>
          <a:noFill/>
        </p:spPr>
        <p:txBody>
          <a:bodyPr wrap="square" rtlCol="0">
            <a:spAutoFit/>
          </a:bodyPr>
          <a:lstStyle/>
          <a:p>
            <a:pPr algn="l"/>
            <a:r>
              <a:rPr lang="en-US" sz="2400" dirty="0">
                <a:solidFill>
                  <a:schemeClr val="bg2">
                    <a:lumMod val="50000"/>
                    <a:lumOff val="50000"/>
                  </a:schemeClr>
                </a:solidFill>
                <a:latin typeface="Verdana" panose="020B0604030504040204" pitchFamily="34" charset="0"/>
              </a:rPr>
              <a:t>So, a tree that is 260 cm tall is added to the "250-300" range.</a:t>
            </a:r>
          </a:p>
          <a:p>
            <a:pPr algn="l"/>
            <a:endParaRPr lang="en-US" sz="2400" dirty="0">
              <a:solidFill>
                <a:schemeClr val="bg2">
                  <a:lumMod val="50000"/>
                  <a:lumOff val="50000"/>
                </a:schemeClr>
              </a:solidFill>
              <a:latin typeface="Verdana" panose="020B0604030504040204" pitchFamily="34" charset="0"/>
            </a:endParaRPr>
          </a:p>
          <a:p>
            <a:pPr algn="l"/>
            <a:r>
              <a:rPr lang="en-US" sz="2400" dirty="0">
                <a:solidFill>
                  <a:schemeClr val="bg2">
                    <a:lumMod val="50000"/>
                    <a:lumOff val="50000"/>
                  </a:schemeClr>
                </a:solidFill>
                <a:latin typeface="Verdana" panose="020B0604030504040204" pitchFamily="34" charset="0"/>
              </a:rPr>
              <a:t>And here is the result: You can see (for example) that there are </a:t>
            </a:r>
            <a:r>
              <a:rPr lang="en-US" sz="2400" b="1" dirty="0">
                <a:solidFill>
                  <a:schemeClr val="bg2">
                    <a:lumMod val="50000"/>
                    <a:lumOff val="50000"/>
                  </a:schemeClr>
                </a:solidFill>
                <a:latin typeface="Verdana" panose="020B0604030504040204" pitchFamily="34" charset="0"/>
              </a:rPr>
              <a:t>30 trees </a:t>
            </a:r>
            <a:r>
              <a:rPr lang="en-US" sz="2400" dirty="0">
                <a:solidFill>
                  <a:schemeClr val="bg2">
                    <a:lumMod val="50000"/>
                    <a:lumOff val="50000"/>
                  </a:schemeClr>
                </a:solidFill>
                <a:latin typeface="Verdana" panose="020B0604030504040204" pitchFamily="34" charset="0"/>
              </a:rPr>
              <a:t>from 150 cm to just below 200 cm tall</a:t>
            </a:r>
          </a:p>
          <a:p>
            <a:pPr>
              <a:buClr>
                <a:schemeClr val="bg1"/>
              </a:buClr>
            </a:pPr>
            <a:endParaRPr lang="en-US" sz="1867" dirty="0" err="1">
              <a:solidFill>
                <a:schemeClr val="bg2"/>
              </a:solidFill>
            </a:endParaRPr>
          </a:p>
        </p:txBody>
      </p:sp>
    </p:spTree>
    <p:extLst>
      <p:ext uri="{BB962C8B-B14F-4D97-AF65-F5344CB8AC3E}">
        <p14:creationId xmlns:p14="http://schemas.microsoft.com/office/powerpoint/2010/main" val="3098595869"/>
      </p:ext>
    </p:extLst>
  </p:cSld>
  <p:clrMapOvr>
    <a:masterClrMapping/>
  </p:clrMapOvr>
  <p:transition spd="med">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9319C-B967-4DBC-B577-C36D61D4087E}"/>
              </a:ext>
            </a:extLst>
          </p:cNvPr>
          <p:cNvSpPr>
            <a:spLocks noGrp="1"/>
          </p:cNvSpPr>
          <p:nvPr>
            <p:ph type="title"/>
          </p:nvPr>
        </p:nvSpPr>
        <p:spPr>
          <a:xfrm>
            <a:off x="1" y="0"/>
            <a:ext cx="9707065" cy="853440"/>
          </a:xfrm>
        </p:spPr>
        <p:txBody>
          <a:bodyPr>
            <a:normAutofit/>
          </a:bodyPr>
          <a:lstStyle/>
          <a:p>
            <a:r>
              <a:rPr lang="en-US" sz="2933" dirty="0"/>
              <a:t>Difference between Bar chart and Histogram?</a:t>
            </a:r>
            <a:br>
              <a:rPr lang="en-US" sz="2000" dirty="0"/>
            </a:br>
            <a:endParaRPr lang="en-US" sz="2000" dirty="0"/>
          </a:p>
        </p:txBody>
      </p:sp>
      <p:pic>
        <p:nvPicPr>
          <p:cNvPr id="4" name="Picture 3">
            <a:extLst>
              <a:ext uri="{FF2B5EF4-FFF2-40B4-BE49-F238E27FC236}">
                <a16:creationId xmlns:a16="http://schemas.microsoft.com/office/drawing/2014/main" id="{2C7EC81D-861C-48BD-A0A8-B2F91ABA3322}"/>
              </a:ext>
            </a:extLst>
          </p:cNvPr>
          <p:cNvPicPr>
            <a:picLocks noChangeAspect="1"/>
          </p:cNvPicPr>
          <p:nvPr/>
        </p:nvPicPr>
        <p:blipFill>
          <a:blip r:embed="rId2"/>
          <a:stretch>
            <a:fillRect/>
          </a:stretch>
        </p:blipFill>
        <p:spPr>
          <a:xfrm>
            <a:off x="1743176" y="806203"/>
            <a:ext cx="5032225" cy="2050632"/>
          </a:xfrm>
          <a:prstGeom prst="rect">
            <a:avLst/>
          </a:prstGeom>
          <a:noFill/>
        </p:spPr>
      </p:pic>
      <p:pic>
        <p:nvPicPr>
          <p:cNvPr id="5" name="Picture 4">
            <a:extLst>
              <a:ext uri="{FF2B5EF4-FFF2-40B4-BE49-F238E27FC236}">
                <a16:creationId xmlns:a16="http://schemas.microsoft.com/office/drawing/2014/main" id="{AF69502C-67C4-4044-81C1-D6941ED26107}"/>
              </a:ext>
            </a:extLst>
          </p:cNvPr>
          <p:cNvPicPr>
            <a:picLocks noChangeAspect="1"/>
          </p:cNvPicPr>
          <p:nvPr/>
        </p:nvPicPr>
        <p:blipFill>
          <a:blip r:embed="rId3"/>
          <a:stretch>
            <a:fillRect/>
          </a:stretch>
        </p:blipFill>
        <p:spPr>
          <a:xfrm>
            <a:off x="778544" y="3072528"/>
            <a:ext cx="7095067" cy="3225800"/>
          </a:xfrm>
          <a:prstGeom prst="rect">
            <a:avLst/>
          </a:prstGeom>
        </p:spPr>
      </p:pic>
      <p:sp>
        <p:nvSpPr>
          <p:cNvPr id="6" name="TextBox 5">
            <a:extLst>
              <a:ext uri="{FF2B5EF4-FFF2-40B4-BE49-F238E27FC236}">
                <a16:creationId xmlns:a16="http://schemas.microsoft.com/office/drawing/2014/main" id="{20129627-80D3-4973-A282-9C67B56BC036}"/>
              </a:ext>
            </a:extLst>
          </p:cNvPr>
          <p:cNvSpPr txBox="1"/>
          <p:nvPr/>
        </p:nvSpPr>
        <p:spPr>
          <a:xfrm>
            <a:off x="7268666" y="754301"/>
            <a:ext cx="4628303" cy="2124236"/>
          </a:xfrm>
          <a:prstGeom prst="rect">
            <a:avLst/>
          </a:prstGeom>
          <a:noFill/>
        </p:spPr>
        <p:txBody>
          <a:bodyPr wrap="square" rtlCol="0">
            <a:spAutoFit/>
          </a:bodyPr>
          <a:lstStyle/>
          <a:p>
            <a:pPr algn="l"/>
            <a:r>
              <a:rPr lang="en-US" sz="1467" dirty="0">
                <a:solidFill>
                  <a:srgbClr val="333333"/>
                </a:solidFill>
                <a:latin typeface="Verdana" panose="020B0604030504040204" pitchFamily="34" charset="0"/>
              </a:rPr>
              <a:t>Histograms are a great way to show results of </a:t>
            </a:r>
            <a:r>
              <a:rPr lang="en-US" sz="1467" dirty="0">
                <a:solidFill>
                  <a:srgbClr val="333333"/>
                </a:solidFill>
                <a:latin typeface="Verdana" panose="020B0604030504040204" pitchFamily="34" charset="0"/>
                <a:hlinkClick r:id="rId4"/>
              </a:rPr>
              <a:t>continuous data</a:t>
            </a:r>
            <a:r>
              <a:rPr lang="en-US" sz="1467" dirty="0">
                <a:solidFill>
                  <a:srgbClr val="333333"/>
                </a:solidFill>
                <a:latin typeface="Verdana" panose="020B0604030504040204" pitchFamily="34" charset="0"/>
              </a:rPr>
              <a:t>, such as:</a:t>
            </a:r>
          </a:p>
          <a:p>
            <a:pPr algn="l">
              <a:buFont typeface="Arial" panose="020B0604020202020204" pitchFamily="34" charset="0"/>
              <a:buChar char="•"/>
            </a:pPr>
            <a:r>
              <a:rPr lang="en-US" sz="1467" dirty="0">
                <a:solidFill>
                  <a:srgbClr val="333333"/>
                </a:solidFill>
                <a:latin typeface="Verdana" panose="020B0604030504040204" pitchFamily="34" charset="0"/>
              </a:rPr>
              <a:t>weight</a:t>
            </a:r>
          </a:p>
          <a:p>
            <a:pPr algn="l">
              <a:buFont typeface="Arial" panose="020B0604020202020204" pitchFamily="34" charset="0"/>
              <a:buChar char="•"/>
            </a:pPr>
            <a:r>
              <a:rPr lang="en-US" sz="1467" dirty="0">
                <a:solidFill>
                  <a:srgbClr val="333333"/>
                </a:solidFill>
                <a:latin typeface="Verdana" panose="020B0604030504040204" pitchFamily="34" charset="0"/>
              </a:rPr>
              <a:t>height</a:t>
            </a:r>
          </a:p>
          <a:p>
            <a:pPr algn="l">
              <a:buFont typeface="Arial" panose="020B0604020202020204" pitchFamily="34" charset="0"/>
              <a:buChar char="•"/>
            </a:pPr>
            <a:r>
              <a:rPr lang="en-US" sz="1467" dirty="0">
                <a:solidFill>
                  <a:srgbClr val="333333"/>
                </a:solidFill>
                <a:latin typeface="Verdana" panose="020B0604030504040204" pitchFamily="34" charset="0"/>
              </a:rPr>
              <a:t>how much time</a:t>
            </a:r>
          </a:p>
          <a:p>
            <a:pPr algn="l">
              <a:buFont typeface="Arial" panose="020B0604020202020204" pitchFamily="34" charset="0"/>
              <a:buChar char="•"/>
            </a:pPr>
            <a:r>
              <a:rPr lang="en-US" sz="1467" dirty="0">
                <a:solidFill>
                  <a:srgbClr val="333333"/>
                </a:solidFill>
                <a:latin typeface="Verdana" panose="020B0604030504040204" pitchFamily="34" charset="0"/>
              </a:rPr>
              <a:t>etc.</a:t>
            </a:r>
          </a:p>
          <a:p>
            <a:pPr algn="l"/>
            <a:r>
              <a:rPr lang="en-US" sz="1467" dirty="0">
                <a:solidFill>
                  <a:srgbClr val="333333"/>
                </a:solidFill>
                <a:latin typeface="Verdana" panose="020B0604030504040204" pitchFamily="34" charset="0"/>
              </a:rPr>
              <a:t>But when the data is in </a:t>
            </a:r>
            <a:r>
              <a:rPr lang="en-US" sz="1467" b="1" dirty="0">
                <a:solidFill>
                  <a:srgbClr val="333333"/>
                </a:solidFill>
                <a:latin typeface="Verdana" panose="020B0604030504040204" pitchFamily="34" charset="0"/>
              </a:rPr>
              <a:t>categories</a:t>
            </a:r>
            <a:r>
              <a:rPr lang="en-US" sz="1467" dirty="0">
                <a:solidFill>
                  <a:srgbClr val="333333"/>
                </a:solidFill>
                <a:latin typeface="Verdana" panose="020B0604030504040204" pitchFamily="34" charset="0"/>
              </a:rPr>
              <a:t> (such as Country or </a:t>
            </a:r>
            <a:r>
              <a:rPr lang="en-US" sz="1467" dirty="0" err="1">
                <a:solidFill>
                  <a:srgbClr val="333333"/>
                </a:solidFill>
                <a:latin typeface="Verdana" panose="020B0604030504040204" pitchFamily="34" charset="0"/>
              </a:rPr>
              <a:t>Favourite</a:t>
            </a:r>
            <a:r>
              <a:rPr lang="en-US" sz="1467" dirty="0">
                <a:solidFill>
                  <a:srgbClr val="333333"/>
                </a:solidFill>
                <a:latin typeface="Verdana" panose="020B0604030504040204" pitchFamily="34" charset="0"/>
              </a:rPr>
              <a:t> Movie), we should use a </a:t>
            </a:r>
            <a:r>
              <a:rPr lang="en-US" sz="1467" dirty="0">
                <a:solidFill>
                  <a:srgbClr val="333333"/>
                </a:solidFill>
                <a:latin typeface="Verdana" panose="020B0604030504040204" pitchFamily="34" charset="0"/>
                <a:hlinkClick r:id="rId5"/>
              </a:rPr>
              <a:t>Bar Chart</a:t>
            </a:r>
            <a:r>
              <a:rPr lang="en-US" sz="1467" dirty="0">
                <a:solidFill>
                  <a:srgbClr val="333333"/>
                </a:solidFill>
                <a:latin typeface="Verdana" panose="020B0604030504040204" pitchFamily="34" charset="0"/>
              </a:rPr>
              <a:t>.</a:t>
            </a:r>
          </a:p>
        </p:txBody>
      </p:sp>
    </p:spTree>
    <p:extLst>
      <p:ext uri="{BB962C8B-B14F-4D97-AF65-F5344CB8AC3E}">
        <p14:creationId xmlns:p14="http://schemas.microsoft.com/office/powerpoint/2010/main" val="209970773"/>
      </p:ext>
    </p:extLst>
  </p:cSld>
  <p:clrMapOvr>
    <a:masterClrMapping/>
  </p:clrMapOvr>
  <p:transition spd="med">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F00B5-B4A0-49F0-B8B8-411104EA6D5A}"/>
              </a:ext>
            </a:extLst>
          </p:cNvPr>
          <p:cNvSpPr>
            <a:spLocks noGrp="1"/>
          </p:cNvSpPr>
          <p:nvPr>
            <p:ph type="title"/>
          </p:nvPr>
        </p:nvSpPr>
        <p:spPr>
          <a:xfrm>
            <a:off x="1" y="30480"/>
            <a:ext cx="5726959" cy="853440"/>
          </a:xfrm>
        </p:spPr>
        <p:txBody>
          <a:bodyPr/>
          <a:lstStyle/>
          <a:p>
            <a:r>
              <a:rPr lang="en-US" dirty="0"/>
              <a:t>Frequency Histogram</a:t>
            </a:r>
          </a:p>
        </p:txBody>
      </p:sp>
      <p:sp>
        <p:nvSpPr>
          <p:cNvPr id="3" name="Content Placeholder 2">
            <a:extLst>
              <a:ext uri="{FF2B5EF4-FFF2-40B4-BE49-F238E27FC236}">
                <a16:creationId xmlns:a16="http://schemas.microsoft.com/office/drawing/2014/main" id="{DEEEA18E-63DE-4CC5-A149-9DD21D04AE4B}"/>
              </a:ext>
            </a:extLst>
          </p:cNvPr>
          <p:cNvSpPr>
            <a:spLocks noGrp="1"/>
          </p:cNvSpPr>
          <p:nvPr>
            <p:ph sz="half" idx="13"/>
          </p:nvPr>
        </p:nvSpPr>
        <p:spPr>
          <a:xfrm>
            <a:off x="216850" y="1362525"/>
            <a:ext cx="10830405" cy="4267200"/>
          </a:xfrm>
        </p:spPr>
        <p:txBody>
          <a:bodyPr/>
          <a:lstStyle/>
          <a:p>
            <a:r>
              <a:rPr lang="en-US" b="0" i="0" dirty="0">
                <a:solidFill>
                  <a:srgbClr val="333333"/>
                </a:solidFill>
                <a:effectLst/>
                <a:latin typeface="Verdana" panose="020B0604030504040204" pitchFamily="34" charset="0"/>
              </a:rPr>
              <a:t>A Frequency Histogram is a special graph that uses vertical columns to show frequencies (how many times each score occurs):</a:t>
            </a:r>
            <a:endParaRPr lang="en-US" dirty="0"/>
          </a:p>
        </p:txBody>
      </p:sp>
      <p:pic>
        <p:nvPicPr>
          <p:cNvPr id="5" name="Picture 4">
            <a:extLst>
              <a:ext uri="{FF2B5EF4-FFF2-40B4-BE49-F238E27FC236}">
                <a16:creationId xmlns:a16="http://schemas.microsoft.com/office/drawing/2014/main" id="{F805CE92-2871-4815-B6D7-19282192ABEA}"/>
              </a:ext>
            </a:extLst>
          </p:cNvPr>
          <p:cNvPicPr>
            <a:picLocks noChangeAspect="1"/>
          </p:cNvPicPr>
          <p:nvPr/>
        </p:nvPicPr>
        <p:blipFill>
          <a:blip r:embed="rId2"/>
          <a:stretch>
            <a:fillRect/>
          </a:stretch>
        </p:blipFill>
        <p:spPr>
          <a:xfrm>
            <a:off x="2795921" y="2341610"/>
            <a:ext cx="2931039" cy="3153865"/>
          </a:xfrm>
          <a:prstGeom prst="rect">
            <a:avLst/>
          </a:prstGeom>
        </p:spPr>
      </p:pic>
      <p:sp>
        <p:nvSpPr>
          <p:cNvPr id="6" name="TextBox 5">
            <a:extLst>
              <a:ext uri="{FF2B5EF4-FFF2-40B4-BE49-F238E27FC236}">
                <a16:creationId xmlns:a16="http://schemas.microsoft.com/office/drawing/2014/main" id="{9F19E738-DFF2-4014-8A2C-7A2B1FE43B4A}"/>
              </a:ext>
            </a:extLst>
          </p:cNvPr>
          <p:cNvSpPr txBox="1"/>
          <p:nvPr/>
        </p:nvSpPr>
        <p:spPr>
          <a:xfrm>
            <a:off x="7352428" y="3099189"/>
            <a:ext cx="4197397" cy="995401"/>
          </a:xfrm>
          <a:prstGeom prst="rect">
            <a:avLst/>
          </a:prstGeom>
          <a:noFill/>
        </p:spPr>
        <p:txBody>
          <a:bodyPr wrap="square" rtlCol="0">
            <a:spAutoFit/>
          </a:bodyPr>
          <a:lstStyle/>
          <a:p>
            <a:pPr>
              <a:buClr>
                <a:schemeClr val="bg1"/>
              </a:buClr>
            </a:pPr>
            <a:r>
              <a:rPr lang="en-US" sz="1467" dirty="0">
                <a:solidFill>
                  <a:srgbClr val="333333"/>
                </a:solidFill>
                <a:latin typeface="Verdana" panose="020B0604030504040204" pitchFamily="34" charset="0"/>
              </a:rPr>
              <a:t>Here I have added up how often 1 occurs (2 times),</a:t>
            </a:r>
            <a:br>
              <a:rPr lang="en-US" sz="1467" dirty="0"/>
            </a:br>
            <a:r>
              <a:rPr lang="en-US" sz="1467" dirty="0">
                <a:solidFill>
                  <a:srgbClr val="333333"/>
                </a:solidFill>
                <a:latin typeface="Verdana" panose="020B0604030504040204" pitchFamily="34" charset="0"/>
              </a:rPr>
              <a:t>how often 2 occurs (5 times), </a:t>
            </a:r>
            <a:r>
              <a:rPr lang="en-US" sz="1467" dirty="0" err="1">
                <a:solidFill>
                  <a:srgbClr val="333333"/>
                </a:solidFill>
                <a:latin typeface="Verdana" panose="020B0604030504040204" pitchFamily="34" charset="0"/>
              </a:rPr>
              <a:t>etc</a:t>
            </a:r>
            <a:r>
              <a:rPr lang="en-US" sz="1467" dirty="0">
                <a:solidFill>
                  <a:srgbClr val="333333"/>
                </a:solidFill>
                <a:latin typeface="Verdana" panose="020B0604030504040204" pitchFamily="34" charset="0"/>
              </a:rPr>
              <a:t>,</a:t>
            </a:r>
            <a:br>
              <a:rPr lang="en-US" sz="1467" dirty="0"/>
            </a:br>
            <a:r>
              <a:rPr lang="en-US" sz="1467" dirty="0">
                <a:solidFill>
                  <a:srgbClr val="333333"/>
                </a:solidFill>
                <a:latin typeface="Verdana" panose="020B0604030504040204" pitchFamily="34" charset="0"/>
              </a:rPr>
              <a:t>and shown them as a histogram.</a:t>
            </a:r>
            <a:endParaRPr lang="en-US" sz="1867" dirty="0">
              <a:solidFill>
                <a:schemeClr val="bg2"/>
              </a:solidFill>
            </a:endParaRPr>
          </a:p>
        </p:txBody>
      </p:sp>
    </p:spTree>
    <p:extLst>
      <p:ext uri="{BB962C8B-B14F-4D97-AF65-F5344CB8AC3E}">
        <p14:creationId xmlns:p14="http://schemas.microsoft.com/office/powerpoint/2010/main" val="2761370973"/>
      </p:ext>
    </p:extLst>
  </p:cSld>
  <p:clrMapOvr>
    <a:masterClrMapping/>
  </p:clrMapOvr>
  <p:transition spd="med">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CE449-810C-4947-8A30-C5C6A047DDE9}"/>
              </a:ext>
            </a:extLst>
          </p:cNvPr>
          <p:cNvSpPr>
            <a:spLocks noGrp="1"/>
          </p:cNvSpPr>
          <p:nvPr>
            <p:ph type="title"/>
          </p:nvPr>
        </p:nvSpPr>
        <p:spPr>
          <a:xfrm>
            <a:off x="1" y="0"/>
            <a:ext cx="11064769" cy="853440"/>
          </a:xfrm>
        </p:spPr>
        <p:txBody>
          <a:bodyPr/>
          <a:lstStyle/>
          <a:p>
            <a:r>
              <a:rPr lang="en-US" dirty="0"/>
              <a:t>Normal Distribution</a:t>
            </a:r>
          </a:p>
        </p:txBody>
      </p:sp>
      <p:sp>
        <p:nvSpPr>
          <p:cNvPr id="3" name="Content Placeholder 2">
            <a:extLst>
              <a:ext uri="{FF2B5EF4-FFF2-40B4-BE49-F238E27FC236}">
                <a16:creationId xmlns:a16="http://schemas.microsoft.com/office/drawing/2014/main" id="{2B48B4E7-A91E-41DB-854D-B66CBEEBA92C}"/>
              </a:ext>
            </a:extLst>
          </p:cNvPr>
          <p:cNvSpPr>
            <a:spLocks noGrp="1"/>
          </p:cNvSpPr>
          <p:nvPr>
            <p:ph sz="half" idx="13"/>
          </p:nvPr>
        </p:nvSpPr>
        <p:spPr>
          <a:xfrm>
            <a:off x="0" y="729659"/>
            <a:ext cx="12086832" cy="4267200"/>
          </a:xfrm>
        </p:spPr>
        <p:txBody>
          <a:bodyPr/>
          <a:lstStyle/>
          <a:p>
            <a:r>
              <a:rPr lang="en-US" b="0" i="0" dirty="0">
                <a:solidFill>
                  <a:schemeClr val="bg2">
                    <a:lumMod val="50000"/>
                    <a:lumOff val="50000"/>
                  </a:schemeClr>
                </a:solidFill>
                <a:effectLst/>
                <a:latin typeface="Verdana" panose="020B0604030504040204" pitchFamily="34" charset="0"/>
              </a:rPr>
              <a:t>Data can be "distributed" (spread out) in different ways.</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0B486642-3923-4FF0-9B98-6FC95566A6AA}"/>
              </a:ext>
            </a:extLst>
          </p:cNvPr>
          <p:cNvPicPr>
            <a:picLocks noChangeAspect="1"/>
          </p:cNvPicPr>
          <p:nvPr/>
        </p:nvPicPr>
        <p:blipFill>
          <a:blip r:embed="rId2"/>
          <a:stretch>
            <a:fillRect/>
          </a:stretch>
        </p:blipFill>
        <p:spPr>
          <a:xfrm>
            <a:off x="1508779" y="1215575"/>
            <a:ext cx="4587221" cy="2236111"/>
          </a:xfrm>
          <a:prstGeom prst="rect">
            <a:avLst/>
          </a:prstGeom>
        </p:spPr>
      </p:pic>
      <p:pic>
        <p:nvPicPr>
          <p:cNvPr id="7" name="Picture 6">
            <a:extLst>
              <a:ext uri="{FF2B5EF4-FFF2-40B4-BE49-F238E27FC236}">
                <a16:creationId xmlns:a16="http://schemas.microsoft.com/office/drawing/2014/main" id="{B8949DF2-72CB-4E05-BB91-D4723A9CD9FD}"/>
              </a:ext>
            </a:extLst>
          </p:cNvPr>
          <p:cNvPicPr>
            <a:picLocks noChangeAspect="1"/>
          </p:cNvPicPr>
          <p:nvPr/>
        </p:nvPicPr>
        <p:blipFill>
          <a:blip r:embed="rId3"/>
          <a:stretch>
            <a:fillRect/>
          </a:stretch>
        </p:blipFill>
        <p:spPr>
          <a:xfrm>
            <a:off x="6361487" y="1435101"/>
            <a:ext cx="2089151" cy="1993900"/>
          </a:xfrm>
          <a:prstGeom prst="rect">
            <a:avLst/>
          </a:prstGeom>
        </p:spPr>
      </p:pic>
      <p:pic>
        <p:nvPicPr>
          <p:cNvPr id="9" name="Picture 8">
            <a:extLst>
              <a:ext uri="{FF2B5EF4-FFF2-40B4-BE49-F238E27FC236}">
                <a16:creationId xmlns:a16="http://schemas.microsoft.com/office/drawing/2014/main" id="{31EBBA0A-2C14-4CC3-BC2F-11A65B17871E}"/>
              </a:ext>
            </a:extLst>
          </p:cNvPr>
          <p:cNvPicPr>
            <a:picLocks noChangeAspect="1"/>
          </p:cNvPicPr>
          <p:nvPr/>
        </p:nvPicPr>
        <p:blipFill>
          <a:blip r:embed="rId4"/>
          <a:stretch>
            <a:fillRect/>
          </a:stretch>
        </p:blipFill>
        <p:spPr>
          <a:xfrm>
            <a:off x="2648736" y="4323878"/>
            <a:ext cx="4587221" cy="2198044"/>
          </a:xfrm>
          <a:prstGeom prst="rect">
            <a:avLst/>
          </a:prstGeom>
        </p:spPr>
      </p:pic>
      <p:sp>
        <p:nvSpPr>
          <p:cNvPr id="10" name="TextBox 9">
            <a:extLst>
              <a:ext uri="{FF2B5EF4-FFF2-40B4-BE49-F238E27FC236}">
                <a16:creationId xmlns:a16="http://schemas.microsoft.com/office/drawing/2014/main" id="{E9F194E7-7F64-4C16-9487-1D5CACD12279}"/>
              </a:ext>
            </a:extLst>
          </p:cNvPr>
          <p:cNvSpPr txBox="1"/>
          <p:nvPr/>
        </p:nvSpPr>
        <p:spPr>
          <a:xfrm>
            <a:off x="0" y="3813821"/>
            <a:ext cx="2940971" cy="379656"/>
          </a:xfrm>
          <a:prstGeom prst="rect">
            <a:avLst/>
          </a:prstGeom>
          <a:noFill/>
        </p:spPr>
        <p:txBody>
          <a:bodyPr wrap="square" rtlCol="0">
            <a:spAutoFit/>
          </a:bodyPr>
          <a:lstStyle/>
          <a:p>
            <a:pPr>
              <a:buClr>
                <a:schemeClr val="bg1"/>
              </a:buClr>
            </a:pPr>
            <a:r>
              <a:rPr lang="en-US" sz="1867" b="1" dirty="0">
                <a:solidFill>
                  <a:schemeClr val="bg2">
                    <a:lumMod val="50000"/>
                    <a:lumOff val="50000"/>
                  </a:schemeClr>
                </a:solidFill>
              </a:rPr>
              <a:t>Normal Distribution : </a:t>
            </a:r>
          </a:p>
        </p:txBody>
      </p:sp>
    </p:spTree>
    <p:extLst>
      <p:ext uri="{BB962C8B-B14F-4D97-AF65-F5344CB8AC3E}">
        <p14:creationId xmlns:p14="http://schemas.microsoft.com/office/powerpoint/2010/main" val="2608275495"/>
      </p:ext>
    </p:extLst>
  </p:cSld>
  <p:clrMapOvr>
    <a:masterClrMapping/>
  </p:clrMapOvr>
  <p:transition spd="med">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6639C-8CEC-428A-9B08-0BF1C8C1A8AE}"/>
              </a:ext>
            </a:extLst>
          </p:cNvPr>
          <p:cNvSpPr>
            <a:spLocks noGrp="1"/>
          </p:cNvSpPr>
          <p:nvPr>
            <p:ph type="title"/>
          </p:nvPr>
        </p:nvSpPr>
        <p:spPr>
          <a:xfrm>
            <a:off x="0" y="0"/>
            <a:ext cx="10376061" cy="853440"/>
          </a:xfrm>
        </p:spPr>
        <p:txBody>
          <a:bodyPr/>
          <a:lstStyle/>
          <a:p>
            <a:r>
              <a:rPr lang="en-US" dirty="0"/>
              <a:t>Normal Distribution - Continued</a:t>
            </a:r>
          </a:p>
        </p:txBody>
      </p:sp>
      <p:sp>
        <p:nvSpPr>
          <p:cNvPr id="3" name="Content Placeholder 2">
            <a:extLst>
              <a:ext uri="{FF2B5EF4-FFF2-40B4-BE49-F238E27FC236}">
                <a16:creationId xmlns:a16="http://schemas.microsoft.com/office/drawing/2014/main" id="{D6C06C03-2BE3-4DB4-AD24-8584747C8398}"/>
              </a:ext>
            </a:extLst>
          </p:cNvPr>
          <p:cNvSpPr>
            <a:spLocks noGrp="1"/>
          </p:cNvSpPr>
          <p:nvPr>
            <p:ph sz="half" idx="13"/>
          </p:nvPr>
        </p:nvSpPr>
        <p:spPr>
          <a:xfrm>
            <a:off x="77247" y="853440"/>
            <a:ext cx="10616347" cy="4267200"/>
          </a:xfrm>
        </p:spPr>
        <p:txBody>
          <a:bodyPr/>
          <a:lstStyle/>
          <a:p>
            <a:r>
              <a:rPr lang="en-US" b="0" i="0" dirty="0">
                <a:solidFill>
                  <a:srgbClr val="333333"/>
                </a:solidFill>
                <a:effectLst/>
                <a:latin typeface="Verdana" panose="020B0604030504040204" pitchFamily="34" charset="0"/>
              </a:rPr>
              <a:t>It is often called a "Bell Curve“ because it looks like a bell.</a:t>
            </a:r>
            <a:endParaRPr lang="en-US" dirty="0">
              <a:solidFill>
                <a:srgbClr val="333333"/>
              </a:solidFill>
              <a:latin typeface="Verdana" panose="020B0604030504040204" pitchFamily="34" charset="0"/>
            </a:endParaRPr>
          </a:p>
          <a:p>
            <a:pPr algn="l"/>
            <a:r>
              <a:rPr lang="en-US" b="0" i="0" dirty="0">
                <a:solidFill>
                  <a:srgbClr val="333333"/>
                </a:solidFill>
                <a:effectLst/>
                <a:latin typeface="Verdana" panose="020B0604030504040204" pitchFamily="34" charset="0"/>
              </a:rPr>
              <a:t>Many things closely follow a Normal Distribution:</a:t>
            </a:r>
          </a:p>
          <a:p>
            <a:pPr lvl="1">
              <a:buFont typeface="Arial" panose="020B0604020202020204" pitchFamily="34" charset="0"/>
              <a:buChar char="•"/>
            </a:pPr>
            <a:r>
              <a:rPr lang="en-US" b="0" i="0" dirty="0">
                <a:solidFill>
                  <a:srgbClr val="333333"/>
                </a:solidFill>
                <a:effectLst/>
                <a:latin typeface="Verdana" panose="020B0604030504040204" pitchFamily="34" charset="0"/>
              </a:rPr>
              <a:t>heights of people</a:t>
            </a:r>
          </a:p>
          <a:p>
            <a:pPr lvl="1">
              <a:buFont typeface="Arial" panose="020B0604020202020204" pitchFamily="34" charset="0"/>
              <a:buChar char="•"/>
            </a:pPr>
            <a:r>
              <a:rPr lang="en-US" b="0" i="0" dirty="0">
                <a:solidFill>
                  <a:srgbClr val="333333"/>
                </a:solidFill>
                <a:effectLst/>
                <a:latin typeface="Verdana" panose="020B0604030504040204" pitchFamily="34" charset="0"/>
              </a:rPr>
              <a:t>size of things produced by machines</a:t>
            </a:r>
          </a:p>
          <a:p>
            <a:pPr lvl="1">
              <a:buFont typeface="Arial" panose="020B0604020202020204" pitchFamily="34" charset="0"/>
              <a:buChar char="•"/>
            </a:pPr>
            <a:r>
              <a:rPr lang="en-US" b="0" i="0" dirty="0">
                <a:solidFill>
                  <a:srgbClr val="333333"/>
                </a:solidFill>
                <a:effectLst/>
                <a:latin typeface="Verdana" panose="020B0604030504040204" pitchFamily="34" charset="0"/>
              </a:rPr>
              <a:t>errors in measurements</a:t>
            </a:r>
          </a:p>
          <a:p>
            <a:pPr lvl="1">
              <a:buFont typeface="Arial" panose="020B0604020202020204" pitchFamily="34" charset="0"/>
              <a:buChar char="•"/>
            </a:pPr>
            <a:r>
              <a:rPr lang="en-US" b="0" i="0" dirty="0">
                <a:solidFill>
                  <a:srgbClr val="333333"/>
                </a:solidFill>
                <a:effectLst/>
                <a:latin typeface="Verdana" panose="020B0604030504040204" pitchFamily="34" charset="0"/>
              </a:rPr>
              <a:t>blood pressure</a:t>
            </a:r>
          </a:p>
          <a:p>
            <a:pPr lvl="1">
              <a:buFont typeface="Arial" panose="020B0604020202020204" pitchFamily="34" charset="0"/>
              <a:buChar char="•"/>
            </a:pPr>
            <a:r>
              <a:rPr lang="en-US" b="0" i="0" dirty="0">
                <a:solidFill>
                  <a:srgbClr val="333333"/>
                </a:solidFill>
                <a:effectLst/>
                <a:latin typeface="Verdana" panose="020B0604030504040204" pitchFamily="34" charset="0"/>
              </a:rPr>
              <a:t>marks on a test</a:t>
            </a:r>
          </a:p>
          <a:p>
            <a:endParaRPr lang="en-US" dirty="0"/>
          </a:p>
        </p:txBody>
      </p:sp>
      <p:pic>
        <p:nvPicPr>
          <p:cNvPr id="5" name="Picture 4">
            <a:extLst>
              <a:ext uri="{FF2B5EF4-FFF2-40B4-BE49-F238E27FC236}">
                <a16:creationId xmlns:a16="http://schemas.microsoft.com/office/drawing/2014/main" id="{323A7D53-51A0-43DB-B005-CF90D9BB7DFE}"/>
              </a:ext>
            </a:extLst>
          </p:cNvPr>
          <p:cNvPicPr>
            <a:picLocks noChangeAspect="1"/>
          </p:cNvPicPr>
          <p:nvPr/>
        </p:nvPicPr>
        <p:blipFill>
          <a:blip r:embed="rId2"/>
          <a:stretch>
            <a:fillRect/>
          </a:stretch>
        </p:blipFill>
        <p:spPr>
          <a:xfrm>
            <a:off x="1498407" y="3429000"/>
            <a:ext cx="7203643" cy="2575560"/>
          </a:xfrm>
          <a:prstGeom prst="rect">
            <a:avLst/>
          </a:prstGeom>
        </p:spPr>
      </p:pic>
    </p:spTree>
    <p:extLst>
      <p:ext uri="{BB962C8B-B14F-4D97-AF65-F5344CB8AC3E}">
        <p14:creationId xmlns:p14="http://schemas.microsoft.com/office/powerpoint/2010/main" val="1274034444"/>
      </p:ext>
    </p:extLst>
  </p:cSld>
  <p:clrMapOvr>
    <a:masterClrMapping/>
  </p:clrMapOvr>
  <p:transition spd="med">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76DBB-8ECF-4567-A38D-5A24476D6577}"/>
              </a:ext>
            </a:extLst>
          </p:cNvPr>
          <p:cNvSpPr>
            <a:spLocks noGrp="1"/>
          </p:cNvSpPr>
          <p:nvPr>
            <p:ph type="title"/>
          </p:nvPr>
        </p:nvSpPr>
        <p:spPr>
          <a:xfrm>
            <a:off x="0" y="30480"/>
            <a:ext cx="11464965" cy="853440"/>
          </a:xfrm>
        </p:spPr>
        <p:txBody>
          <a:bodyPr/>
          <a:lstStyle/>
          <a:p>
            <a:r>
              <a:rPr lang="en-US" dirty="0"/>
              <a:t>Correlation</a:t>
            </a:r>
          </a:p>
        </p:txBody>
      </p:sp>
      <p:sp>
        <p:nvSpPr>
          <p:cNvPr id="3" name="Content Placeholder 2">
            <a:extLst>
              <a:ext uri="{FF2B5EF4-FFF2-40B4-BE49-F238E27FC236}">
                <a16:creationId xmlns:a16="http://schemas.microsoft.com/office/drawing/2014/main" id="{B7539B1F-DF25-4AA4-977D-D1A34E8A7D99}"/>
              </a:ext>
            </a:extLst>
          </p:cNvPr>
          <p:cNvSpPr>
            <a:spLocks noGrp="1"/>
          </p:cNvSpPr>
          <p:nvPr>
            <p:ph sz="half" idx="13"/>
          </p:nvPr>
        </p:nvSpPr>
        <p:spPr>
          <a:xfrm>
            <a:off x="1" y="673817"/>
            <a:ext cx="11891388" cy="4267200"/>
          </a:xfrm>
        </p:spPr>
        <p:txBody>
          <a:bodyPr/>
          <a:lstStyle/>
          <a:p>
            <a:r>
              <a:rPr lang="en-US" b="0" i="0" dirty="0">
                <a:solidFill>
                  <a:schemeClr val="bg2">
                    <a:lumMod val="50000"/>
                    <a:lumOff val="50000"/>
                  </a:schemeClr>
                </a:solidFill>
                <a:effectLst/>
                <a:latin typeface="Verdana" panose="020B0604030504040204" pitchFamily="34" charset="0"/>
              </a:rPr>
              <a:t>When two sets of data are strongly linked together, we say they have a </a:t>
            </a:r>
            <a:r>
              <a:rPr lang="en-US" b="1" i="0" dirty="0">
                <a:solidFill>
                  <a:schemeClr val="bg2">
                    <a:lumMod val="50000"/>
                    <a:lumOff val="50000"/>
                  </a:schemeClr>
                </a:solidFill>
                <a:effectLst/>
                <a:latin typeface="Verdana" panose="020B0604030504040204" pitchFamily="34" charset="0"/>
              </a:rPr>
              <a:t>High Correlatio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7DB1435-794D-4ED8-9D47-3925A9A143B1}"/>
              </a:ext>
            </a:extLst>
          </p:cNvPr>
          <p:cNvPicPr>
            <a:picLocks noChangeAspect="1"/>
          </p:cNvPicPr>
          <p:nvPr/>
        </p:nvPicPr>
        <p:blipFill>
          <a:blip r:embed="rId2"/>
          <a:stretch>
            <a:fillRect/>
          </a:stretch>
        </p:blipFill>
        <p:spPr>
          <a:xfrm>
            <a:off x="642223" y="1059820"/>
            <a:ext cx="5956300" cy="2895600"/>
          </a:xfrm>
          <a:prstGeom prst="rect">
            <a:avLst/>
          </a:prstGeom>
        </p:spPr>
      </p:pic>
      <p:pic>
        <p:nvPicPr>
          <p:cNvPr id="7" name="Picture 6">
            <a:extLst>
              <a:ext uri="{FF2B5EF4-FFF2-40B4-BE49-F238E27FC236}">
                <a16:creationId xmlns:a16="http://schemas.microsoft.com/office/drawing/2014/main" id="{DE30AE90-61F3-4883-93FA-EA1B18A2BD3C}"/>
              </a:ext>
            </a:extLst>
          </p:cNvPr>
          <p:cNvPicPr>
            <a:picLocks noChangeAspect="1"/>
          </p:cNvPicPr>
          <p:nvPr/>
        </p:nvPicPr>
        <p:blipFill>
          <a:blip r:embed="rId3"/>
          <a:stretch>
            <a:fillRect/>
          </a:stretch>
        </p:blipFill>
        <p:spPr>
          <a:xfrm>
            <a:off x="6792465" y="1059820"/>
            <a:ext cx="2032000" cy="2819400"/>
          </a:xfrm>
          <a:prstGeom prst="rect">
            <a:avLst/>
          </a:prstGeom>
        </p:spPr>
      </p:pic>
      <p:pic>
        <p:nvPicPr>
          <p:cNvPr id="9" name="Picture 8">
            <a:extLst>
              <a:ext uri="{FF2B5EF4-FFF2-40B4-BE49-F238E27FC236}">
                <a16:creationId xmlns:a16="http://schemas.microsoft.com/office/drawing/2014/main" id="{340E5063-21FB-4C74-8F96-B906EFD88A76}"/>
              </a:ext>
            </a:extLst>
          </p:cNvPr>
          <p:cNvPicPr>
            <a:picLocks noChangeAspect="1"/>
          </p:cNvPicPr>
          <p:nvPr/>
        </p:nvPicPr>
        <p:blipFill>
          <a:blip r:embed="rId4"/>
          <a:stretch>
            <a:fillRect/>
          </a:stretch>
        </p:blipFill>
        <p:spPr>
          <a:xfrm>
            <a:off x="2380621" y="4000501"/>
            <a:ext cx="5195172" cy="2656623"/>
          </a:xfrm>
          <a:prstGeom prst="rect">
            <a:avLst/>
          </a:prstGeom>
        </p:spPr>
      </p:pic>
    </p:spTree>
    <p:extLst>
      <p:ext uri="{BB962C8B-B14F-4D97-AF65-F5344CB8AC3E}">
        <p14:creationId xmlns:p14="http://schemas.microsoft.com/office/powerpoint/2010/main" val="3654578520"/>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76829" y="2370209"/>
            <a:ext cx="10060729" cy="645217"/>
          </a:xfrm>
          <a:prstGeom prst="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923511" y="4487793"/>
            <a:ext cx="2983283" cy="1988855"/>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106888" y="70241"/>
            <a:ext cx="10607040" cy="85344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106888" y="923681"/>
            <a:ext cx="10565848" cy="42672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497774" y="3429001"/>
            <a:ext cx="2851476" cy="1662929"/>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5974731" y="3215777"/>
            <a:ext cx="5765943" cy="3171687"/>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76830" y="2370208"/>
            <a:ext cx="10130669" cy="954300"/>
          </a:xfrm>
          <a:prstGeom prst="rect">
            <a:avLst/>
          </a:prstGeom>
          <a:noFill/>
        </p:spPr>
        <p:txBody>
          <a:bodyPr wrap="square" rtlCol="0">
            <a:spAutoFit/>
          </a:bodyPr>
          <a:lstStyle/>
          <a:p>
            <a:pPr>
              <a:buClr>
                <a:schemeClr val="bg1"/>
              </a:buClr>
            </a:pPr>
            <a:r>
              <a:rPr lang="en-US" sz="1867" dirty="0">
                <a:solidFill>
                  <a:schemeClr val="tx2"/>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a:buClr>
                <a:schemeClr val="bg1"/>
              </a:buClr>
            </a:pPr>
            <a:r>
              <a:rPr lang="en-US" sz="1867" dirty="0">
                <a:solidFill>
                  <a:schemeClr val="bg2"/>
                </a:solidFill>
              </a:rPr>
              <a:t> </a:t>
            </a:r>
          </a:p>
        </p:txBody>
      </p:sp>
    </p:spTree>
    <p:extLst>
      <p:ext uri="{BB962C8B-B14F-4D97-AF65-F5344CB8AC3E}">
        <p14:creationId xmlns:p14="http://schemas.microsoft.com/office/powerpoint/2010/main" val="1833670930"/>
      </p:ext>
    </p:extLst>
  </p:cSld>
  <p:clrMapOvr>
    <a:masterClrMapping/>
  </p:clrMapOvr>
  <p:transition spd="med">
    <p:wipe dir="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7B85C-624C-45F4-9762-37B9DF7C8893}"/>
              </a:ext>
            </a:extLst>
          </p:cNvPr>
          <p:cNvSpPr>
            <a:spLocks noGrp="1"/>
          </p:cNvSpPr>
          <p:nvPr>
            <p:ph type="title"/>
          </p:nvPr>
        </p:nvSpPr>
        <p:spPr>
          <a:xfrm>
            <a:off x="1" y="30480"/>
            <a:ext cx="11381204" cy="853440"/>
          </a:xfrm>
        </p:spPr>
        <p:txBody>
          <a:bodyPr/>
          <a:lstStyle/>
          <a:p>
            <a:r>
              <a:rPr lang="en-US" dirty="0"/>
              <a:t>Correlation - continued</a:t>
            </a:r>
          </a:p>
        </p:txBody>
      </p:sp>
      <p:sp>
        <p:nvSpPr>
          <p:cNvPr id="3" name="Content Placeholder 2">
            <a:extLst>
              <a:ext uri="{FF2B5EF4-FFF2-40B4-BE49-F238E27FC236}">
                <a16:creationId xmlns:a16="http://schemas.microsoft.com/office/drawing/2014/main" id="{E1B18987-248B-423A-89C7-35FA1BCB556E}"/>
              </a:ext>
            </a:extLst>
          </p:cNvPr>
          <p:cNvSpPr>
            <a:spLocks noGrp="1"/>
          </p:cNvSpPr>
          <p:nvPr>
            <p:ph sz="half" idx="13"/>
          </p:nvPr>
        </p:nvSpPr>
        <p:spPr>
          <a:xfrm>
            <a:off x="84608" y="883920"/>
            <a:ext cx="11211987" cy="4267200"/>
          </a:xfrm>
        </p:spPr>
        <p:txBody>
          <a:bodyPr/>
          <a:lstStyle/>
          <a:p>
            <a:pPr marL="0" indent="0">
              <a:buNone/>
            </a:pPr>
            <a:r>
              <a:rPr lang="en-US" b="1" dirty="0">
                <a:solidFill>
                  <a:srgbClr val="FF0000"/>
                </a:solidFill>
                <a:effectLst/>
                <a:latin typeface="champ"/>
              </a:rPr>
              <a:t>Correlation Is Not Good at Curves</a:t>
            </a:r>
          </a:p>
          <a:p>
            <a:r>
              <a:rPr lang="en-US" b="1" dirty="0">
                <a:solidFill>
                  <a:schemeClr val="bg2">
                    <a:lumMod val="50000"/>
                    <a:lumOff val="50000"/>
                  </a:schemeClr>
                </a:solidFill>
              </a:rPr>
              <a:t>Ex: </a:t>
            </a:r>
            <a:r>
              <a:rPr lang="en-US" dirty="0">
                <a:solidFill>
                  <a:schemeClr val="bg2">
                    <a:lumMod val="50000"/>
                    <a:lumOff val="50000"/>
                  </a:schemeClr>
                </a:solidFill>
              </a:rPr>
              <a:t>Ice Cream shop keeps track of how much ice cream they sell versus the temperature on that day</a:t>
            </a:r>
          </a:p>
          <a:p>
            <a:r>
              <a:rPr lang="en-US" dirty="0">
                <a:solidFill>
                  <a:schemeClr val="bg2">
                    <a:lumMod val="50000"/>
                    <a:lumOff val="50000"/>
                  </a:schemeClr>
                </a:solidFill>
              </a:rPr>
              <a:t>The correlation calculation only works properly for straight line relationships</a:t>
            </a:r>
          </a:p>
        </p:txBody>
      </p:sp>
    </p:spTree>
    <p:extLst>
      <p:ext uri="{BB962C8B-B14F-4D97-AF65-F5344CB8AC3E}">
        <p14:creationId xmlns:p14="http://schemas.microsoft.com/office/powerpoint/2010/main" val="2055871581"/>
      </p:ext>
    </p:extLst>
  </p:cSld>
  <p:clrMapOvr>
    <a:masterClrMapping/>
  </p:clrMapOvr>
  <p:transition spd="med">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B2322-AFA8-42E4-8E76-348C567AB262}"/>
              </a:ext>
            </a:extLst>
          </p:cNvPr>
          <p:cNvSpPr>
            <a:spLocks noGrp="1"/>
          </p:cNvSpPr>
          <p:nvPr>
            <p:ph type="title"/>
          </p:nvPr>
        </p:nvSpPr>
        <p:spPr>
          <a:xfrm>
            <a:off x="1" y="0"/>
            <a:ext cx="11530113" cy="85344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910E7ECD-077C-4B0A-867E-43A7BDB6F0C6}"/>
              </a:ext>
            </a:extLst>
          </p:cNvPr>
          <p:cNvSpPr>
            <a:spLocks noGrp="1"/>
          </p:cNvSpPr>
          <p:nvPr>
            <p:ph sz="half" idx="13"/>
          </p:nvPr>
        </p:nvSpPr>
        <p:spPr>
          <a:xfrm>
            <a:off x="161009" y="971637"/>
            <a:ext cx="11530112" cy="4267200"/>
          </a:xfrm>
        </p:spPr>
        <p:txBody>
          <a:bodyPr/>
          <a:lstStyle/>
          <a:p>
            <a:pPr algn="l"/>
            <a:r>
              <a:rPr lang="en-US" b="0" i="0" dirty="0">
                <a:solidFill>
                  <a:schemeClr val="bg2">
                    <a:lumMod val="50000"/>
                    <a:lumOff val="50000"/>
                  </a:schemeClr>
                </a:solidFill>
                <a:effectLst/>
                <a:latin typeface="Verdana" panose="020B0604030504040204" pitchFamily="34" charset="0"/>
              </a:rPr>
              <a:t>A common saying is "Correlation Is Not Causation".</a:t>
            </a:r>
          </a:p>
          <a:p>
            <a:pPr algn="l"/>
            <a:r>
              <a:rPr lang="en-US" b="0" i="0" dirty="0">
                <a:solidFill>
                  <a:schemeClr val="bg2">
                    <a:lumMod val="50000"/>
                    <a:lumOff val="50000"/>
                  </a:schemeClr>
                </a:solidFill>
                <a:effectLst/>
                <a:latin typeface="Verdana" panose="020B0604030504040204" pitchFamily="34" charset="0"/>
              </a:rPr>
              <a:t>What it </a:t>
            </a:r>
            <a:r>
              <a:rPr lang="en-US" b="1" i="0" dirty="0">
                <a:solidFill>
                  <a:schemeClr val="bg2">
                    <a:lumMod val="50000"/>
                    <a:lumOff val="50000"/>
                  </a:schemeClr>
                </a:solidFill>
                <a:effectLst/>
                <a:latin typeface="Verdana" panose="020B0604030504040204" pitchFamily="34" charset="0"/>
              </a:rPr>
              <a:t>really</a:t>
            </a:r>
            <a:r>
              <a:rPr lang="en-US" b="0" i="0" dirty="0">
                <a:solidFill>
                  <a:schemeClr val="bg2">
                    <a:lumMod val="50000"/>
                    <a:lumOff val="50000"/>
                  </a:schemeClr>
                </a:solidFill>
                <a:effectLst/>
                <a:latin typeface="Verdana" panose="020B0604030504040204" pitchFamily="34" charset="0"/>
              </a:rPr>
              <a:t> means is that a correlation does </a:t>
            </a:r>
            <a:r>
              <a:rPr lang="en-US" b="1" i="0" dirty="0">
                <a:solidFill>
                  <a:schemeClr val="bg2">
                    <a:lumMod val="50000"/>
                    <a:lumOff val="50000"/>
                  </a:schemeClr>
                </a:solidFill>
                <a:effectLst/>
                <a:latin typeface="Verdana" panose="020B0604030504040204" pitchFamily="34" charset="0"/>
              </a:rPr>
              <a:t>not prove</a:t>
            </a:r>
            <a:r>
              <a:rPr lang="en-US" b="0" i="0" dirty="0">
                <a:solidFill>
                  <a:schemeClr val="bg2">
                    <a:lumMod val="50000"/>
                    <a:lumOff val="50000"/>
                  </a:schemeClr>
                </a:solidFill>
                <a:effectLst/>
                <a:latin typeface="Verdana" panose="020B0604030504040204" pitchFamily="34" charset="0"/>
              </a:rPr>
              <a:t> one thing causes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ne thing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 other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first to happen</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y may be linked by a different thing</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r it could be random chance!</a:t>
            </a:r>
          </a:p>
          <a:p>
            <a:pPr algn="l"/>
            <a:r>
              <a:rPr lang="en-US" b="0" i="0" dirty="0">
                <a:solidFill>
                  <a:schemeClr val="bg2">
                    <a:lumMod val="50000"/>
                    <a:lumOff val="50000"/>
                  </a:schemeClr>
                </a:solidFill>
                <a:effectLst/>
                <a:latin typeface="Verdana" panose="020B0604030504040204" pitchFamily="34" charset="0"/>
              </a:rPr>
              <a:t>There can be many reasons the data has a good correlation.</a:t>
            </a:r>
          </a:p>
          <a:p>
            <a:endParaRPr lang="en-US" dirty="0"/>
          </a:p>
        </p:txBody>
      </p:sp>
    </p:spTree>
    <p:extLst>
      <p:ext uri="{BB962C8B-B14F-4D97-AF65-F5344CB8AC3E}">
        <p14:creationId xmlns:p14="http://schemas.microsoft.com/office/powerpoint/2010/main" val="2076917634"/>
      </p:ext>
    </p:extLst>
  </p:cSld>
  <p:clrMapOvr>
    <a:masterClrMapping/>
  </p:clrMapOvr>
  <p:transition spd="med">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28B9C-5A0D-4151-ADA4-DBBD1CD8C76F}"/>
              </a:ext>
            </a:extLst>
          </p:cNvPr>
          <p:cNvSpPr>
            <a:spLocks noGrp="1"/>
          </p:cNvSpPr>
          <p:nvPr>
            <p:ph type="title"/>
          </p:nvPr>
        </p:nvSpPr>
        <p:spPr>
          <a:xfrm>
            <a:off x="0" y="30480"/>
            <a:ext cx="9417453" cy="85344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67945CBD-392E-471D-8A2A-A5126063986A}"/>
              </a:ext>
            </a:extLst>
          </p:cNvPr>
          <p:cNvSpPr>
            <a:spLocks noGrp="1"/>
          </p:cNvSpPr>
          <p:nvPr>
            <p:ph sz="half" idx="13"/>
          </p:nvPr>
        </p:nvSpPr>
        <p:spPr>
          <a:xfrm>
            <a:off x="67940" y="883920"/>
            <a:ext cx="11109611" cy="4267200"/>
          </a:xfrm>
        </p:spPr>
        <p:txBody>
          <a:bodyPr/>
          <a:lstStyle/>
          <a:p>
            <a:r>
              <a:rPr lang="en-US" dirty="0"/>
              <a:t>Ex : Sun glass vs Ice cream</a:t>
            </a:r>
          </a:p>
          <a:p>
            <a:endParaRPr lang="en-US" dirty="0"/>
          </a:p>
          <a:p>
            <a:endParaRPr lang="en-US" dirty="0"/>
          </a:p>
          <a:p>
            <a:endParaRPr lang="en-US" dirty="0"/>
          </a:p>
          <a:p>
            <a:endParaRPr lang="en-US" dirty="0"/>
          </a:p>
          <a:p>
            <a:endParaRPr lang="en-US" dirty="0"/>
          </a:p>
          <a:p>
            <a:r>
              <a:rPr lang="en-US" dirty="0"/>
              <a:t>Ex : </a:t>
            </a:r>
            <a:r>
              <a:rPr lang="en-US" b="0" i="0" dirty="0">
                <a:solidFill>
                  <a:srgbClr val="333333"/>
                </a:solidFill>
                <a:effectLst/>
                <a:latin typeface="Verdana" panose="020B0604030504040204" pitchFamily="34" charset="0"/>
              </a:rPr>
              <a:t>Poor suburbs are more likely to have high pollution.</a:t>
            </a:r>
          </a:p>
          <a:p>
            <a:endParaRPr lang="en-US" dirty="0"/>
          </a:p>
        </p:txBody>
      </p:sp>
    </p:spTree>
    <p:extLst>
      <p:ext uri="{BB962C8B-B14F-4D97-AF65-F5344CB8AC3E}">
        <p14:creationId xmlns:p14="http://schemas.microsoft.com/office/powerpoint/2010/main" val="1698398126"/>
      </p:ext>
    </p:extLst>
  </p:cSld>
  <p:clrMapOvr>
    <a:masterClrMapping/>
  </p:clrMapOvr>
  <p:transition spd="med">
    <p:wipe dir="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B2D5-35C4-4911-AD10-0C5D0D1708E4}"/>
              </a:ext>
            </a:extLst>
          </p:cNvPr>
          <p:cNvSpPr>
            <a:spLocks noGrp="1"/>
          </p:cNvSpPr>
          <p:nvPr>
            <p:ph type="title"/>
          </p:nvPr>
        </p:nvSpPr>
        <p:spPr>
          <a:xfrm>
            <a:off x="0" y="0"/>
            <a:ext cx="10757643" cy="853440"/>
          </a:xfrm>
        </p:spPr>
        <p:txBody>
          <a:bodyPr/>
          <a:lstStyle/>
          <a:p>
            <a:r>
              <a:rPr lang="en-US" dirty="0"/>
              <a:t>Correlation is NOT Causation </a:t>
            </a:r>
            <a:r>
              <a:rPr lang="en-US" dirty="0">
                <a:solidFill>
                  <a:schemeClr val="bg2">
                    <a:lumMod val="50000"/>
                    <a:lumOff val="50000"/>
                  </a:schemeClr>
                </a:solidFill>
              </a:rPr>
              <a:t>– </a:t>
            </a:r>
            <a:r>
              <a:rPr lang="en-US" i="1" dirty="0">
                <a:solidFill>
                  <a:schemeClr val="bg2">
                    <a:lumMod val="50000"/>
                    <a:lumOff val="50000"/>
                  </a:schemeClr>
                </a:solidFill>
              </a:rPr>
              <a:t>A real case</a:t>
            </a:r>
          </a:p>
        </p:txBody>
      </p:sp>
      <p:sp>
        <p:nvSpPr>
          <p:cNvPr id="3" name="Content Placeholder 2">
            <a:extLst>
              <a:ext uri="{FF2B5EF4-FFF2-40B4-BE49-F238E27FC236}">
                <a16:creationId xmlns:a16="http://schemas.microsoft.com/office/drawing/2014/main" id="{2E41632A-9F27-4921-A183-99DA3F674E36}"/>
              </a:ext>
            </a:extLst>
          </p:cNvPr>
          <p:cNvSpPr>
            <a:spLocks noGrp="1"/>
          </p:cNvSpPr>
          <p:nvPr>
            <p:ph sz="half" idx="13"/>
          </p:nvPr>
        </p:nvSpPr>
        <p:spPr>
          <a:xfrm>
            <a:off x="179622" y="1213616"/>
            <a:ext cx="10672188" cy="4267200"/>
          </a:xfrm>
        </p:spPr>
        <p:txBody>
          <a:bodyPr/>
          <a:lstStyle/>
          <a:p>
            <a:r>
              <a:rPr lang="en-US" b="0" i="0" dirty="0">
                <a:solidFill>
                  <a:schemeClr val="bg2">
                    <a:lumMod val="50000"/>
                    <a:lumOff val="50000"/>
                  </a:schemeClr>
                </a:solidFill>
                <a:effectLst/>
                <a:latin typeface="Verdana" panose="020B0604030504040204" pitchFamily="34" charset="0"/>
              </a:rPr>
              <a:t>A few years ago, a survey of employees found a strong positive correlation between </a:t>
            </a:r>
            <a:r>
              <a:rPr lang="en-US" b="1" i="0" dirty="0">
                <a:solidFill>
                  <a:schemeClr val="bg2">
                    <a:lumMod val="50000"/>
                    <a:lumOff val="50000"/>
                  </a:schemeClr>
                </a:solidFill>
                <a:effectLst/>
                <a:latin typeface="Verdana" panose="020B0604030504040204" pitchFamily="34" charset="0"/>
              </a:rPr>
              <a:t>"Studying an external course"</a:t>
            </a:r>
            <a:r>
              <a:rPr lang="en-US" b="0" i="0" dirty="0">
                <a:solidFill>
                  <a:schemeClr val="bg2">
                    <a:lumMod val="50000"/>
                    <a:lumOff val="50000"/>
                  </a:schemeClr>
                </a:solidFill>
                <a:effectLst/>
                <a:latin typeface="Verdana" panose="020B0604030504040204" pitchFamily="34" charset="0"/>
              </a:rPr>
              <a:t> and </a:t>
            </a:r>
            <a:r>
              <a:rPr lang="en-US" b="1" i="0" dirty="0">
                <a:solidFill>
                  <a:schemeClr val="bg2">
                    <a:lumMod val="50000"/>
                    <a:lumOff val="50000"/>
                  </a:schemeClr>
                </a:solidFill>
                <a:effectLst/>
                <a:latin typeface="Verdana" panose="020B0604030504040204" pitchFamily="34" charset="0"/>
              </a:rPr>
              <a:t>Sick Days</a:t>
            </a:r>
            <a:r>
              <a:rPr lang="en-US" b="0" i="0" dirty="0">
                <a:solidFill>
                  <a:schemeClr val="bg2">
                    <a:lumMod val="50000"/>
                    <a:lumOff val="50000"/>
                  </a:schemeClr>
                </a:solidFill>
                <a:effectLst/>
                <a:latin typeface="Verdana" panose="020B0604030504040204" pitchFamily="34" charset="0"/>
              </a:rPr>
              <a:t>.</a:t>
            </a:r>
            <a:endParaRPr lang="en-US" dirty="0">
              <a:solidFill>
                <a:schemeClr val="bg2">
                  <a:lumMod val="50000"/>
                  <a:lumOff val="50000"/>
                </a:schemeClr>
              </a:solidFill>
            </a:endParaRPr>
          </a:p>
        </p:txBody>
      </p:sp>
    </p:spTree>
    <p:extLst>
      <p:ext uri="{BB962C8B-B14F-4D97-AF65-F5344CB8AC3E}">
        <p14:creationId xmlns:p14="http://schemas.microsoft.com/office/powerpoint/2010/main" val="3487960969"/>
      </p:ext>
    </p:extLst>
  </p:cSld>
  <p:clrMapOvr>
    <a:masterClrMapping/>
  </p:clrMapOvr>
  <p:transition spd="med">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BC7D1-6911-4452-AC10-251435381AA2}"/>
              </a:ext>
            </a:extLst>
          </p:cNvPr>
          <p:cNvSpPr>
            <a:spLocks noGrp="1"/>
          </p:cNvSpPr>
          <p:nvPr>
            <p:ph type="title"/>
          </p:nvPr>
        </p:nvSpPr>
        <p:spPr>
          <a:xfrm>
            <a:off x="0" y="0"/>
            <a:ext cx="10981008" cy="853440"/>
          </a:xfrm>
        </p:spPr>
        <p:txBody>
          <a:bodyPr/>
          <a:lstStyle/>
          <a:p>
            <a:r>
              <a:rPr lang="en-US" dirty="0"/>
              <a:t>Skewness</a:t>
            </a:r>
          </a:p>
        </p:txBody>
      </p:sp>
      <p:sp>
        <p:nvSpPr>
          <p:cNvPr id="3" name="Content Placeholder 2">
            <a:extLst>
              <a:ext uri="{FF2B5EF4-FFF2-40B4-BE49-F238E27FC236}">
                <a16:creationId xmlns:a16="http://schemas.microsoft.com/office/drawing/2014/main" id="{EC2A8539-18AA-48D9-93FE-B8AA17B05C34}"/>
              </a:ext>
            </a:extLst>
          </p:cNvPr>
          <p:cNvSpPr>
            <a:spLocks noGrp="1"/>
          </p:cNvSpPr>
          <p:nvPr>
            <p:ph sz="half" idx="13"/>
          </p:nvPr>
        </p:nvSpPr>
        <p:spPr>
          <a:xfrm>
            <a:off x="207544" y="664255"/>
            <a:ext cx="11081691" cy="4267200"/>
          </a:xfrm>
        </p:spPr>
        <p:txBody>
          <a:bodyPr/>
          <a:lstStyle/>
          <a:p>
            <a:r>
              <a:rPr lang="en-US" b="0" i="0" dirty="0">
                <a:solidFill>
                  <a:schemeClr val="bg2">
                    <a:lumMod val="50000"/>
                    <a:lumOff val="50000"/>
                  </a:schemeClr>
                </a:solidFill>
                <a:effectLst/>
                <a:latin typeface="Verdana" panose="020B0604030504040204" pitchFamily="34" charset="0"/>
              </a:rPr>
              <a:t>Data can be "skewed", meaning it tends to have a </a:t>
            </a:r>
            <a:r>
              <a:rPr lang="en-US" b="1" i="0" dirty="0">
                <a:solidFill>
                  <a:schemeClr val="bg2">
                    <a:lumMod val="50000"/>
                    <a:lumOff val="50000"/>
                  </a:schemeClr>
                </a:solidFill>
                <a:effectLst/>
                <a:latin typeface="Verdana" panose="020B0604030504040204" pitchFamily="34" charset="0"/>
              </a:rPr>
              <a:t>long tail</a:t>
            </a:r>
            <a:r>
              <a:rPr lang="en-US" b="0" i="0" dirty="0">
                <a:solidFill>
                  <a:schemeClr val="bg2">
                    <a:lumMod val="50000"/>
                    <a:lumOff val="50000"/>
                  </a:schemeClr>
                </a:solidFill>
                <a:effectLst/>
                <a:latin typeface="Verdana" panose="020B0604030504040204" pitchFamily="34" charset="0"/>
              </a:rPr>
              <a:t> on one side or the other:</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FBBD97A-BB9E-4561-B27E-EC40AECBB44A}"/>
              </a:ext>
            </a:extLst>
          </p:cNvPr>
          <p:cNvPicPr>
            <a:picLocks noChangeAspect="1"/>
          </p:cNvPicPr>
          <p:nvPr/>
        </p:nvPicPr>
        <p:blipFill>
          <a:blip r:embed="rId2"/>
          <a:stretch>
            <a:fillRect/>
          </a:stretch>
        </p:blipFill>
        <p:spPr>
          <a:xfrm>
            <a:off x="2642600" y="1470453"/>
            <a:ext cx="5993624" cy="1958547"/>
          </a:xfrm>
          <a:prstGeom prst="rect">
            <a:avLst/>
          </a:prstGeom>
        </p:spPr>
      </p:pic>
      <p:sp>
        <p:nvSpPr>
          <p:cNvPr id="6" name="TextBox 5">
            <a:extLst>
              <a:ext uri="{FF2B5EF4-FFF2-40B4-BE49-F238E27FC236}">
                <a16:creationId xmlns:a16="http://schemas.microsoft.com/office/drawing/2014/main" id="{4DDD0657-BEB3-45A9-9F5D-D0BE64ED2E00}"/>
              </a:ext>
            </a:extLst>
          </p:cNvPr>
          <p:cNvSpPr txBox="1"/>
          <p:nvPr/>
        </p:nvSpPr>
        <p:spPr>
          <a:xfrm>
            <a:off x="207544" y="4020568"/>
            <a:ext cx="11776912" cy="1898468"/>
          </a:xfrm>
          <a:prstGeom prst="rect">
            <a:avLst/>
          </a:prstGeom>
          <a:noFill/>
        </p:spPr>
        <p:txBody>
          <a:bodyPr wrap="square" rtlCol="0">
            <a:spAutoFit/>
          </a:bodyPr>
          <a:lstStyle/>
          <a:p>
            <a:pPr>
              <a:buClr>
                <a:schemeClr val="bg1"/>
              </a:buClr>
            </a:pPr>
            <a:r>
              <a:rPr lang="en-US" sz="1467" b="1" dirty="0">
                <a:solidFill>
                  <a:schemeClr val="bg2">
                    <a:lumMod val="50000"/>
                    <a:lumOff val="50000"/>
                  </a:schemeClr>
                </a:solidFill>
                <a:latin typeface="Verdana" panose="020B0604030504040204" pitchFamily="34" charset="0"/>
              </a:rPr>
              <a:t>Negative Skew : </a:t>
            </a:r>
            <a:r>
              <a:rPr lang="en-US" sz="1467" dirty="0">
                <a:solidFill>
                  <a:schemeClr val="bg2">
                    <a:lumMod val="50000"/>
                    <a:lumOff val="50000"/>
                  </a:schemeClr>
                </a:solidFill>
                <a:latin typeface="Verdana" panose="020B0604030504040204" pitchFamily="34" charset="0"/>
              </a:rPr>
              <a:t>Because the long "tail" is on the negative side of the peak. Some people say it is "skewed to the left" (the long tail is on the left-hand side) </a:t>
            </a:r>
            <a:r>
              <a:rPr lang="en-US" sz="1467" b="1" dirty="0">
                <a:solidFill>
                  <a:schemeClr val="bg2">
                    <a:lumMod val="50000"/>
                    <a:lumOff val="50000"/>
                  </a:schemeClr>
                </a:solidFill>
                <a:highlight>
                  <a:srgbClr val="FFFF00"/>
                </a:highlight>
                <a:latin typeface="Verdana" panose="020B0604030504040204" pitchFamily="34" charset="0"/>
              </a:rPr>
              <a:t>Mode &lt; Median &lt; mean</a:t>
            </a:r>
          </a:p>
          <a:p>
            <a:pPr>
              <a:buClr>
                <a:schemeClr val="bg1"/>
              </a:buClr>
            </a:pPr>
            <a:endParaRPr lang="en-US" sz="1467" dirty="0">
              <a:solidFill>
                <a:schemeClr val="bg2">
                  <a:lumMod val="50000"/>
                  <a:lumOff val="50000"/>
                </a:schemeClr>
              </a:solidFill>
              <a:latin typeface="Verdana" panose="020B0604030504040204" pitchFamily="34" charset="0"/>
            </a:endParaRPr>
          </a:p>
          <a:p>
            <a:pPr>
              <a:buClr>
                <a:schemeClr val="bg1"/>
              </a:buClr>
            </a:pPr>
            <a:r>
              <a:rPr lang="en-US" sz="1467" b="1" dirty="0">
                <a:solidFill>
                  <a:schemeClr val="bg2">
                    <a:lumMod val="50000"/>
                    <a:lumOff val="50000"/>
                  </a:schemeClr>
                </a:solidFill>
                <a:latin typeface="Verdana" panose="020B0604030504040204" pitchFamily="34" charset="0"/>
              </a:rPr>
              <a:t>Positive Skew : </a:t>
            </a:r>
            <a:r>
              <a:rPr lang="en-US" sz="1467" dirty="0">
                <a:solidFill>
                  <a:schemeClr val="bg2">
                    <a:lumMod val="50000"/>
                    <a:lumOff val="50000"/>
                  </a:schemeClr>
                </a:solidFill>
                <a:latin typeface="Verdana" panose="020B0604030504040204" pitchFamily="34" charset="0"/>
              </a:rPr>
              <a:t>And positive skew is when the long tail is on the positive side of the peak. Some people say it is "skewed to the right". </a:t>
            </a:r>
            <a:r>
              <a:rPr lang="en-US" sz="1467" b="1" dirty="0">
                <a:solidFill>
                  <a:schemeClr val="bg2">
                    <a:lumMod val="50000"/>
                    <a:lumOff val="50000"/>
                  </a:schemeClr>
                </a:solidFill>
                <a:highlight>
                  <a:srgbClr val="FFFF00"/>
                </a:highlight>
                <a:latin typeface="Verdana" panose="020B0604030504040204" pitchFamily="34" charset="0"/>
              </a:rPr>
              <a:t>Mean &gt; Median &gt; Mode</a:t>
            </a:r>
          </a:p>
          <a:p>
            <a:pPr>
              <a:buClr>
                <a:schemeClr val="bg1"/>
              </a:buClr>
            </a:pPr>
            <a:endParaRPr lang="en-US" sz="1467" dirty="0">
              <a:solidFill>
                <a:schemeClr val="bg2">
                  <a:lumMod val="50000"/>
                  <a:lumOff val="50000"/>
                </a:schemeClr>
              </a:solidFill>
              <a:latin typeface="Verdana" panose="020B0604030504040204" pitchFamily="34" charset="0"/>
            </a:endParaRPr>
          </a:p>
          <a:p>
            <a:pPr>
              <a:buClr>
                <a:schemeClr val="bg1"/>
              </a:buClr>
            </a:pPr>
            <a:r>
              <a:rPr lang="en-US" sz="1467" b="1" dirty="0">
                <a:solidFill>
                  <a:schemeClr val="bg2">
                    <a:lumMod val="50000"/>
                    <a:lumOff val="50000"/>
                  </a:schemeClr>
                </a:solidFill>
                <a:latin typeface="Verdana" panose="020B0604030504040204" pitchFamily="34" charset="0"/>
              </a:rPr>
              <a:t>No Skew/ Normal distribution : </a:t>
            </a:r>
            <a:r>
              <a:rPr lang="en-US" sz="1467" dirty="0">
                <a:solidFill>
                  <a:schemeClr val="bg2">
                    <a:lumMod val="50000"/>
                    <a:lumOff val="50000"/>
                  </a:schemeClr>
                </a:solidFill>
                <a:latin typeface="Verdana" panose="020B0604030504040204" pitchFamily="34" charset="0"/>
              </a:rPr>
              <a:t>A </a:t>
            </a:r>
            <a:r>
              <a:rPr lang="en-US" sz="1467"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Normal Distribution</a:t>
            </a:r>
            <a:r>
              <a:rPr lang="en-US" sz="1467" dirty="0">
                <a:solidFill>
                  <a:schemeClr val="bg2">
                    <a:lumMod val="50000"/>
                    <a:lumOff val="50000"/>
                  </a:schemeClr>
                </a:solidFill>
                <a:latin typeface="Verdana" panose="020B0604030504040204" pitchFamily="34" charset="0"/>
              </a:rPr>
              <a:t> is not skewed. It is perfectly symmetrical. And the Mean is exactly at the peak.  </a:t>
            </a:r>
            <a:r>
              <a:rPr lang="en-US" sz="1467" b="1" dirty="0">
                <a:solidFill>
                  <a:schemeClr val="bg2">
                    <a:lumMod val="50000"/>
                    <a:lumOff val="50000"/>
                  </a:schemeClr>
                </a:solidFill>
                <a:highlight>
                  <a:srgbClr val="FFFF00"/>
                </a:highlight>
                <a:latin typeface="Verdana" panose="020B0604030504040204" pitchFamily="34" charset="0"/>
              </a:rPr>
              <a:t>Mean = Median = Mode</a:t>
            </a:r>
          </a:p>
        </p:txBody>
      </p:sp>
    </p:spTree>
    <p:extLst>
      <p:ext uri="{BB962C8B-B14F-4D97-AF65-F5344CB8AC3E}">
        <p14:creationId xmlns:p14="http://schemas.microsoft.com/office/powerpoint/2010/main" val="633646377"/>
      </p:ext>
    </p:extLst>
  </p:cSld>
  <p:clrMapOvr>
    <a:masterClrMapping/>
  </p:clrMapOvr>
  <p:transition spd="med">
    <p:wipe dir="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E2DA9-FC9E-43CF-BAE3-A7A2B4DFF999}"/>
              </a:ext>
            </a:extLst>
          </p:cNvPr>
          <p:cNvSpPr>
            <a:spLocks noGrp="1"/>
          </p:cNvSpPr>
          <p:nvPr>
            <p:ph type="title"/>
          </p:nvPr>
        </p:nvSpPr>
        <p:spPr>
          <a:xfrm>
            <a:off x="1" y="0"/>
            <a:ext cx="5726959" cy="853440"/>
          </a:xfrm>
        </p:spPr>
        <p:txBody>
          <a:bodyPr/>
          <a:lstStyle/>
          <a:p>
            <a:r>
              <a:rPr lang="en-US" dirty="0"/>
              <a:t>Skewness</a:t>
            </a:r>
          </a:p>
        </p:txBody>
      </p:sp>
      <p:sp>
        <p:nvSpPr>
          <p:cNvPr id="3" name="Content Placeholder 2">
            <a:extLst>
              <a:ext uri="{FF2B5EF4-FFF2-40B4-BE49-F238E27FC236}">
                <a16:creationId xmlns:a16="http://schemas.microsoft.com/office/drawing/2014/main" id="{1A728B14-3F80-43DF-8D1E-D9AD7B3827AB}"/>
              </a:ext>
            </a:extLst>
          </p:cNvPr>
          <p:cNvSpPr>
            <a:spLocks noGrp="1"/>
          </p:cNvSpPr>
          <p:nvPr>
            <p:ph sz="half" idx="13"/>
          </p:nvPr>
        </p:nvSpPr>
        <p:spPr>
          <a:xfrm>
            <a:off x="130272" y="980944"/>
            <a:ext cx="11193373" cy="4267200"/>
          </a:xfrm>
        </p:spPr>
        <p:txBody>
          <a:bodyPr/>
          <a:lstStyle/>
          <a:p>
            <a:pPr marL="0" indent="0">
              <a:buNone/>
            </a:pPr>
            <a:r>
              <a:rPr lang="en-US" sz="2400" b="1" i="1" dirty="0">
                <a:solidFill>
                  <a:schemeClr val="bg2">
                    <a:lumMod val="50000"/>
                    <a:lumOff val="50000"/>
                  </a:schemeClr>
                </a:solidFill>
                <a:latin typeface="Lato" panose="020F0502020204030203" pitchFamily="34" charset="0"/>
              </a:rPr>
              <a:t>Rule of Thumb</a:t>
            </a:r>
            <a:endParaRPr lang="en-US" b="1" i="1" dirty="0">
              <a:solidFill>
                <a:schemeClr val="bg2">
                  <a:lumMod val="50000"/>
                  <a:lumOff val="50000"/>
                </a:schemeClr>
              </a:solidFill>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0.5 &amp; 0.5, the data are nearly symmetrical.</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1 &amp; -0.5 (negative skewed) or between 0.5 &amp; 1(positive skewed), the data are slightly skewed.</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lower than -1 (negative skewed) or greater than 1 (positive skewed), the data are extremely skewed.</a:t>
            </a:r>
            <a:endParaRPr lang="en-US" b="0" i="0" dirty="0">
              <a:solidFill>
                <a:schemeClr val="bg2">
                  <a:lumMod val="50000"/>
                  <a:lumOff val="50000"/>
                </a:schemeClr>
              </a:solidFill>
              <a:effectLst/>
              <a:latin typeface="Lato" panose="020F0502020204030203" pitchFamily="34" charset="0"/>
            </a:endParaRPr>
          </a:p>
          <a:p>
            <a:endParaRPr lang="en-US" dirty="0"/>
          </a:p>
        </p:txBody>
      </p:sp>
      <p:pic>
        <p:nvPicPr>
          <p:cNvPr id="5" name="Picture 4">
            <a:extLst>
              <a:ext uri="{FF2B5EF4-FFF2-40B4-BE49-F238E27FC236}">
                <a16:creationId xmlns:a16="http://schemas.microsoft.com/office/drawing/2014/main" id="{C3E07149-6BD1-4596-AA71-BFF198CA823C}"/>
              </a:ext>
            </a:extLst>
          </p:cNvPr>
          <p:cNvPicPr>
            <a:picLocks noChangeAspect="1"/>
          </p:cNvPicPr>
          <p:nvPr/>
        </p:nvPicPr>
        <p:blipFill>
          <a:blip r:embed="rId2"/>
          <a:stretch>
            <a:fillRect/>
          </a:stretch>
        </p:blipFill>
        <p:spPr>
          <a:xfrm>
            <a:off x="3135262" y="3513993"/>
            <a:ext cx="5306069" cy="3296032"/>
          </a:xfrm>
          <a:prstGeom prst="rect">
            <a:avLst/>
          </a:prstGeom>
        </p:spPr>
      </p:pic>
    </p:spTree>
    <p:extLst>
      <p:ext uri="{BB962C8B-B14F-4D97-AF65-F5344CB8AC3E}">
        <p14:creationId xmlns:p14="http://schemas.microsoft.com/office/powerpoint/2010/main" val="2357723908"/>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922280354"/>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106888" y="195501"/>
            <a:ext cx="11408707" cy="853440"/>
          </a:xfrm>
        </p:spPr>
        <p:txBody>
          <a:bodyPr>
            <a:normAutofit fontScale="90000"/>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248847" y="1180786"/>
            <a:ext cx="11592423" cy="5040473"/>
          </a:xfrm>
        </p:spPr>
        <p:txBody>
          <a:bodyPr>
            <a:normAutofit/>
          </a:bodyPr>
          <a:lstStyle/>
          <a:p>
            <a:r>
              <a:rPr lang="en-US" sz="2400" dirty="0">
                <a:solidFill>
                  <a:schemeClr val="bg2">
                    <a:lumMod val="50000"/>
                    <a:lumOff val="50000"/>
                  </a:schemeClr>
                </a:solidFill>
              </a:rPr>
              <a:t>Sampling involves selecting units from a population of interest such that the sampling units </a:t>
            </a:r>
            <a:r>
              <a:rPr lang="en-US" sz="2400" b="1" dirty="0">
                <a:solidFill>
                  <a:schemeClr val="accent1"/>
                </a:solidFill>
              </a:rPr>
              <a:t>represent the whole population</a:t>
            </a:r>
            <a:r>
              <a:rPr lang="en-US" sz="2400" dirty="0">
                <a:solidFill>
                  <a:schemeClr val="bg2">
                    <a:lumMod val="50000"/>
                    <a:lumOff val="50000"/>
                  </a:schemeClr>
                </a:solidFill>
              </a:rPr>
              <a:t>. If sample is bias the resultant statistics can bias and will not be representative. </a:t>
            </a:r>
          </a:p>
          <a:p>
            <a:r>
              <a:rPr lang="en-US" sz="2400" dirty="0">
                <a:solidFill>
                  <a:schemeClr val="bg2">
                    <a:lumMod val="50000"/>
                    <a:lumOff val="50000"/>
                  </a:schemeClr>
                </a:solidFill>
              </a:rPr>
              <a:t>Random sampling is one such procedure that selects a sample of units from a population </a:t>
            </a:r>
            <a:r>
              <a:rPr lang="en-US" sz="2400" b="1" dirty="0">
                <a:solidFill>
                  <a:schemeClr val="accent1"/>
                </a:solidFill>
              </a:rPr>
              <a:t>by chance</a:t>
            </a:r>
            <a:r>
              <a:rPr lang="en-US" sz="2400" dirty="0">
                <a:solidFill>
                  <a:schemeClr val="bg2">
                    <a:lumMod val="50000"/>
                    <a:lumOff val="50000"/>
                  </a:schemeClr>
                </a:solidFill>
              </a:rPr>
              <a:t>, typically to </a:t>
            </a:r>
            <a:r>
              <a:rPr lang="en-US" sz="2400" b="1" dirty="0">
                <a:solidFill>
                  <a:schemeClr val="accent1"/>
                </a:solidFill>
              </a:rPr>
              <a:t>facilitate generalization </a:t>
            </a:r>
            <a:r>
              <a:rPr lang="en-US" sz="2400" dirty="0">
                <a:solidFill>
                  <a:schemeClr val="bg2">
                    <a:lumMod val="50000"/>
                    <a:lumOff val="50000"/>
                  </a:schemeClr>
                </a:solidFill>
              </a:rPr>
              <a:t>from the sample to the population. </a:t>
            </a:r>
          </a:p>
          <a:p>
            <a:r>
              <a:rPr lang="en-US" sz="2400" dirty="0">
                <a:solidFill>
                  <a:schemeClr val="bg2">
                    <a:lumMod val="50000"/>
                    <a:lumOff val="50000"/>
                  </a:schemeClr>
                </a:solidFill>
              </a:rPr>
              <a:t>Random sampling ensures that results obtained from your sample should approximate what would have been obtained </a:t>
            </a:r>
            <a:r>
              <a:rPr lang="en-US" sz="2400" b="1" dirty="0">
                <a:solidFill>
                  <a:schemeClr val="accent1"/>
                </a:solidFill>
              </a:rPr>
              <a:t>if the entire population had been measured</a:t>
            </a:r>
            <a:r>
              <a:rPr lang="en-US" sz="2400" dirty="0">
                <a:solidFill>
                  <a:schemeClr val="bg2">
                    <a:lumMod val="50000"/>
                    <a:lumOff val="50000"/>
                  </a:schemeClr>
                </a:solidFill>
              </a:rPr>
              <a:t>. The simplest random sample allows all the units in the population to have an </a:t>
            </a:r>
            <a:r>
              <a:rPr lang="en-US" sz="2400" b="1" dirty="0">
                <a:solidFill>
                  <a:schemeClr val="accent1"/>
                </a:solidFill>
              </a:rPr>
              <a:t>equal chance </a:t>
            </a:r>
            <a:r>
              <a:rPr lang="en-US" sz="2400" dirty="0">
                <a:solidFill>
                  <a:schemeClr val="bg2">
                    <a:lumMod val="50000"/>
                    <a:lumOff val="50000"/>
                  </a:schemeClr>
                </a:solidFill>
              </a:rPr>
              <a:t>of being selected. </a:t>
            </a:r>
            <a:r>
              <a:rPr lang="en-US" sz="2400" b="1" i="1" dirty="0">
                <a:solidFill>
                  <a:schemeClr val="bg2">
                    <a:lumMod val="50000"/>
                    <a:lumOff val="50000"/>
                  </a:schemeClr>
                </a:solidFill>
              </a:rPr>
              <a:t>Often in practice we rely on more complex sampling techniques.</a:t>
            </a:r>
          </a:p>
        </p:txBody>
      </p:sp>
    </p:spTree>
    <p:extLst>
      <p:ext uri="{BB962C8B-B14F-4D97-AF65-F5344CB8AC3E}">
        <p14:creationId xmlns:p14="http://schemas.microsoft.com/office/powerpoint/2010/main" val="3661297187"/>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30480"/>
            <a:ext cx="10607040" cy="853440"/>
          </a:xfrm>
        </p:spPr>
        <p:txBody>
          <a:bodyPr>
            <a:normAutofit fontScale="90000"/>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41191" y="697783"/>
            <a:ext cx="11471407" cy="5462435"/>
          </a:xfrm>
        </p:spPr>
        <p:txBody>
          <a:bodyPr>
            <a:normAutofit/>
          </a:bodyPr>
          <a:lstStyle/>
          <a:p>
            <a:pPr marL="0" indent="0">
              <a:buNone/>
            </a:pPr>
            <a:r>
              <a:rPr lang="en-US" sz="16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600" dirty="0">
                <a:solidFill>
                  <a:schemeClr val="bg2">
                    <a:lumMod val="50000"/>
                    <a:lumOff val="50000"/>
                  </a:schemeClr>
                </a:solidFill>
              </a:rPr>
              <a:t>Any pre-agreed sampling rules are deviated from</a:t>
            </a:r>
          </a:p>
          <a:p>
            <a:r>
              <a:rPr lang="en-US" sz="1600" dirty="0">
                <a:solidFill>
                  <a:schemeClr val="bg2">
                    <a:lumMod val="50000"/>
                    <a:lumOff val="50000"/>
                  </a:schemeClr>
                </a:solidFill>
              </a:rPr>
              <a:t>People in hard-to-reach groups are omitted</a:t>
            </a:r>
          </a:p>
          <a:p>
            <a:r>
              <a:rPr lang="en-US" sz="1600" dirty="0">
                <a:solidFill>
                  <a:schemeClr val="bg2">
                    <a:lumMod val="50000"/>
                    <a:lumOff val="50000"/>
                  </a:schemeClr>
                </a:solidFill>
              </a:rPr>
              <a:t>Selected individuals are replaced with others, for example if they are difficult to contact</a:t>
            </a:r>
          </a:p>
          <a:p>
            <a:r>
              <a:rPr lang="en-US" sz="1600" dirty="0">
                <a:solidFill>
                  <a:schemeClr val="bg2">
                    <a:lumMod val="50000"/>
                    <a:lumOff val="50000"/>
                  </a:schemeClr>
                </a:solidFill>
              </a:rPr>
              <a:t>There are low response rates</a:t>
            </a:r>
          </a:p>
          <a:p>
            <a:r>
              <a:rPr lang="en-US" sz="16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600" dirty="0">
              <a:solidFill>
                <a:schemeClr val="bg2">
                  <a:lumMod val="50000"/>
                  <a:lumOff val="50000"/>
                </a:schemeClr>
              </a:solidFill>
            </a:endParaRPr>
          </a:p>
          <a:p>
            <a:pPr marL="0" indent="0">
              <a:buNone/>
            </a:pPr>
            <a:r>
              <a:rPr lang="en-US" sz="2667" b="1" dirty="0">
                <a:solidFill>
                  <a:schemeClr val="accent1"/>
                </a:solidFill>
              </a:rPr>
              <a:t>Types of Sampling : </a:t>
            </a:r>
          </a:p>
          <a:p>
            <a:pPr marL="0" indent="0">
              <a:buNone/>
            </a:pPr>
            <a:r>
              <a:rPr lang="en-US" sz="1600" b="1" dirty="0">
                <a:solidFill>
                  <a:schemeClr val="accent1"/>
                </a:solidFill>
              </a:rPr>
              <a:t>Probability sampling </a:t>
            </a:r>
            <a:r>
              <a:rPr lang="en-US" sz="1600" dirty="0">
                <a:solidFill>
                  <a:schemeClr val="bg2">
                    <a:lumMod val="50000"/>
                    <a:lumOff val="50000"/>
                  </a:schemeClr>
                </a:solidFill>
              </a:rPr>
              <a:t>involves random selection, allowing you to make strong statistical inferences about the whole group.</a:t>
            </a:r>
          </a:p>
          <a:p>
            <a:pPr marL="0" indent="0">
              <a:buNone/>
            </a:pPr>
            <a:r>
              <a:rPr lang="en-US" sz="1600" b="1" dirty="0">
                <a:solidFill>
                  <a:schemeClr val="accent1"/>
                </a:solidFill>
              </a:rPr>
              <a:t>Non-probability</a:t>
            </a:r>
            <a:r>
              <a:rPr lang="en-US" sz="16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2133" b="1" dirty="0">
              <a:solidFill>
                <a:schemeClr val="accent1"/>
              </a:solidFill>
            </a:endParaRPr>
          </a:p>
          <a:p>
            <a:endParaRPr lang="en-US" dirty="0"/>
          </a:p>
        </p:txBody>
      </p:sp>
    </p:spTree>
    <p:extLst>
      <p:ext uri="{BB962C8B-B14F-4D97-AF65-F5344CB8AC3E}">
        <p14:creationId xmlns:p14="http://schemas.microsoft.com/office/powerpoint/2010/main" val="3121719466"/>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232148" y="938615"/>
            <a:ext cx="11592421" cy="5032124"/>
          </a:xfrm>
        </p:spPr>
        <p:txBody>
          <a:bodyPr>
            <a:normAutofit/>
          </a:bodyPr>
          <a:lstStyle/>
          <a:p>
            <a:pPr marL="0" indent="0">
              <a:buNone/>
            </a:pPr>
            <a:r>
              <a:rPr lang="en-US" sz="5867"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fter understanding Population and Sample it opens the gate to understand what is </a:t>
            </a:r>
            <a:r>
              <a:rPr lang="en-US" sz="5867"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nferential</a:t>
            </a:r>
            <a:r>
              <a:rPr lang="en-US" sz="5867"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 and </a:t>
            </a:r>
            <a:r>
              <a:rPr lang="en-US" sz="5867"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escriptive</a:t>
            </a:r>
            <a:r>
              <a:rPr lang="en-US" sz="5867"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p:spTree>
    <p:extLst>
      <p:ext uri="{BB962C8B-B14F-4D97-AF65-F5344CB8AC3E}">
        <p14:creationId xmlns:p14="http://schemas.microsoft.com/office/powerpoint/2010/main" val="2499727815"/>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365759" y="362515"/>
            <a:ext cx="10607040" cy="85344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365759" y="2020825"/>
            <a:ext cx="5120640" cy="2816351"/>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5852158" y="1215955"/>
            <a:ext cx="5880553" cy="5080461"/>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p:spTree>
    <p:extLst>
      <p:ext uri="{BB962C8B-B14F-4D97-AF65-F5344CB8AC3E}">
        <p14:creationId xmlns:p14="http://schemas.microsoft.com/office/powerpoint/2010/main" val="592860241"/>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111995"/>
            <a:ext cx="10607040" cy="85344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73485" y="1020757"/>
            <a:ext cx="11308497" cy="1625043"/>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867" dirty="0">
                <a:solidFill>
                  <a:schemeClr val="bg2">
                    <a:lumMod val="50000"/>
                    <a:lumOff val="50000"/>
                  </a:schemeClr>
                </a:solidFill>
              </a:rPr>
              <a:t>Measure of Central tendency</a:t>
            </a:r>
          </a:p>
          <a:p>
            <a:pPr lvl="1"/>
            <a:r>
              <a:rPr lang="en-US" sz="1867" dirty="0">
                <a:solidFill>
                  <a:schemeClr val="bg2">
                    <a:lumMod val="50000"/>
                    <a:lumOff val="50000"/>
                  </a:schemeClr>
                </a:solidFill>
              </a:rPr>
              <a:t>Measure of Variability</a:t>
            </a:r>
          </a:p>
          <a:p>
            <a:pPr lvl="1"/>
            <a:endParaRPr lang="en-US" sz="1867"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867"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4477090" y="2811607"/>
            <a:ext cx="6129951" cy="2234132"/>
          </a:xfrm>
          <a:prstGeom prst="rect">
            <a:avLst/>
          </a:prstGeom>
        </p:spPr>
      </p:pic>
      <p:sp>
        <p:nvSpPr>
          <p:cNvPr id="4" name="Rectangle 3">
            <a:extLst>
              <a:ext uri="{FF2B5EF4-FFF2-40B4-BE49-F238E27FC236}">
                <a16:creationId xmlns:a16="http://schemas.microsoft.com/office/drawing/2014/main" id="{E7D97A91-589E-4FF7-B191-1179B210D296}"/>
              </a:ext>
            </a:extLst>
          </p:cNvPr>
          <p:cNvSpPr/>
          <p:nvPr/>
        </p:nvSpPr>
        <p:spPr>
          <a:xfrm>
            <a:off x="8757763" y="4690662"/>
            <a:ext cx="735244" cy="223367"/>
          </a:xfrm>
          <a:prstGeom prst="rect">
            <a:avLst/>
          </a:prstGeom>
          <a:solidFill>
            <a:schemeClr val="tx2"/>
          </a:solidFill>
          <a:ln w="12700" cmpd="sng">
            <a:noFill/>
          </a:ln>
          <a:effectLst/>
        </p:spPr>
        <p:txBody>
          <a:bodyPr wrap="square" lIns="243840" tIns="182880" rIns="182880" bIns="182880" rtlCol="0" anchor="ctr">
            <a:noAutofit/>
          </a:bodyPr>
          <a:lstStyle/>
          <a:p>
            <a:pPr algn="ctr">
              <a:lnSpc>
                <a:spcPct val="90000"/>
              </a:lnSpc>
              <a:spcBef>
                <a:spcPts val="800"/>
              </a:spcBef>
            </a:pPr>
            <a:endParaRPr lang="en-US" sz="2667" dirty="0">
              <a:solidFill>
                <a:schemeClr val="tx2"/>
              </a:solidFill>
            </a:endParaRPr>
          </a:p>
        </p:txBody>
      </p:sp>
      <p:sp>
        <p:nvSpPr>
          <p:cNvPr id="5" name="TextBox 4">
            <a:extLst>
              <a:ext uri="{FF2B5EF4-FFF2-40B4-BE49-F238E27FC236}">
                <a16:creationId xmlns:a16="http://schemas.microsoft.com/office/drawing/2014/main" id="{2717AC45-F872-450C-BBDC-D605C3F757A6}"/>
              </a:ext>
            </a:extLst>
          </p:cNvPr>
          <p:cNvSpPr txBox="1"/>
          <p:nvPr/>
        </p:nvSpPr>
        <p:spPr>
          <a:xfrm>
            <a:off x="8646081" y="4595992"/>
            <a:ext cx="1693851" cy="605422"/>
          </a:xfrm>
          <a:prstGeom prst="rect">
            <a:avLst/>
          </a:prstGeom>
          <a:noFill/>
        </p:spPr>
        <p:txBody>
          <a:bodyPr wrap="square" rtlCol="0">
            <a:spAutoFit/>
          </a:bodyPr>
          <a:lstStyle/>
          <a:p>
            <a:pPr>
              <a:buClr>
                <a:schemeClr val="bg1"/>
              </a:buClr>
            </a:pPr>
            <a:r>
              <a:rPr lang="en-US" sz="1467" b="1" dirty="0">
                <a:solidFill>
                  <a:schemeClr val="accent2">
                    <a:lumMod val="75000"/>
                  </a:schemeClr>
                </a:solidFill>
              </a:rPr>
              <a:t>Variance</a:t>
            </a:r>
          </a:p>
          <a:p>
            <a:pPr>
              <a:buClr>
                <a:schemeClr val="bg1"/>
              </a:buClr>
            </a:pPr>
            <a:endParaRPr lang="en-US" sz="1867" dirty="0" err="1">
              <a:solidFill>
                <a:schemeClr val="bg2"/>
              </a:solidFill>
            </a:endParaRPr>
          </a:p>
        </p:txBody>
      </p:sp>
    </p:spTree>
    <p:extLst>
      <p:ext uri="{BB962C8B-B14F-4D97-AF65-F5344CB8AC3E}">
        <p14:creationId xmlns:p14="http://schemas.microsoft.com/office/powerpoint/2010/main" val="999464151"/>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123589" y="120345"/>
            <a:ext cx="10607040" cy="853440"/>
          </a:xfrm>
        </p:spPr>
        <p:txBody>
          <a:bodyPr>
            <a:normAutofit fontScale="90000"/>
          </a:bodyPr>
          <a:lstStyle/>
          <a:p>
            <a:r>
              <a:rPr lang="en-US" dirty="0"/>
              <a:t>Descriptive Statistics – Example</a:t>
            </a:r>
            <a:br>
              <a:rPr lang="en-US" dirty="0"/>
            </a:br>
            <a:r>
              <a:rPr lang="en-US" sz="1867" dirty="0">
                <a:solidFill>
                  <a:schemeClr val="bg2">
                    <a:lumMod val="50000"/>
                    <a:lumOff val="50000"/>
                  </a:schemeClr>
                </a:solidFill>
                <a:latin typeface="Raleway" panose="020B0604020202020204" pitchFamily="2" charset="0"/>
              </a:rPr>
              <a:t>You’ve performed a survey to 40 respondents about their favorite car color. And now you have a spreadsheet with the results.</a:t>
            </a:r>
            <a:endParaRPr lang="en-US" sz="1867"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6623469" y="1335201"/>
            <a:ext cx="5093049" cy="5160284"/>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1" y="1759471"/>
            <a:ext cx="5448300" cy="3873500"/>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5568534" y="3429001"/>
            <a:ext cx="627676" cy="303756"/>
          </a:xfrm>
          <a:prstGeom prst="rightArrow">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50312" y="5761973"/>
            <a:ext cx="5878883" cy="379656"/>
          </a:xfrm>
          <a:prstGeom prst="rect">
            <a:avLst/>
          </a:prstGeom>
          <a:noFill/>
        </p:spPr>
        <p:txBody>
          <a:bodyPr wrap="square" rtlCol="0">
            <a:spAutoFit/>
          </a:bodyPr>
          <a:lstStyle/>
          <a:p>
            <a:pPr>
              <a:buClr>
                <a:schemeClr val="bg1"/>
              </a:buClr>
            </a:pPr>
            <a:r>
              <a:rPr lang="en-US" sz="1867" b="1" i="1" dirty="0">
                <a:solidFill>
                  <a:schemeClr val="bg2">
                    <a:lumMod val="50000"/>
                    <a:lumOff val="50000"/>
                  </a:schemeClr>
                </a:solidFill>
              </a:rPr>
              <a:t>Descriptive statistics simply describes the data</a:t>
            </a:r>
          </a:p>
        </p:txBody>
      </p:sp>
    </p:spTree>
    <p:extLst>
      <p:ext uri="{BB962C8B-B14F-4D97-AF65-F5344CB8AC3E}">
        <p14:creationId xmlns:p14="http://schemas.microsoft.com/office/powerpoint/2010/main" val="889781105"/>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257385" y="366209"/>
            <a:ext cx="10607040" cy="85344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124640" y="1094389"/>
            <a:ext cx="11443149" cy="3232688"/>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488577" y="4452338"/>
            <a:ext cx="11214847" cy="865173"/>
          </a:xfrm>
          <a:prstGeom prst="rect">
            <a:avLst/>
          </a:prstGeom>
          <a:noFill/>
        </p:spPr>
        <p:txBody>
          <a:bodyPr wrap="square" rtlCol="0">
            <a:spAutoFit/>
          </a:bodyPr>
          <a:lstStyle/>
          <a:p>
            <a:pPr>
              <a:lnSpc>
                <a:spcPct val="107000"/>
              </a:lnSpc>
              <a:spcAft>
                <a:spcPts val="1067"/>
              </a:spcAft>
            </a:pPr>
            <a:r>
              <a:rPr lang="en-US" sz="2400" dirty="0">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sz="2400" b="1" i="1" dirty="0">
                <a:latin typeface="Calibri" panose="020F0502020204030204" pitchFamily="34" charset="0"/>
                <a:ea typeface="DengXian" panose="02010600030101010101" pitchFamily="2" charset="-122"/>
                <a:cs typeface="Times New Roman" panose="02020603050405020304" pitchFamily="18" charset="0"/>
              </a:rPr>
              <a:t>raw numerical data </a:t>
            </a:r>
            <a:r>
              <a:rPr lang="en-US" sz="2400" dirty="0">
                <a:latin typeface="Calibri" panose="020F0502020204030204" pitchFamily="34" charset="0"/>
                <a:ea typeface="DengXian" panose="02010600030101010101" pitchFamily="2" charset="-122"/>
                <a:cs typeface="Times New Roman" panose="02020603050405020304" pitchFamily="18" charset="0"/>
              </a:rPr>
              <a:t>into </a:t>
            </a:r>
            <a:r>
              <a:rPr lang="en-US" sz="2400" b="1" i="1" dirty="0">
                <a:latin typeface="Calibri" panose="020F0502020204030204" pitchFamily="34" charset="0"/>
                <a:ea typeface="DengXian" panose="02010600030101010101" pitchFamily="2" charset="-122"/>
                <a:cs typeface="Times New Roman" panose="02020603050405020304" pitchFamily="18" charset="0"/>
              </a:rPr>
              <a:t>useful information </a:t>
            </a:r>
            <a:r>
              <a:rPr lang="en-US" sz="2400" dirty="0">
                <a:latin typeface="Calibri" panose="020F0502020204030204" pitchFamily="34" charset="0"/>
                <a:ea typeface="DengXian" panose="02010600030101010101" pitchFamily="2" charset="-122"/>
                <a:cs typeface="Times New Roman" panose="02020603050405020304" pitchFamily="18" charset="0"/>
              </a:rPr>
              <a:t>for relevant users. </a:t>
            </a:r>
          </a:p>
        </p:txBody>
      </p:sp>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30480"/>
            <a:ext cx="11751085" cy="853440"/>
          </a:xfrm>
        </p:spPr>
        <p:txBody>
          <a:bodyPr>
            <a:normAutofit fontScale="90000"/>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p:spTree>
    <p:extLst>
      <p:ext uri="{BB962C8B-B14F-4D97-AF65-F5344CB8AC3E}">
        <p14:creationId xmlns:p14="http://schemas.microsoft.com/office/powerpoint/2010/main" val="1717064405"/>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10607040" cy="853440"/>
          </a:xfrm>
        </p:spPr>
        <p:txBody>
          <a:bodyPr>
            <a:normAutofit fontScale="90000"/>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1227857"/>
            <a:ext cx="12192000" cy="2019728"/>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65148" y="3622003"/>
            <a:ext cx="11186859" cy="2267031"/>
          </a:xfrm>
          <a:prstGeom prst="rect">
            <a:avLst/>
          </a:prstGeom>
          <a:noFill/>
        </p:spPr>
        <p:txBody>
          <a:bodyPr wrap="square" rtlCol="0">
            <a:spAutoFit/>
          </a:bodyPr>
          <a:lstStyle/>
          <a:p>
            <a:pPr algn="l"/>
            <a:r>
              <a:rPr lang="en-US" sz="1467" b="1" dirty="0">
                <a:solidFill>
                  <a:srgbClr val="000000"/>
                </a:solidFill>
                <a:latin typeface="Open Sans" panose="020B0606030504020204" pitchFamily="34" charset="0"/>
              </a:rPr>
              <a:t>Importance of the Control Variables</a:t>
            </a:r>
          </a:p>
          <a:p>
            <a:pPr algn="l"/>
            <a:endParaRPr lang="en-US" sz="1467" dirty="0">
              <a:solidFill>
                <a:srgbClr val="000000"/>
              </a:solidFill>
              <a:latin typeface="Open Sans" panose="020B0606030504020204" pitchFamily="34" charset="0"/>
            </a:endParaRPr>
          </a:p>
          <a:p>
            <a:pPr marL="228594" indent="-228594">
              <a:buFont typeface="Arial" panose="020B0604020202020204" pitchFamily="34" charset="0"/>
              <a:buChar char="•"/>
            </a:pPr>
            <a:r>
              <a:rPr lang="en-US" sz="1333" dirty="0">
                <a:solidFill>
                  <a:schemeClr val="bg2">
                    <a:lumMod val="50000"/>
                    <a:lumOff val="50000"/>
                  </a:schemeClr>
                </a:solidFill>
              </a:rPr>
              <a:t>Although control variables may not be measured as they are not recorded, yet they can have a significant effect on the outcome of an experiment.</a:t>
            </a:r>
          </a:p>
          <a:p>
            <a:pPr marL="228594" indent="-228594">
              <a:buFont typeface="Arial" panose="020B0604020202020204" pitchFamily="34" charset="0"/>
              <a:buChar char="•"/>
            </a:pPr>
            <a:r>
              <a:rPr lang="en-US" sz="1333" dirty="0">
                <a:solidFill>
                  <a:schemeClr val="bg2">
                    <a:lumMod val="50000"/>
                    <a:lumOff val="50000"/>
                  </a:schemeClr>
                </a:solidFill>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228594" indent="-228594">
              <a:buFont typeface="Arial" panose="020B0604020202020204" pitchFamily="34" charset="0"/>
              <a:buChar char="•"/>
            </a:pPr>
            <a:r>
              <a:rPr lang="en-US" sz="1333" dirty="0">
                <a:solidFill>
                  <a:schemeClr val="bg2">
                    <a:lumMod val="50000"/>
                    <a:lumOff val="50000"/>
                  </a:schemeClr>
                </a:solidFill>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228594" indent="-228594">
              <a:buFont typeface="Arial" panose="020B0604020202020204" pitchFamily="34" charset="0"/>
              <a:buChar char="•"/>
            </a:pPr>
            <a:r>
              <a:rPr lang="en-US" sz="1333" dirty="0">
                <a:solidFill>
                  <a:schemeClr val="bg2">
                    <a:lumMod val="50000"/>
                    <a:lumOff val="50000"/>
                  </a:schemeClr>
                </a:solidFill>
              </a:rPr>
              <a:t>If we don’t control the amount of light, for example, we perform some part of the experiment in the summer and some part during the winter, we may skew our results.</a:t>
            </a:r>
          </a:p>
          <a:p>
            <a:pPr>
              <a:buClr>
                <a:schemeClr val="bg1"/>
              </a:buClr>
            </a:pPr>
            <a:endParaRPr lang="en-US" sz="1867" dirty="0" err="1">
              <a:solidFill>
                <a:schemeClr val="bg2"/>
              </a:solidFill>
            </a:endParaRPr>
          </a:p>
        </p:txBody>
      </p:sp>
    </p:spTree>
    <p:extLst>
      <p:ext uri="{BB962C8B-B14F-4D97-AF65-F5344CB8AC3E}">
        <p14:creationId xmlns:p14="http://schemas.microsoft.com/office/powerpoint/2010/main" val="2513017721"/>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F0AD-7FFD-4732-86A0-DD18718379E4}"/>
              </a:ext>
            </a:extLst>
          </p:cNvPr>
          <p:cNvSpPr>
            <a:spLocks noGrp="1"/>
          </p:cNvSpPr>
          <p:nvPr>
            <p:ph type="title"/>
          </p:nvPr>
        </p:nvSpPr>
        <p:spPr>
          <a:xfrm>
            <a:off x="182880" y="30480"/>
            <a:ext cx="10607040" cy="853440"/>
          </a:xfrm>
        </p:spPr>
        <p:txBody>
          <a:bodyPr/>
          <a:lstStyle/>
          <a:p>
            <a:r>
              <a:rPr lang="en-US" dirty="0"/>
              <a:t>Types of Statistical Studies</a:t>
            </a:r>
          </a:p>
        </p:txBody>
      </p:sp>
      <p:sp>
        <p:nvSpPr>
          <p:cNvPr id="3" name="Content Placeholder 2">
            <a:extLst>
              <a:ext uri="{FF2B5EF4-FFF2-40B4-BE49-F238E27FC236}">
                <a16:creationId xmlns:a16="http://schemas.microsoft.com/office/drawing/2014/main" id="{51EABE99-0FF9-42EC-AD6B-E1B530304558}"/>
              </a:ext>
            </a:extLst>
          </p:cNvPr>
          <p:cNvSpPr>
            <a:spLocks noGrp="1"/>
          </p:cNvSpPr>
          <p:nvPr>
            <p:ph sz="half" idx="13"/>
          </p:nvPr>
        </p:nvSpPr>
        <p:spPr>
          <a:xfrm>
            <a:off x="324006" y="1295400"/>
            <a:ext cx="11124783" cy="4267200"/>
          </a:xfrm>
        </p:spPr>
        <p:txBody>
          <a:bodyPr/>
          <a:lstStyle/>
          <a:p>
            <a:r>
              <a:rPr lang="en-US" dirty="0">
                <a:solidFill>
                  <a:schemeClr val="bg2">
                    <a:lumMod val="50000"/>
                    <a:lumOff val="50000"/>
                  </a:schemeClr>
                </a:solidFill>
              </a:rPr>
              <a:t>When we talk about using data to learn something about the world, we are usually talking about performing a study or an experiment </a:t>
            </a:r>
          </a:p>
          <a:p>
            <a:r>
              <a:rPr lang="en-US" dirty="0">
                <a:solidFill>
                  <a:schemeClr val="bg2">
                    <a:lumMod val="50000"/>
                    <a:lumOff val="50000"/>
                  </a:schemeClr>
                </a:solidFill>
              </a:rPr>
              <a:t>In general, there are two types of statistical studies: </a:t>
            </a:r>
            <a:r>
              <a:rPr lang="en-US" b="1" dirty="0">
                <a:solidFill>
                  <a:schemeClr val="accent1"/>
                </a:solidFill>
              </a:rPr>
              <a:t>Observational studies </a:t>
            </a:r>
            <a:r>
              <a:rPr lang="en-US" dirty="0">
                <a:solidFill>
                  <a:schemeClr val="bg2">
                    <a:lumMod val="50000"/>
                    <a:lumOff val="50000"/>
                  </a:schemeClr>
                </a:solidFill>
              </a:rPr>
              <a:t>and</a:t>
            </a:r>
            <a:r>
              <a:rPr lang="en-US" dirty="0"/>
              <a:t> </a:t>
            </a:r>
            <a:r>
              <a:rPr lang="en-US" b="1" dirty="0">
                <a:solidFill>
                  <a:schemeClr val="accent1"/>
                </a:solidFill>
              </a:rPr>
              <a:t>Experiments</a:t>
            </a:r>
          </a:p>
        </p:txBody>
      </p:sp>
      <p:sp>
        <p:nvSpPr>
          <p:cNvPr id="5" name="Oval 4">
            <a:extLst>
              <a:ext uri="{FF2B5EF4-FFF2-40B4-BE49-F238E27FC236}">
                <a16:creationId xmlns:a16="http://schemas.microsoft.com/office/drawing/2014/main" id="{C10FF536-7FE0-4E2C-8F4A-A9E4EAE14BC5}"/>
              </a:ext>
            </a:extLst>
          </p:cNvPr>
          <p:cNvSpPr/>
          <p:nvPr/>
        </p:nvSpPr>
        <p:spPr>
          <a:xfrm>
            <a:off x="1260955" y="4477011"/>
            <a:ext cx="3686549" cy="1085589"/>
          </a:xfrm>
          <a:prstGeom prst="ellipse">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r>
              <a:rPr lang="en-US" sz="2667" dirty="0">
                <a:solidFill>
                  <a:schemeClr val="tx2"/>
                </a:solidFill>
              </a:rPr>
              <a:t>Observational</a:t>
            </a:r>
          </a:p>
          <a:p>
            <a:pPr algn="ctr">
              <a:lnSpc>
                <a:spcPct val="90000"/>
              </a:lnSpc>
              <a:spcBef>
                <a:spcPts val="800"/>
              </a:spcBef>
            </a:pPr>
            <a:r>
              <a:rPr lang="en-US" sz="2667" dirty="0">
                <a:solidFill>
                  <a:schemeClr val="tx2"/>
                </a:solidFill>
              </a:rPr>
              <a:t>Study</a:t>
            </a:r>
          </a:p>
        </p:txBody>
      </p:sp>
      <p:sp>
        <p:nvSpPr>
          <p:cNvPr id="6" name="Oval 5">
            <a:extLst>
              <a:ext uri="{FF2B5EF4-FFF2-40B4-BE49-F238E27FC236}">
                <a16:creationId xmlns:a16="http://schemas.microsoft.com/office/drawing/2014/main" id="{EF6BB1B6-3440-4E16-AA74-7538562431A4}"/>
              </a:ext>
            </a:extLst>
          </p:cNvPr>
          <p:cNvSpPr/>
          <p:nvPr/>
        </p:nvSpPr>
        <p:spPr>
          <a:xfrm>
            <a:off x="6334274" y="4493712"/>
            <a:ext cx="3394273" cy="1085589"/>
          </a:xfrm>
          <a:prstGeom prst="ellipse">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r>
              <a:rPr lang="en-US" sz="2667" dirty="0">
                <a:solidFill>
                  <a:schemeClr val="tx2"/>
                </a:solidFill>
              </a:rPr>
              <a:t>Experiments</a:t>
            </a:r>
          </a:p>
        </p:txBody>
      </p:sp>
      <p:sp>
        <p:nvSpPr>
          <p:cNvPr id="7" name="Rectangle: Rounded Corners 6">
            <a:extLst>
              <a:ext uri="{FF2B5EF4-FFF2-40B4-BE49-F238E27FC236}">
                <a16:creationId xmlns:a16="http://schemas.microsoft.com/office/drawing/2014/main" id="{BAAEBE95-2F1B-4168-94E4-96BB97737860}"/>
              </a:ext>
            </a:extLst>
          </p:cNvPr>
          <p:cNvSpPr/>
          <p:nvPr/>
        </p:nvSpPr>
        <p:spPr>
          <a:xfrm>
            <a:off x="4162816" y="2666166"/>
            <a:ext cx="2647168" cy="824421"/>
          </a:xfrm>
          <a:prstGeom prst="round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r>
              <a:rPr lang="en-US" sz="2667" dirty="0">
                <a:solidFill>
                  <a:schemeClr val="tx2"/>
                </a:solidFill>
              </a:rPr>
              <a:t>Statistical Studies</a:t>
            </a:r>
          </a:p>
        </p:txBody>
      </p:sp>
      <p:cxnSp>
        <p:nvCxnSpPr>
          <p:cNvPr id="9" name="Straight Arrow Connector 8">
            <a:extLst>
              <a:ext uri="{FF2B5EF4-FFF2-40B4-BE49-F238E27FC236}">
                <a16:creationId xmlns:a16="http://schemas.microsoft.com/office/drawing/2014/main" id="{C0ACEFDC-C19C-4513-8D70-A2B3D29D65B0}"/>
              </a:ext>
            </a:extLst>
          </p:cNvPr>
          <p:cNvCxnSpPr>
            <a:cxnSpLocks/>
            <a:endCxn id="5" idx="0"/>
          </p:cNvCxnSpPr>
          <p:nvPr/>
        </p:nvCxnSpPr>
        <p:spPr>
          <a:xfrm flipH="1">
            <a:off x="3104229" y="3498938"/>
            <a:ext cx="2382171" cy="978073"/>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3CFE5AD-4E34-4C2A-9489-63A58828807D}"/>
              </a:ext>
            </a:extLst>
          </p:cNvPr>
          <p:cNvCxnSpPr>
            <a:stCxn id="7" idx="2"/>
            <a:endCxn id="6" idx="0"/>
          </p:cNvCxnSpPr>
          <p:nvPr/>
        </p:nvCxnSpPr>
        <p:spPr>
          <a:xfrm>
            <a:off x="5486400" y="3490587"/>
            <a:ext cx="2545011" cy="100312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9397678"/>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CE8DB-7C7A-4DDC-A4AF-37EFDD4F3167}"/>
              </a:ext>
            </a:extLst>
          </p:cNvPr>
          <p:cNvSpPr>
            <a:spLocks noGrp="1"/>
          </p:cNvSpPr>
          <p:nvPr>
            <p:ph type="title"/>
          </p:nvPr>
        </p:nvSpPr>
        <p:spPr>
          <a:xfrm>
            <a:off x="2503" y="30480"/>
            <a:ext cx="11951501" cy="853440"/>
          </a:xfrm>
        </p:spPr>
        <p:txBody>
          <a:bodyPr>
            <a:normAutofit fontScale="90000"/>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pic>
        <p:nvPicPr>
          <p:cNvPr id="8" name="Picture 7">
            <a:extLst>
              <a:ext uri="{FF2B5EF4-FFF2-40B4-BE49-F238E27FC236}">
                <a16:creationId xmlns:a16="http://schemas.microsoft.com/office/drawing/2014/main" id="{7A762CF4-1B9D-4987-8C10-992B4959F552}"/>
              </a:ext>
            </a:extLst>
          </p:cNvPr>
          <p:cNvPicPr>
            <a:picLocks noChangeAspect="1"/>
          </p:cNvPicPr>
          <p:nvPr/>
        </p:nvPicPr>
        <p:blipFill>
          <a:blip r:embed="rId2"/>
          <a:stretch>
            <a:fillRect/>
          </a:stretch>
        </p:blipFill>
        <p:spPr>
          <a:xfrm>
            <a:off x="7663328" y="1796441"/>
            <a:ext cx="4528673" cy="2871592"/>
          </a:xfrm>
          <a:prstGeom prst="rect">
            <a:avLst/>
          </a:prstGeom>
        </p:spPr>
      </p:pic>
      <p:sp>
        <p:nvSpPr>
          <p:cNvPr id="10" name="Content Placeholder 9">
            <a:extLst>
              <a:ext uri="{FF2B5EF4-FFF2-40B4-BE49-F238E27FC236}">
                <a16:creationId xmlns:a16="http://schemas.microsoft.com/office/drawing/2014/main" id="{78499D2F-5C34-4281-8B7C-D04161065915}"/>
              </a:ext>
            </a:extLst>
          </p:cNvPr>
          <p:cNvSpPr>
            <a:spLocks noGrp="1"/>
          </p:cNvSpPr>
          <p:nvPr>
            <p:ph sz="half" idx="13"/>
          </p:nvPr>
        </p:nvSpPr>
        <p:spPr>
          <a:xfrm>
            <a:off x="-1" y="1295400"/>
            <a:ext cx="7465513" cy="4267200"/>
          </a:xfrm>
        </p:spPr>
        <p:txBody>
          <a:bodyPr/>
          <a:lstStyle/>
          <a:p>
            <a:pPr marL="0" indent="0">
              <a:buNone/>
            </a:pPr>
            <a:r>
              <a:rPr lang="en-US" sz="1600" b="1" i="1" dirty="0">
                <a:solidFill>
                  <a:schemeClr val="bg2">
                    <a:lumMod val="50000"/>
                    <a:lumOff val="50000"/>
                  </a:schemeClr>
                </a:solidFill>
              </a:rPr>
              <a:t>Many students listen to music while studying. Does listening to music improve learning? Students in a statistics class decide to investigate this question. </a:t>
            </a:r>
          </a:p>
          <a:p>
            <a:pPr marL="0" indent="0">
              <a:buNone/>
            </a:pPr>
            <a:r>
              <a:rPr lang="en-US" sz="1600" b="1" i="1" dirty="0">
                <a:solidFill>
                  <a:schemeClr val="accent1"/>
                </a:solidFill>
              </a:rPr>
              <a:t>Study 1 : </a:t>
            </a:r>
          </a:p>
          <a:p>
            <a:pPr marL="0" indent="0">
              <a:buNone/>
            </a:pPr>
            <a:r>
              <a:rPr lang="en-US" sz="1600" i="1" dirty="0">
                <a:solidFill>
                  <a:schemeClr val="bg2">
                    <a:lumMod val="50000"/>
                    <a:lumOff val="50000"/>
                  </a:schemeClr>
                </a:solidFill>
              </a:rPr>
              <a:t>Do the majority of college students listen to music while they study? Do the majority of college students believe that listening to music improves their learning?</a:t>
            </a:r>
          </a:p>
          <a:p>
            <a:pPr marL="0" indent="0">
              <a:buNone/>
            </a:pPr>
            <a:r>
              <a:rPr lang="en-US" sz="1600" i="1" dirty="0">
                <a:solidFill>
                  <a:schemeClr val="accent1"/>
                </a:solidFill>
              </a:rPr>
              <a:t>Survey Questions : Sent to all the students</a:t>
            </a:r>
          </a:p>
          <a:p>
            <a:pPr marL="0" indent="0">
              <a:buNone/>
            </a:pPr>
            <a:r>
              <a:rPr lang="en-US" sz="1600" i="1" dirty="0">
                <a:solidFill>
                  <a:schemeClr val="bg2">
                    <a:lumMod val="50000"/>
                    <a:lumOff val="50000"/>
                  </a:schemeClr>
                </a:solidFill>
              </a:rPr>
              <a:t>Do you listen to music while you study?</a:t>
            </a:r>
          </a:p>
          <a:p>
            <a:pPr marL="0" indent="0">
              <a:buNone/>
            </a:pPr>
            <a:r>
              <a:rPr lang="en-US" sz="1600" i="1" dirty="0">
                <a:solidFill>
                  <a:schemeClr val="bg2">
                    <a:lumMod val="50000"/>
                    <a:lumOff val="50000"/>
                  </a:schemeClr>
                </a:solidFill>
              </a:rPr>
              <a:t>Do you think listening to music improves your concentration and memory?</a:t>
            </a:r>
          </a:p>
          <a:p>
            <a:pPr marL="0" indent="0">
              <a:buNone/>
            </a:pPr>
            <a:endParaRPr lang="en-US" sz="1600" b="1" i="1" dirty="0">
              <a:solidFill>
                <a:schemeClr val="bg2">
                  <a:lumMod val="50000"/>
                  <a:lumOff val="50000"/>
                </a:schemeClr>
              </a:solidFill>
            </a:endParaRPr>
          </a:p>
        </p:txBody>
      </p:sp>
    </p:spTree>
    <p:extLst>
      <p:ext uri="{BB962C8B-B14F-4D97-AF65-F5344CB8AC3E}">
        <p14:creationId xmlns:p14="http://schemas.microsoft.com/office/powerpoint/2010/main" val="647538906"/>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18BCBB9-C3AC-40C5-95B3-3E911B1A5E73}"/>
              </a:ext>
            </a:extLst>
          </p:cNvPr>
          <p:cNvSpPr>
            <a:spLocks noGrp="1"/>
          </p:cNvSpPr>
          <p:nvPr>
            <p:ph type="title"/>
          </p:nvPr>
        </p:nvSpPr>
        <p:spPr>
          <a:xfrm>
            <a:off x="0" y="0"/>
            <a:ext cx="11951501" cy="853440"/>
          </a:xfrm>
        </p:spPr>
        <p:txBody>
          <a:bodyPr>
            <a:normAutofit fontScale="90000"/>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8" name="TextBox 7">
            <a:extLst>
              <a:ext uri="{FF2B5EF4-FFF2-40B4-BE49-F238E27FC236}">
                <a16:creationId xmlns:a16="http://schemas.microsoft.com/office/drawing/2014/main" id="{39BACF91-6D93-4CB5-9A9C-CEEF211954A4}"/>
              </a:ext>
            </a:extLst>
          </p:cNvPr>
          <p:cNvSpPr txBox="1"/>
          <p:nvPr/>
        </p:nvSpPr>
        <p:spPr>
          <a:xfrm>
            <a:off x="-91858" y="1587288"/>
            <a:ext cx="7665929" cy="3252109"/>
          </a:xfrm>
          <a:prstGeom prst="rect">
            <a:avLst/>
          </a:prstGeom>
          <a:noFill/>
        </p:spPr>
        <p:txBody>
          <a:bodyPr wrap="square" rtlCol="0">
            <a:spAutoFit/>
          </a:bodyPr>
          <a:lstStyle/>
          <a:p>
            <a:r>
              <a:rPr lang="en-US" sz="1867" b="1" i="1" dirty="0">
                <a:solidFill>
                  <a:schemeClr val="accent1"/>
                </a:solidFill>
              </a:rPr>
              <a:t>Study 2 : </a:t>
            </a:r>
          </a:p>
          <a:p>
            <a:r>
              <a:rPr lang="en-US" sz="1867" i="1" dirty="0">
                <a:solidFill>
                  <a:schemeClr val="bg2">
                    <a:lumMod val="50000"/>
                    <a:lumOff val="50000"/>
                  </a:schemeClr>
                </a:solidFill>
              </a:rPr>
              <a:t>When we compare students who study with music to students who study in a quiet environment, which group gives higher ratings for understanding what they studied?</a:t>
            </a:r>
          </a:p>
          <a:p>
            <a:endParaRPr lang="en-US" sz="1867" i="1" dirty="0">
              <a:solidFill>
                <a:schemeClr val="bg2">
                  <a:lumMod val="50000"/>
                  <a:lumOff val="50000"/>
                </a:schemeClr>
              </a:solidFill>
            </a:endParaRPr>
          </a:p>
          <a:p>
            <a:r>
              <a:rPr lang="en-US" sz="1333" dirty="0">
                <a:solidFill>
                  <a:schemeClr val="bg2">
                    <a:lumMod val="50000"/>
                    <a:lumOff val="50000"/>
                  </a:schemeClr>
                </a:solidFill>
              </a:rPr>
              <a:t>To investigate this question, the instructor divides the class into two groups: (1) those who listen to music when they study and (2) those who do not listen to music when they study. The students keep a journal for a week. Each time they study, they record the following information:</a:t>
            </a:r>
          </a:p>
          <a:p>
            <a:endParaRPr lang="en-US" sz="1333" dirty="0">
              <a:solidFill>
                <a:schemeClr val="bg2">
                  <a:lumMod val="50000"/>
                  <a:lumOff val="50000"/>
                </a:schemeClr>
              </a:solidFill>
            </a:endParaRPr>
          </a:p>
          <a:p>
            <a:pPr algn="l" fontAlgn="base">
              <a:buFont typeface="Arial" panose="020B0604020202020204" pitchFamily="34" charset="0"/>
              <a:buChar char="•"/>
            </a:pPr>
            <a:r>
              <a:rPr lang="en-US" sz="1333" dirty="0">
                <a:solidFill>
                  <a:schemeClr val="bg2">
                    <a:lumMod val="50000"/>
                    <a:lumOff val="50000"/>
                  </a:schemeClr>
                </a:solidFill>
              </a:rPr>
              <a:t> Length of study session (in minutes)</a:t>
            </a:r>
          </a:p>
          <a:p>
            <a:pPr algn="l" fontAlgn="base">
              <a:buFont typeface="Arial" panose="020B0604020202020204" pitchFamily="34" charset="0"/>
              <a:buChar char="•"/>
            </a:pPr>
            <a:r>
              <a:rPr lang="en-US" sz="1333" dirty="0">
                <a:solidFill>
                  <a:schemeClr val="bg2">
                    <a:lumMod val="50000"/>
                    <a:lumOff val="50000"/>
                  </a:schemeClr>
                </a:solidFill>
              </a:rPr>
              <a:t> A rating of how well they understood what they studied, on a scale of 1–10: 1 = no understanding,    10 = excellent understanding.</a:t>
            </a:r>
          </a:p>
          <a:p>
            <a:endParaRPr lang="en-US" sz="1867" dirty="0">
              <a:solidFill>
                <a:schemeClr val="bg2"/>
              </a:solidFill>
            </a:endParaRPr>
          </a:p>
        </p:txBody>
      </p:sp>
      <p:pic>
        <p:nvPicPr>
          <p:cNvPr id="10" name="Picture 9">
            <a:extLst>
              <a:ext uri="{FF2B5EF4-FFF2-40B4-BE49-F238E27FC236}">
                <a16:creationId xmlns:a16="http://schemas.microsoft.com/office/drawing/2014/main" id="{22D22767-FE1F-4CAD-8B74-C0E62202ACDE}"/>
              </a:ext>
            </a:extLst>
          </p:cNvPr>
          <p:cNvPicPr>
            <a:picLocks noChangeAspect="1"/>
          </p:cNvPicPr>
          <p:nvPr/>
        </p:nvPicPr>
        <p:blipFill>
          <a:blip r:embed="rId2"/>
          <a:stretch>
            <a:fillRect/>
          </a:stretch>
        </p:blipFill>
        <p:spPr>
          <a:xfrm>
            <a:off x="7574071" y="2032396"/>
            <a:ext cx="4437556" cy="2793209"/>
          </a:xfrm>
          <a:prstGeom prst="rect">
            <a:avLst/>
          </a:prstGeom>
        </p:spPr>
      </p:pic>
    </p:spTree>
    <p:extLst>
      <p:ext uri="{BB962C8B-B14F-4D97-AF65-F5344CB8AC3E}">
        <p14:creationId xmlns:p14="http://schemas.microsoft.com/office/powerpoint/2010/main" val="1317899603"/>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392B1B-F39D-4768-935E-054CB31A20FF}"/>
              </a:ext>
            </a:extLst>
          </p:cNvPr>
          <p:cNvSpPr>
            <a:spLocks noGrp="1"/>
          </p:cNvSpPr>
          <p:nvPr>
            <p:ph type="title"/>
          </p:nvPr>
        </p:nvSpPr>
        <p:spPr>
          <a:xfrm>
            <a:off x="0" y="0"/>
            <a:ext cx="11951501" cy="853440"/>
          </a:xfrm>
        </p:spPr>
        <p:txBody>
          <a:bodyPr>
            <a:normAutofit fontScale="90000"/>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6" name="TextBox 5">
            <a:extLst>
              <a:ext uri="{FF2B5EF4-FFF2-40B4-BE49-F238E27FC236}">
                <a16:creationId xmlns:a16="http://schemas.microsoft.com/office/drawing/2014/main" id="{DCB63690-E772-4BAF-822C-38DD0D858D8E}"/>
              </a:ext>
            </a:extLst>
          </p:cNvPr>
          <p:cNvSpPr txBox="1"/>
          <p:nvPr/>
        </p:nvSpPr>
        <p:spPr>
          <a:xfrm>
            <a:off x="57580" y="2272990"/>
            <a:ext cx="7955635" cy="1774781"/>
          </a:xfrm>
          <a:prstGeom prst="rect">
            <a:avLst/>
          </a:prstGeom>
          <a:noFill/>
        </p:spPr>
        <p:txBody>
          <a:bodyPr wrap="square" rtlCol="0">
            <a:spAutoFit/>
          </a:bodyPr>
          <a:lstStyle/>
          <a:p>
            <a:r>
              <a:rPr lang="en-US" sz="1867" b="1" i="1" dirty="0">
                <a:solidFill>
                  <a:schemeClr val="accent1"/>
                </a:solidFill>
              </a:rPr>
              <a:t>Study 3 : </a:t>
            </a:r>
          </a:p>
          <a:p>
            <a:r>
              <a:rPr lang="en-US" sz="1867" i="1" dirty="0">
                <a:solidFill>
                  <a:schemeClr val="bg2">
                    <a:lumMod val="50000"/>
                    <a:lumOff val="50000"/>
                  </a:schemeClr>
                </a:solidFill>
              </a:rPr>
              <a:t>Does listening to music improve students’ ability to quickly identify information?</a:t>
            </a:r>
          </a:p>
          <a:p>
            <a:endParaRPr lang="en-US" sz="1867" i="1" dirty="0">
              <a:solidFill>
                <a:schemeClr val="bg2">
                  <a:lumMod val="50000"/>
                  <a:lumOff val="50000"/>
                </a:schemeClr>
              </a:solidFill>
            </a:endParaRPr>
          </a:p>
          <a:p>
            <a:r>
              <a:rPr lang="en-US" sz="1333" dirty="0">
                <a:solidFill>
                  <a:schemeClr val="bg2">
                    <a:lumMod val="50000"/>
                    <a:lumOff val="50000"/>
                  </a:schemeClr>
                </a:solidFill>
              </a:rPr>
              <a:t>To investigate this question, the instructor uses word-search puzzles. She divides the class into two groups. Students on one side of the room do a word puzzle for 3 minutes while listening to music on an iPod. Students on the other side of the room do a word puzzle for 3 minutes without music. The instructor calculates the average number of words found by each group.</a:t>
            </a:r>
          </a:p>
        </p:txBody>
      </p:sp>
      <p:pic>
        <p:nvPicPr>
          <p:cNvPr id="7" name="Picture 6">
            <a:extLst>
              <a:ext uri="{FF2B5EF4-FFF2-40B4-BE49-F238E27FC236}">
                <a16:creationId xmlns:a16="http://schemas.microsoft.com/office/drawing/2014/main" id="{7313401C-CCD6-4372-B248-82C8D3522CA6}"/>
              </a:ext>
            </a:extLst>
          </p:cNvPr>
          <p:cNvPicPr>
            <a:picLocks noChangeAspect="1"/>
          </p:cNvPicPr>
          <p:nvPr/>
        </p:nvPicPr>
        <p:blipFill>
          <a:blip r:embed="rId2"/>
          <a:stretch>
            <a:fillRect/>
          </a:stretch>
        </p:blipFill>
        <p:spPr>
          <a:xfrm>
            <a:off x="8013215" y="2032396"/>
            <a:ext cx="3998412" cy="2793209"/>
          </a:xfrm>
          <a:prstGeom prst="rect">
            <a:avLst/>
          </a:prstGeom>
        </p:spPr>
      </p:pic>
    </p:spTree>
    <p:extLst>
      <p:ext uri="{BB962C8B-B14F-4D97-AF65-F5344CB8AC3E}">
        <p14:creationId xmlns:p14="http://schemas.microsoft.com/office/powerpoint/2010/main" val="4271565730"/>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93A03-5898-4C6C-BF44-6F13B753C34B}"/>
              </a:ext>
            </a:extLst>
          </p:cNvPr>
          <p:cNvSpPr>
            <a:spLocks noGrp="1"/>
          </p:cNvSpPr>
          <p:nvPr>
            <p:ph type="title"/>
          </p:nvPr>
        </p:nvSpPr>
        <p:spPr>
          <a:xfrm>
            <a:off x="182880" y="30480"/>
            <a:ext cx="10607040" cy="853440"/>
          </a:xfrm>
        </p:spPr>
        <p:txBody>
          <a:bodyPr/>
          <a:lstStyle/>
          <a:p>
            <a:r>
              <a:rPr lang="en-US" dirty="0"/>
              <a:t>Control Experiment – drug test example</a:t>
            </a:r>
          </a:p>
        </p:txBody>
      </p:sp>
      <p:sp>
        <p:nvSpPr>
          <p:cNvPr id="3" name="Content Placeholder 2">
            <a:extLst>
              <a:ext uri="{FF2B5EF4-FFF2-40B4-BE49-F238E27FC236}">
                <a16:creationId xmlns:a16="http://schemas.microsoft.com/office/drawing/2014/main" id="{B284F41B-5C6B-486A-A6B7-4AF38B491853}"/>
              </a:ext>
            </a:extLst>
          </p:cNvPr>
          <p:cNvSpPr>
            <a:spLocks noGrp="1"/>
          </p:cNvSpPr>
          <p:nvPr>
            <p:ph sz="half" idx="13"/>
          </p:nvPr>
        </p:nvSpPr>
        <p:spPr>
          <a:xfrm>
            <a:off x="307305" y="955319"/>
            <a:ext cx="10607039" cy="4267200"/>
          </a:xfrm>
        </p:spPr>
        <p:txBody>
          <a:bodyPr/>
          <a:lstStyle/>
          <a:p>
            <a:r>
              <a:rPr lang="en-US" dirty="0">
                <a:solidFill>
                  <a:schemeClr val="bg2">
                    <a:lumMod val="50000"/>
                    <a:lumOff val="50000"/>
                  </a:schemeClr>
                </a:solidFill>
              </a:rPr>
              <a:t>If we are studying the effectiveness of a pill, we should also compare it to a placebo. It is often the case that the act of receiving a treatment that a person believe will be beneficial with itself result in a beneficial effect. Regardless of whether the treatment is otherwise effective</a:t>
            </a:r>
          </a:p>
        </p:txBody>
      </p:sp>
      <p:pic>
        <p:nvPicPr>
          <p:cNvPr id="5" name="Picture 4" descr="A picture containing table, indoor, wooden, slice&#10;&#10;Description automatically generated">
            <a:extLst>
              <a:ext uri="{FF2B5EF4-FFF2-40B4-BE49-F238E27FC236}">
                <a16:creationId xmlns:a16="http://schemas.microsoft.com/office/drawing/2014/main" id="{2ABCDDB0-5640-4524-AB37-630EFD094CB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926376" y="2550083"/>
            <a:ext cx="5112576" cy="2875824"/>
          </a:xfrm>
          <a:prstGeom prst="rect">
            <a:avLst/>
          </a:prstGeom>
        </p:spPr>
      </p:pic>
      <p:sp>
        <p:nvSpPr>
          <p:cNvPr id="6" name="TextBox 5">
            <a:extLst>
              <a:ext uri="{FF2B5EF4-FFF2-40B4-BE49-F238E27FC236}">
                <a16:creationId xmlns:a16="http://schemas.microsoft.com/office/drawing/2014/main" id="{DCF10603-437E-4C7A-980F-322B67C14954}"/>
              </a:ext>
            </a:extLst>
          </p:cNvPr>
          <p:cNvSpPr txBox="1"/>
          <p:nvPr/>
        </p:nvSpPr>
        <p:spPr>
          <a:xfrm>
            <a:off x="5463133" y="6994163"/>
            <a:ext cx="6728867" cy="276999"/>
          </a:xfrm>
          <a:prstGeom prst="rect">
            <a:avLst/>
          </a:prstGeom>
          <a:noFill/>
        </p:spPr>
        <p:txBody>
          <a:bodyPr wrap="square" rtlCol="0">
            <a:spAutoFit/>
          </a:bodyPr>
          <a:lstStyle/>
          <a:p>
            <a:r>
              <a:rPr lang="en-US" sz="1200">
                <a:hlinkClick r:id="rId3" tooltip="http://capitalcurrent.ca/opioid-overdoses-dwarf-covid-19/"/>
              </a:rPr>
              <a:t>This Photo</a:t>
            </a:r>
            <a:r>
              <a:rPr lang="en-US" sz="1200"/>
              <a:t> by Unknown Author is licensed under </a:t>
            </a:r>
            <a:r>
              <a:rPr lang="en-US" sz="1200">
                <a:hlinkClick r:id="rId4" tooltip="https://creativecommons.org/licenses/by-nc-nd/3.0/"/>
              </a:rPr>
              <a:t>CC BY-NC-ND</a:t>
            </a:r>
            <a:endParaRPr lang="en-US" sz="1200"/>
          </a:p>
        </p:txBody>
      </p:sp>
    </p:spTree>
    <p:extLst>
      <p:ext uri="{BB962C8B-B14F-4D97-AF65-F5344CB8AC3E}">
        <p14:creationId xmlns:p14="http://schemas.microsoft.com/office/powerpoint/2010/main" val="4145885228"/>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10BFA-B9A1-46D8-8A38-A0F4A1088A5A}"/>
              </a:ext>
            </a:extLst>
          </p:cNvPr>
          <p:cNvSpPr>
            <a:spLocks noGrp="1"/>
          </p:cNvSpPr>
          <p:nvPr>
            <p:ph type="title"/>
          </p:nvPr>
        </p:nvSpPr>
        <p:spPr>
          <a:xfrm>
            <a:off x="90185" y="145397"/>
            <a:ext cx="10607040" cy="853440"/>
          </a:xfrm>
        </p:spPr>
        <p:txBody>
          <a:bodyPr/>
          <a:lstStyle/>
          <a:p>
            <a:r>
              <a:rPr lang="en-US" dirty="0"/>
              <a:t>Controlled Experiment</a:t>
            </a:r>
          </a:p>
        </p:txBody>
      </p:sp>
      <p:sp>
        <p:nvSpPr>
          <p:cNvPr id="3" name="Content Placeholder 2">
            <a:extLst>
              <a:ext uri="{FF2B5EF4-FFF2-40B4-BE49-F238E27FC236}">
                <a16:creationId xmlns:a16="http://schemas.microsoft.com/office/drawing/2014/main" id="{8DB84CCF-42DD-4079-ADB2-9916B5BABF84}"/>
              </a:ext>
            </a:extLst>
          </p:cNvPr>
          <p:cNvSpPr>
            <a:spLocks noGrp="1"/>
          </p:cNvSpPr>
          <p:nvPr>
            <p:ph sz="half" idx="13"/>
          </p:nvPr>
        </p:nvSpPr>
        <p:spPr>
          <a:xfrm>
            <a:off x="90186" y="1172436"/>
            <a:ext cx="11358601" cy="4267200"/>
          </a:xfrm>
        </p:spPr>
        <p:txBody>
          <a:bodyPr/>
          <a:lstStyle/>
          <a:p>
            <a:r>
              <a:rPr lang="en-US" dirty="0">
                <a:solidFill>
                  <a:schemeClr val="bg2">
                    <a:lumMod val="50000"/>
                    <a:lumOff val="50000"/>
                  </a:schemeClr>
                </a:solidFill>
              </a:rPr>
              <a:t>In a controlled experiment, we can be reasonably comfortable inferring that the treatment applied to one group but not to the other caused whatever difference we observe between the two</a:t>
            </a:r>
          </a:p>
          <a:p>
            <a:r>
              <a:rPr lang="en-US" dirty="0">
                <a:solidFill>
                  <a:schemeClr val="bg2">
                    <a:lumMod val="50000"/>
                    <a:lumOff val="50000"/>
                  </a:schemeClr>
                </a:solidFill>
              </a:rPr>
              <a:t>But other we must remember that correlation does not imply causation </a:t>
            </a:r>
          </a:p>
          <a:p>
            <a:r>
              <a:rPr lang="en-US" dirty="0">
                <a:solidFill>
                  <a:schemeClr val="bg2">
                    <a:lumMod val="50000"/>
                    <a:lumOff val="50000"/>
                  </a:schemeClr>
                </a:solidFill>
              </a:rPr>
              <a:t>Variables are correlated if they “move together”, </a:t>
            </a:r>
            <a:r>
              <a:rPr lang="en-US" dirty="0" err="1">
                <a:solidFill>
                  <a:schemeClr val="bg2">
                    <a:lumMod val="50000"/>
                    <a:lumOff val="50000"/>
                  </a:schemeClr>
                </a:solidFill>
              </a:rPr>
              <a:t>i.e</a:t>
            </a:r>
            <a:r>
              <a:rPr lang="en-US" dirty="0">
                <a:solidFill>
                  <a:schemeClr val="bg2">
                    <a:lumMod val="50000"/>
                    <a:lumOff val="50000"/>
                  </a:schemeClr>
                </a:solidFill>
              </a:rPr>
              <a:t> when one variable changes the other one trends to change as well</a:t>
            </a:r>
          </a:p>
          <a:p>
            <a:r>
              <a:rPr lang="en-US" b="1" dirty="0">
                <a:solidFill>
                  <a:schemeClr val="bg2">
                    <a:lumMod val="50000"/>
                    <a:lumOff val="50000"/>
                  </a:schemeClr>
                </a:solidFill>
              </a:rPr>
              <a:t>Ex : </a:t>
            </a:r>
          </a:p>
          <a:p>
            <a:pPr lvl="1"/>
            <a:r>
              <a:rPr lang="en-US" dirty="0">
                <a:solidFill>
                  <a:schemeClr val="bg2">
                    <a:lumMod val="50000"/>
                    <a:lumOff val="50000"/>
                  </a:schemeClr>
                </a:solidFill>
              </a:rPr>
              <a:t>Temp is related to the time of the day</a:t>
            </a:r>
          </a:p>
          <a:p>
            <a:pPr lvl="1"/>
            <a:r>
              <a:rPr lang="en-US" dirty="0">
                <a:solidFill>
                  <a:schemeClr val="bg2">
                    <a:lumMod val="50000"/>
                    <a:lumOff val="50000"/>
                  </a:schemeClr>
                </a:solidFill>
              </a:rPr>
              <a:t>Human height correlated to human weight</a:t>
            </a:r>
          </a:p>
        </p:txBody>
      </p:sp>
      <p:sp>
        <p:nvSpPr>
          <p:cNvPr id="5" name="TextBox 4">
            <a:extLst>
              <a:ext uri="{FF2B5EF4-FFF2-40B4-BE49-F238E27FC236}">
                <a16:creationId xmlns:a16="http://schemas.microsoft.com/office/drawing/2014/main" id="{5CEE9E77-FE13-4C40-8BC2-E1D5843FD82C}"/>
              </a:ext>
            </a:extLst>
          </p:cNvPr>
          <p:cNvSpPr txBox="1"/>
          <p:nvPr/>
        </p:nvSpPr>
        <p:spPr>
          <a:xfrm>
            <a:off x="90185" y="4454751"/>
            <a:ext cx="11776075" cy="666977"/>
          </a:xfrm>
          <a:prstGeom prst="rect">
            <a:avLst/>
          </a:prstGeom>
          <a:noFill/>
        </p:spPr>
        <p:txBody>
          <a:bodyPr wrap="square" rtlCol="0">
            <a:spAutoFit/>
          </a:bodyPr>
          <a:lstStyle/>
          <a:p>
            <a:pPr>
              <a:buClr>
                <a:schemeClr val="bg1"/>
              </a:buClr>
            </a:pPr>
            <a:r>
              <a:rPr lang="en-US" sz="1867" dirty="0">
                <a:solidFill>
                  <a:schemeClr val="bg2">
                    <a:lumMod val="50000"/>
                    <a:lumOff val="50000"/>
                  </a:schemeClr>
                </a:solidFill>
              </a:rPr>
              <a:t>When height increase human weight increase. When one variable change the other variable also changes. It can increase or decrease. Hence, I am using the word changes, this is called as correlation</a:t>
            </a:r>
          </a:p>
        </p:txBody>
      </p:sp>
    </p:spTree>
    <p:extLst>
      <p:ext uri="{BB962C8B-B14F-4D97-AF65-F5344CB8AC3E}">
        <p14:creationId xmlns:p14="http://schemas.microsoft.com/office/powerpoint/2010/main" val="2719943119"/>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40426-E2C8-4003-8D16-72F1439DEA50}"/>
              </a:ext>
            </a:extLst>
          </p:cNvPr>
          <p:cNvSpPr>
            <a:spLocks noGrp="1"/>
          </p:cNvSpPr>
          <p:nvPr>
            <p:ph type="title"/>
          </p:nvPr>
        </p:nvSpPr>
        <p:spPr>
          <a:xfrm>
            <a:off x="182880" y="139149"/>
            <a:ext cx="10607040" cy="853440"/>
          </a:xfrm>
        </p:spPr>
        <p:txBody>
          <a:bodyPr/>
          <a:lstStyle/>
          <a:p>
            <a:r>
              <a:rPr lang="en-US" dirty="0"/>
              <a:t>Correlation and Causation</a:t>
            </a:r>
          </a:p>
        </p:txBody>
      </p:sp>
      <p:sp>
        <p:nvSpPr>
          <p:cNvPr id="3" name="Content Placeholder 2">
            <a:extLst>
              <a:ext uri="{FF2B5EF4-FFF2-40B4-BE49-F238E27FC236}">
                <a16:creationId xmlns:a16="http://schemas.microsoft.com/office/drawing/2014/main" id="{56A6245D-E2DD-4B22-B2B2-507AB068A965}"/>
              </a:ext>
            </a:extLst>
          </p:cNvPr>
          <p:cNvSpPr>
            <a:spLocks noGrp="1"/>
          </p:cNvSpPr>
          <p:nvPr>
            <p:ph sz="half" idx="13"/>
          </p:nvPr>
        </p:nvSpPr>
        <p:spPr>
          <a:xfrm>
            <a:off x="182880" y="1081341"/>
            <a:ext cx="10979315" cy="4267200"/>
          </a:xfrm>
        </p:spPr>
        <p:txBody>
          <a:bodyPr/>
          <a:lstStyle/>
          <a:p>
            <a:r>
              <a:rPr lang="en-US" dirty="0">
                <a:solidFill>
                  <a:schemeClr val="bg2">
                    <a:lumMod val="50000"/>
                    <a:lumOff val="50000"/>
                  </a:schemeClr>
                </a:solidFill>
              </a:rPr>
              <a:t>If changing one variable caused a change in another, they will be correlated. But the converse is not necessarily true</a:t>
            </a:r>
          </a:p>
          <a:p>
            <a:r>
              <a:rPr lang="en-US" dirty="0">
                <a:solidFill>
                  <a:schemeClr val="bg2">
                    <a:lumMod val="50000"/>
                    <a:lumOff val="50000"/>
                  </a:schemeClr>
                </a:solidFill>
              </a:rPr>
              <a:t>If two variable are correlated, it is not necessarily the case that one has caused the other to change</a:t>
            </a:r>
          </a:p>
          <a:p>
            <a:r>
              <a:rPr lang="en-US" dirty="0">
                <a:solidFill>
                  <a:schemeClr val="bg2">
                    <a:lumMod val="50000"/>
                    <a:lumOff val="50000"/>
                  </a:schemeClr>
                </a:solidFill>
              </a:rPr>
              <a:t>For instance, Marriage &amp; Income</a:t>
            </a:r>
          </a:p>
          <a:p>
            <a:pPr lvl="1"/>
            <a:r>
              <a:rPr lang="en-US" dirty="0">
                <a:solidFill>
                  <a:schemeClr val="bg2">
                    <a:lumMod val="50000"/>
                    <a:lumOff val="50000"/>
                  </a:schemeClr>
                </a:solidFill>
              </a:rPr>
              <a:t>It is said that people who are married make more money, But is it not true that more money can get people married </a:t>
            </a:r>
          </a:p>
        </p:txBody>
      </p:sp>
    </p:spTree>
    <p:extLst>
      <p:ext uri="{BB962C8B-B14F-4D97-AF65-F5344CB8AC3E}">
        <p14:creationId xmlns:p14="http://schemas.microsoft.com/office/powerpoint/2010/main" val="3561234959"/>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C837C-ACCC-4FC8-BB8D-6A764353E397}"/>
              </a:ext>
            </a:extLst>
          </p:cNvPr>
          <p:cNvSpPr>
            <a:spLocks noGrp="1"/>
          </p:cNvSpPr>
          <p:nvPr>
            <p:ph type="title"/>
          </p:nvPr>
        </p:nvSpPr>
        <p:spPr>
          <a:xfrm>
            <a:off x="0" y="0"/>
            <a:ext cx="10607040" cy="853440"/>
          </a:xfrm>
        </p:spPr>
        <p:txBody>
          <a:bodyPr/>
          <a:lstStyle/>
          <a:p>
            <a:r>
              <a:rPr lang="en-US" dirty="0"/>
              <a:t>Confounding Variable</a:t>
            </a:r>
          </a:p>
        </p:txBody>
      </p:sp>
      <p:sp>
        <p:nvSpPr>
          <p:cNvPr id="3" name="Content Placeholder 2">
            <a:extLst>
              <a:ext uri="{FF2B5EF4-FFF2-40B4-BE49-F238E27FC236}">
                <a16:creationId xmlns:a16="http://schemas.microsoft.com/office/drawing/2014/main" id="{3E01CF73-0B6D-4BB3-8A14-4D46D9C0DF3D}"/>
              </a:ext>
            </a:extLst>
          </p:cNvPr>
          <p:cNvSpPr>
            <a:spLocks noGrp="1"/>
          </p:cNvSpPr>
          <p:nvPr>
            <p:ph sz="half" idx="13"/>
          </p:nvPr>
        </p:nvSpPr>
        <p:spPr>
          <a:xfrm>
            <a:off x="182880" y="853441"/>
            <a:ext cx="11224085" cy="2134065"/>
          </a:xfrm>
        </p:spPr>
        <p:txBody>
          <a:bodyPr>
            <a:normAutofit/>
          </a:bodyPr>
          <a:lstStyle/>
          <a:p>
            <a:r>
              <a:rPr lang="en-US" sz="1600" dirty="0">
                <a:solidFill>
                  <a:schemeClr val="bg2">
                    <a:lumMod val="50000"/>
                    <a:lumOff val="50000"/>
                  </a:schemeClr>
                </a:solidFill>
                <a:latin typeface="+mn-lt"/>
                <a:cs typeface="+mn-cs"/>
              </a:rPr>
              <a:t>Confounding variables (a.k.a. confounders or confounding factors) are a type of extraneous variable that are related to a study’s independent and dependent variables. A variable must meet two conditions to be a confounder:</a:t>
            </a:r>
          </a:p>
          <a:p>
            <a:pPr lvl="1"/>
            <a:r>
              <a:rPr lang="en-US" kern="1200" dirty="0">
                <a:solidFill>
                  <a:schemeClr val="bg2">
                    <a:lumMod val="50000"/>
                    <a:lumOff val="50000"/>
                  </a:schemeClr>
                </a:solidFill>
                <a:latin typeface="+mn-lt"/>
                <a:ea typeface="+mn-ea"/>
                <a:cs typeface="+mn-cs"/>
              </a:rPr>
              <a:t>It must be correlated with the independent variable. This may be a causal relationship, but it does not have to be.</a:t>
            </a:r>
          </a:p>
          <a:p>
            <a:pPr lvl="1"/>
            <a:r>
              <a:rPr lang="en-US" kern="1200" dirty="0">
                <a:solidFill>
                  <a:schemeClr val="bg2">
                    <a:lumMod val="50000"/>
                    <a:lumOff val="50000"/>
                  </a:schemeClr>
                </a:solidFill>
                <a:latin typeface="+mn-lt"/>
                <a:ea typeface="+mn-ea"/>
                <a:cs typeface="+mn-cs"/>
              </a:rPr>
              <a:t>It must be causally related to the dependent variable.</a:t>
            </a:r>
          </a:p>
          <a:p>
            <a:r>
              <a:rPr lang="en-US" sz="1600" dirty="0">
                <a:solidFill>
                  <a:schemeClr val="bg2">
                    <a:lumMod val="50000"/>
                    <a:lumOff val="50000"/>
                  </a:schemeClr>
                </a:solidFill>
                <a:latin typeface="+mn-lt"/>
                <a:cs typeface="+mn-cs"/>
              </a:rPr>
              <a:t>A variable that hides the true effect of another variable in your experiment. This can happen when another variable is closely related to a variable you are interested in, but you haven’t controlled it in your experiment.</a:t>
            </a:r>
          </a:p>
        </p:txBody>
      </p:sp>
      <p:sp>
        <p:nvSpPr>
          <p:cNvPr id="5" name="Rectangle 4">
            <a:extLst>
              <a:ext uri="{FF2B5EF4-FFF2-40B4-BE49-F238E27FC236}">
                <a16:creationId xmlns:a16="http://schemas.microsoft.com/office/drawing/2014/main" id="{05419016-60B7-41A0-8339-FA52456F977A}"/>
              </a:ext>
            </a:extLst>
          </p:cNvPr>
          <p:cNvSpPr/>
          <p:nvPr/>
        </p:nvSpPr>
        <p:spPr>
          <a:xfrm>
            <a:off x="182880" y="2846741"/>
            <a:ext cx="11224085" cy="1023756"/>
          </a:xfrm>
          <a:prstGeom prst="rect">
            <a:avLst/>
          </a:prstGeom>
          <a:solidFill>
            <a:schemeClr val="tx1">
              <a:lumMod val="20000"/>
              <a:lumOff val="80000"/>
            </a:schemeClr>
          </a:solidFill>
          <a:ln w="12700" cmpd="sng">
            <a:noFill/>
          </a:ln>
          <a:effectLst/>
        </p:spPr>
        <p:txBody>
          <a:bodyPr wrap="square" lIns="243840" tIns="182880" rIns="182880" bIns="182880" rtlCol="0" anchor="ctr">
            <a:noAutofit/>
          </a:bodyPr>
          <a:lstStyle/>
          <a:p>
            <a:pPr>
              <a:lnSpc>
                <a:spcPct val="90000"/>
              </a:lnSpc>
              <a:spcBef>
                <a:spcPts val="800"/>
              </a:spcBef>
            </a:pPr>
            <a:r>
              <a:rPr lang="en-US" sz="1600" dirty="0"/>
              <a:t>You collect data on sunburns and ice cream consumption. You find that higher ice cream consumption is associated with a higher probability of sunburn. Does that mean ice cream consumption causes sunburn?</a:t>
            </a:r>
          </a:p>
          <a:p>
            <a:pPr>
              <a:lnSpc>
                <a:spcPct val="90000"/>
              </a:lnSpc>
              <a:spcBef>
                <a:spcPts val="800"/>
              </a:spcBef>
            </a:pPr>
            <a:r>
              <a:rPr lang="en-US" sz="1600" dirty="0"/>
              <a:t>Here, the confounding variable is temperature: hot temperatures cause people to both eat more ice cream and spend more time outdoors under the sun, resulting in more sunburns.</a:t>
            </a:r>
          </a:p>
        </p:txBody>
      </p:sp>
      <p:sp>
        <p:nvSpPr>
          <p:cNvPr id="6" name="Rectangle 5">
            <a:extLst>
              <a:ext uri="{FF2B5EF4-FFF2-40B4-BE49-F238E27FC236}">
                <a16:creationId xmlns:a16="http://schemas.microsoft.com/office/drawing/2014/main" id="{3D92DDC2-8FCD-45ED-B27B-D1857B405C77}"/>
              </a:ext>
            </a:extLst>
          </p:cNvPr>
          <p:cNvSpPr/>
          <p:nvPr/>
        </p:nvSpPr>
        <p:spPr>
          <a:xfrm>
            <a:off x="182880" y="2846742"/>
            <a:ext cx="180088" cy="1005141"/>
          </a:xfrm>
          <a:prstGeom prst="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pic>
        <p:nvPicPr>
          <p:cNvPr id="8" name="Picture 7">
            <a:extLst>
              <a:ext uri="{FF2B5EF4-FFF2-40B4-BE49-F238E27FC236}">
                <a16:creationId xmlns:a16="http://schemas.microsoft.com/office/drawing/2014/main" id="{E6C9A3F4-824D-4ACA-A39D-E5D996A7F2E9}"/>
              </a:ext>
            </a:extLst>
          </p:cNvPr>
          <p:cNvPicPr>
            <a:picLocks noChangeAspect="1"/>
          </p:cNvPicPr>
          <p:nvPr/>
        </p:nvPicPr>
        <p:blipFill>
          <a:blip r:embed="rId2"/>
          <a:stretch>
            <a:fillRect/>
          </a:stretch>
        </p:blipFill>
        <p:spPr>
          <a:xfrm>
            <a:off x="2597634" y="3870496"/>
            <a:ext cx="6011220" cy="2980107"/>
          </a:xfrm>
          <a:prstGeom prst="rect">
            <a:avLst/>
          </a:prstGeom>
        </p:spPr>
      </p:pic>
    </p:spTree>
    <p:extLst>
      <p:ext uri="{BB962C8B-B14F-4D97-AF65-F5344CB8AC3E}">
        <p14:creationId xmlns:p14="http://schemas.microsoft.com/office/powerpoint/2010/main" val="1334523387"/>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normAutofit fontScale="90000"/>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365759" y="1422956"/>
            <a:ext cx="10565848" cy="42672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77481" y="1400888"/>
            <a:ext cx="2451969" cy="2451969"/>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8829449" y="3190022"/>
            <a:ext cx="2997896" cy="1524711"/>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964553" y="1400887"/>
            <a:ext cx="2683703" cy="1789135"/>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6377481" y="4059858"/>
            <a:ext cx="1980903" cy="2245653"/>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8476710" y="4714732"/>
            <a:ext cx="2333641" cy="1558043"/>
          </a:xfrm>
          <a:prstGeom prst="rect">
            <a:avLst/>
          </a:prstGeom>
        </p:spPr>
      </p:pic>
    </p:spTree>
    <p:extLst>
      <p:ext uri="{BB962C8B-B14F-4D97-AF65-F5344CB8AC3E}">
        <p14:creationId xmlns:p14="http://schemas.microsoft.com/office/powerpoint/2010/main" val="2470375232"/>
      </p:ext>
    </p:extLst>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70DB-7CD4-42FE-987B-CA260299C227}"/>
              </a:ext>
            </a:extLst>
          </p:cNvPr>
          <p:cNvSpPr>
            <a:spLocks noGrp="1"/>
          </p:cNvSpPr>
          <p:nvPr>
            <p:ph type="title"/>
          </p:nvPr>
        </p:nvSpPr>
        <p:spPr>
          <a:xfrm>
            <a:off x="0" y="0"/>
            <a:ext cx="10607040" cy="853440"/>
          </a:xfrm>
        </p:spPr>
        <p:txBody>
          <a:bodyPr/>
          <a:lstStyle/>
          <a:p>
            <a:r>
              <a:rPr lang="en-US" dirty="0"/>
              <a:t>Confounding variable – another example</a:t>
            </a:r>
          </a:p>
        </p:txBody>
      </p:sp>
      <p:pic>
        <p:nvPicPr>
          <p:cNvPr id="6" name="Picture 5">
            <a:extLst>
              <a:ext uri="{FF2B5EF4-FFF2-40B4-BE49-F238E27FC236}">
                <a16:creationId xmlns:a16="http://schemas.microsoft.com/office/drawing/2014/main" id="{9FEF74AE-492F-4044-AB48-F898E20FD7C4}"/>
              </a:ext>
            </a:extLst>
          </p:cNvPr>
          <p:cNvPicPr>
            <a:picLocks noChangeAspect="1"/>
          </p:cNvPicPr>
          <p:nvPr/>
        </p:nvPicPr>
        <p:blipFill>
          <a:blip r:embed="rId2"/>
          <a:stretch>
            <a:fillRect/>
          </a:stretch>
        </p:blipFill>
        <p:spPr>
          <a:xfrm>
            <a:off x="2370731" y="3494771"/>
            <a:ext cx="5977532" cy="3187320"/>
          </a:xfrm>
          <a:prstGeom prst="rect">
            <a:avLst/>
          </a:prstGeom>
        </p:spPr>
      </p:pic>
      <p:pic>
        <p:nvPicPr>
          <p:cNvPr id="8" name="Picture 7">
            <a:extLst>
              <a:ext uri="{FF2B5EF4-FFF2-40B4-BE49-F238E27FC236}">
                <a16:creationId xmlns:a16="http://schemas.microsoft.com/office/drawing/2014/main" id="{9CB35E85-EAE6-4AF3-81B5-25A0F95A4565}"/>
              </a:ext>
            </a:extLst>
          </p:cNvPr>
          <p:cNvPicPr>
            <a:picLocks noChangeAspect="1"/>
          </p:cNvPicPr>
          <p:nvPr/>
        </p:nvPicPr>
        <p:blipFill>
          <a:blip r:embed="rId3"/>
          <a:stretch>
            <a:fillRect/>
          </a:stretch>
        </p:blipFill>
        <p:spPr>
          <a:xfrm>
            <a:off x="1740385" y="850268"/>
            <a:ext cx="7429500" cy="914400"/>
          </a:xfrm>
          <a:prstGeom prst="rect">
            <a:avLst/>
          </a:prstGeom>
        </p:spPr>
      </p:pic>
      <p:sp>
        <p:nvSpPr>
          <p:cNvPr id="9" name="TextBox 8">
            <a:extLst>
              <a:ext uri="{FF2B5EF4-FFF2-40B4-BE49-F238E27FC236}">
                <a16:creationId xmlns:a16="http://schemas.microsoft.com/office/drawing/2014/main" id="{F454474E-454D-495E-BF3A-33238FDCC41B}"/>
              </a:ext>
            </a:extLst>
          </p:cNvPr>
          <p:cNvSpPr txBox="1"/>
          <p:nvPr/>
        </p:nvSpPr>
        <p:spPr>
          <a:xfrm>
            <a:off x="1" y="1761496"/>
            <a:ext cx="12126852" cy="1169551"/>
          </a:xfrm>
          <a:prstGeom prst="rect">
            <a:avLst/>
          </a:prstGeom>
          <a:noFill/>
        </p:spPr>
        <p:txBody>
          <a:bodyPr wrap="square" rtlCol="0">
            <a:spAutoFit/>
          </a:bodyPr>
          <a:lstStyle/>
          <a:p>
            <a:pPr marL="228594" indent="-228594">
              <a:buClr>
                <a:schemeClr val="bg1"/>
              </a:buClr>
              <a:buFont typeface="Arial" panose="020B0604020202020204" pitchFamily="34" charset="0"/>
              <a:buChar char="•"/>
            </a:pPr>
            <a:r>
              <a:rPr lang="en-US" sz="1400" dirty="0">
                <a:solidFill>
                  <a:schemeClr val="bg2">
                    <a:lumMod val="50000"/>
                    <a:lumOff val="50000"/>
                  </a:schemeClr>
                </a:solidFill>
              </a:rPr>
              <a:t>If you find that people who consume more alcohol are more likely to die, it might seem intuitive to conclude that alcohol use increases the risk of death. However, the situation might be more complex. It is possible that alcohol use is not the only mortality-affecting factor that differs between the two groups.</a:t>
            </a:r>
          </a:p>
          <a:p>
            <a:pPr>
              <a:buClr>
                <a:schemeClr val="bg1"/>
              </a:buClr>
            </a:pPr>
            <a:endParaRPr lang="en-US" sz="1400" dirty="0">
              <a:solidFill>
                <a:schemeClr val="bg2">
                  <a:lumMod val="50000"/>
                  <a:lumOff val="50000"/>
                </a:schemeClr>
              </a:solidFill>
            </a:endParaRPr>
          </a:p>
          <a:p>
            <a:pPr marL="228594" indent="-228594">
              <a:buClr>
                <a:schemeClr val="bg1"/>
              </a:buClr>
              <a:buFont typeface="Arial" panose="020B0604020202020204" pitchFamily="34" charset="0"/>
              <a:buChar char="•"/>
            </a:pPr>
            <a:r>
              <a:rPr lang="en-US" sz="1400" dirty="0">
                <a:solidFill>
                  <a:schemeClr val="bg2">
                    <a:lumMod val="50000"/>
                    <a:lumOff val="50000"/>
                  </a:schemeClr>
                </a:solidFill>
              </a:rPr>
              <a:t>People who consume less alcohol might be more likely to eat a healthier diet or less likely to smoke, for example. Eating a healthy diet or smoking might in turn affect mortality. These other influencing factors are called </a:t>
            </a:r>
            <a:r>
              <a:rPr lang="en-US" sz="1400" b="1" dirty="0">
                <a:solidFill>
                  <a:schemeClr val="bg2">
                    <a:lumMod val="50000"/>
                    <a:lumOff val="50000"/>
                  </a:schemeClr>
                </a:solidFill>
              </a:rPr>
              <a:t>confounding variables.</a:t>
            </a:r>
          </a:p>
        </p:txBody>
      </p:sp>
    </p:spTree>
    <p:extLst>
      <p:ext uri="{BB962C8B-B14F-4D97-AF65-F5344CB8AC3E}">
        <p14:creationId xmlns:p14="http://schemas.microsoft.com/office/powerpoint/2010/main" val="1826951538"/>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D1EA-7DF3-48CC-B31A-49D4AA1AAF47}"/>
              </a:ext>
            </a:extLst>
          </p:cNvPr>
          <p:cNvSpPr>
            <a:spLocks noGrp="1"/>
          </p:cNvSpPr>
          <p:nvPr>
            <p:ph type="title"/>
          </p:nvPr>
        </p:nvSpPr>
        <p:spPr>
          <a:xfrm>
            <a:off x="0" y="30480"/>
            <a:ext cx="10607040" cy="853440"/>
          </a:xfrm>
        </p:spPr>
        <p:txBody>
          <a:bodyPr/>
          <a:lstStyle/>
          <a:p>
            <a:r>
              <a:rPr lang="en-US" dirty="0"/>
              <a:t>What is hypothesis ? </a:t>
            </a:r>
          </a:p>
        </p:txBody>
      </p:sp>
      <p:sp>
        <p:nvSpPr>
          <p:cNvPr id="3" name="Content Placeholder 2">
            <a:extLst>
              <a:ext uri="{FF2B5EF4-FFF2-40B4-BE49-F238E27FC236}">
                <a16:creationId xmlns:a16="http://schemas.microsoft.com/office/drawing/2014/main" id="{752E4901-1085-409B-A059-026B6D6F6B60}"/>
              </a:ext>
            </a:extLst>
          </p:cNvPr>
          <p:cNvSpPr>
            <a:spLocks noGrp="1"/>
          </p:cNvSpPr>
          <p:nvPr>
            <p:ph sz="half" idx="13"/>
          </p:nvPr>
        </p:nvSpPr>
        <p:spPr>
          <a:xfrm>
            <a:off x="161007" y="883920"/>
            <a:ext cx="11891391" cy="4821193"/>
          </a:xfrm>
        </p:spPr>
        <p:txBody>
          <a:bodyPr>
            <a:normAutofit fontScale="92500" lnSpcReduction="10000"/>
          </a:bodyPr>
          <a:lstStyle/>
          <a:p>
            <a:pPr marL="0" indent="0">
              <a:buNone/>
            </a:pPr>
            <a:r>
              <a:rPr lang="en-US" sz="2667" dirty="0">
                <a:solidFill>
                  <a:schemeClr val="bg2">
                    <a:lumMod val="50000"/>
                    <a:lumOff val="50000"/>
                  </a:schemeClr>
                </a:solidFill>
                <a:latin typeface="+mn-lt"/>
                <a:cs typeface="+mn-cs"/>
              </a:rPr>
              <a:t>A hypothesis is a </a:t>
            </a:r>
            <a:r>
              <a:rPr lang="en-US" sz="2667" b="1" dirty="0">
                <a:solidFill>
                  <a:schemeClr val="bg2">
                    <a:lumMod val="50000"/>
                    <a:lumOff val="50000"/>
                  </a:schemeClr>
                </a:solidFill>
                <a:latin typeface="+mn-lt"/>
                <a:cs typeface="+mn-cs"/>
              </a:rPr>
              <a:t>tentative statement </a:t>
            </a:r>
            <a:r>
              <a:rPr lang="en-US" sz="2667" dirty="0">
                <a:solidFill>
                  <a:schemeClr val="bg2">
                    <a:lumMod val="50000"/>
                    <a:lumOff val="50000"/>
                  </a:schemeClr>
                </a:solidFill>
                <a:latin typeface="+mn-lt"/>
                <a:cs typeface="+mn-cs"/>
              </a:rPr>
              <a:t>about the relationship between </a:t>
            </a:r>
            <a:r>
              <a:rPr lang="en-US" sz="2667" b="1" dirty="0">
                <a:solidFill>
                  <a:schemeClr val="bg2">
                    <a:lumMod val="50000"/>
                    <a:lumOff val="50000"/>
                  </a:schemeClr>
                </a:solidFill>
                <a:latin typeface="+mn-lt"/>
                <a:cs typeface="+mn-cs"/>
              </a:rPr>
              <a:t>two or more variables</a:t>
            </a:r>
            <a:r>
              <a:rPr lang="en-US" sz="2667" dirty="0">
                <a:solidFill>
                  <a:schemeClr val="bg2">
                    <a:lumMod val="50000"/>
                    <a:lumOff val="50000"/>
                  </a:schemeClr>
                </a:solidFill>
                <a:latin typeface="+mn-lt"/>
                <a:cs typeface="+mn-cs"/>
              </a:rPr>
              <a:t>. It is a specific, testable prediction about what you expect to happen in a study.</a:t>
            </a:r>
          </a:p>
          <a:p>
            <a:pPr marL="0" indent="0">
              <a:buNone/>
            </a:pPr>
            <a:endParaRPr lang="en-US" sz="2667" dirty="0">
              <a:solidFill>
                <a:schemeClr val="bg2">
                  <a:lumMod val="50000"/>
                  <a:lumOff val="50000"/>
                </a:schemeClr>
              </a:solidFill>
              <a:latin typeface="+mn-lt"/>
              <a:cs typeface="+mn-cs"/>
            </a:endParaRPr>
          </a:p>
          <a:p>
            <a:pPr marL="0" indent="0" fontAlgn="base">
              <a:buNone/>
            </a:pPr>
            <a:r>
              <a:rPr lang="en-US" sz="2667" b="1" dirty="0">
                <a:solidFill>
                  <a:schemeClr val="accent1"/>
                </a:solidFill>
                <a:latin typeface="+mn-lt"/>
                <a:cs typeface="+mn-cs"/>
              </a:rPr>
              <a:t>A few examples:</a:t>
            </a:r>
          </a:p>
          <a:p>
            <a:pPr algn="l" fontAlgn="base">
              <a:buFont typeface="Arial" panose="020B0604020202020204" pitchFamily="34" charset="0"/>
              <a:buChar char="•"/>
            </a:pPr>
            <a:r>
              <a:rPr lang="en-US" sz="2667" dirty="0">
                <a:solidFill>
                  <a:schemeClr val="bg2">
                    <a:lumMod val="50000"/>
                    <a:lumOff val="50000"/>
                  </a:schemeClr>
                </a:solidFill>
                <a:latin typeface="+mn-lt"/>
                <a:cs typeface="+mn-cs"/>
              </a:rPr>
              <a:t>"Students who eat breakfast will perform better on a math exam than students who do not eat breakfast."</a:t>
            </a:r>
          </a:p>
          <a:p>
            <a:pPr algn="l" fontAlgn="base">
              <a:buFont typeface="Arial" panose="020B0604020202020204" pitchFamily="34" charset="0"/>
              <a:buChar char="•"/>
            </a:pPr>
            <a:r>
              <a:rPr lang="en-US" sz="2667" dirty="0">
                <a:solidFill>
                  <a:schemeClr val="bg2">
                    <a:lumMod val="50000"/>
                    <a:lumOff val="50000"/>
                  </a:schemeClr>
                </a:solidFill>
                <a:latin typeface="+mn-lt"/>
                <a:cs typeface="+mn-cs"/>
              </a:rPr>
              <a:t>"Students who experience test anxiety prior to an English exam will get higher scores than students who do not experience test anxiety."​</a:t>
            </a:r>
          </a:p>
          <a:p>
            <a:pPr algn="l" fontAlgn="base">
              <a:buFont typeface="Arial" panose="020B0604020202020204" pitchFamily="34" charset="0"/>
              <a:buChar char="•"/>
            </a:pPr>
            <a:r>
              <a:rPr lang="en-US" sz="2667" dirty="0">
                <a:solidFill>
                  <a:schemeClr val="bg2">
                    <a:lumMod val="50000"/>
                    <a:lumOff val="50000"/>
                  </a:schemeClr>
                </a:solidFill>
                <a:latin typeface="+mn-lt"/>
                <a:cs typeface="+mn-cs"/>
              </a:rPr>
              <a:t>"Motorists who talk on the phone while driving will be more likely to make errors on a driving course than those who do not talk on the phone."</a:t>
            </a:r>
          </a:p>
          <a:p>
            <a:endParaRPr lang="en-US" dirty="0"/>
          </a:p>
        </p:txBody>
      </p:sp>
    </p:spTree>
    <p:extLst>
      <p:ext uri="{BB962C8B-B14F-4D97-AF65-F5344CB8AC3E}">
        <p14:creationId xmlns:p14="http://schemas.microsoft.com/office/powerpoint/2010/main" val="864598898"/>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1A2DF-C782-43C3-85DD-ED0625E18554}"/>
              </a:ext>
            </a:extLst>
          </p:cNvPr>
          <p:cNvSpPr>
            <a:spLocks noGrp="1"/>
          </p:cNvSpPr>
          <p:nvPr>
            <p:ph type="title"/>
          </p:nvPr>
        </p:nvSpPr>
        <p:spPr>
          <a:xfrm>
            <a:off x="139603" y="239185"/>
            <a:ext cx="10607040" cy="853440"/>
          </a:xfrm>
        </p:spPr>
        <p:txBody>
          <a:bodyPr/>
          <a:lstStyle/>
          <a:p>
            <a:r>
              <a:rPr lang="en-US" dirty="0"/>
              <a:t>Blinding</a:t>
            </a:r>
          </a:p>
        </p:txBody>
      </p:sp>
      <p:sp>
        <p:nvSpPr>
          <p:cNvPr id="3" name="Content Placeholder 2">
            <a:extLst>
              <a:ext uri="{FF2B5EF4-FFF2-40B4-BE49-F238E27FC236}">
                <a16:creationId xmlns:a16="http://schemas.microsoft.com/office/drawing/2014/main" id="{CA9BD4F2-0478-4661-9007-E1477BAC0E01}"/>
              </a:ext>
            </a:extLst>
          </p:cNvPr>
          <p:cNvSpPr>
            <a:spLocks noGrp="1"/>
          </p:cNvSpPr>
          <p:nvPr>
            <p:ph sz="half" idx="13"/>
          </p:nvPr>
        </p:nvSpPr>
        <p:spPr>
          <a:xfrm>
            <a:off x="195444" y="1092625"/>
            <a:ext cx="11475371" cy="4267200"/>
          </a:xfrm>
        </p:spPr>
        <p:txBody>
          <a:bodyPr/>
          <a:lstStyle/>
          <a:p>
            <a:pPr marL="0" indent="0">
              <a:buNone/>
            </a:pPr>
            <a:r>
              <a:rPr lang="en-US" sz="2533" dirty="0">
                <a:solidFill>
                  <a:schemeClr val="bg2">
                    <a:lumMod val="50000"/>
                    <a:lumOff val="50000"/>
                  </a:schemeClr>
                </a:solidFill>
                <a:latin typeface="+mn-lt"/>
                <a:cs typeface="+mn-cs"/>
              </a:rPr>
              <a:t>In medical trials, the term blinding, or double-blind, usually refers to the practice of keeping patients in the dark as to whether they are receiving a placebo or not. It can also refer to allocation concealment, which is used to avoid selection bias.</a:t>
            </a:r>
          </a:p>
          <a:p>
            <a:endParaRPr lang="en-US" dirty="0"/>
          </a:p>
        </p:txBody>
      </p:sp>
      <p:sp>
        <p:nvSpPr>
          <p:cNvPr id="7" name="TextBox 6">
            <a:extLst>
              <a:ext uri="{FF2B5EF4-FFF2-40B4-BE49-F238E27FC236}">
                <a16:creationId xmlns:a16="http://schemas.microsoft.com/office/drawing/2014/main" id="{57A9F8A8-4B62-43A5-827C-02314C36DAE8}"/>
              </a:ext>
            </a:extLst>
          </p:cNvPr>
          <p:cNvSpPr txBox="1"/>
          <p:nvPr/>
        </p:nvSpPr>
        <p:spPr>
          <a:xfrm>
            <a:off x="139603" y="2736220"/>
            <a:ext cx="660788" cy="379656"/>
          </a:xfrm>
          <a:prstGeom prst="rect">
            <a:avLst/>
          </a:prstGeom>
          <a:noFill/>
        </p:spPr>
        <p:txBody>
          <a:bodyPr wrap="square" rtlCol="0">
            <a:spAutoFit/>
          </a:bodyPr>
          <a:lstStyle/>
          <a:p>
            <a:pPr>
              <a:buClr>
                <a:schemeClr val="bg1"/>
              </a:buClr>
            </a:pPr>
            <a:r>
              <a:rPr lang="en-US" sz="1867" b="1" dirty="0">
                <a:solidFill>
                  <a:schemeClr val="bg2">
                    <a:lumMod val="50000"/>
                    <a:lumOff val="50000"/>
                  </a:schemeClr>
                </a:solidFill>
              </a:rPr>
              <a:t>EX:</a:t>
            </a:r>
          </a:p>
        </p:txBody>
      </p:sp>
      <p:pic>
        <p:nvPicPr>
          <p:cNvPr id="12" name="Picture 11">
            <a:extLst>
              <a:ext uri="{FF2B5EF4-FFF2-40B4-BE49-F238E27FC236}">
                <a16:creationId xmlns:a16="http://schemas.microsoft.com/office/drawing/2014/main" id="{FA7E0177-D7DE-4E84-A38C-4853407DF3DE}"/>
              </a:ext>
            </a:extLst>
          </p:cNvPr>
          <p:cNvPicPr>
            <a:picLocks noChangeAspect="1"/>
          </p:cNvPicPr>
          <p:nvPr/>
        </p:nvPicPr>
        <p:blipFill>
          <a:blip r:embed="rId2"/>
          <a:stretch>
            <a:fillRect/>
          </a:stretch>
        </p:blipFill>
        <p:spPr>
          <a:xfrm>
            <a:off x="9604691" y="2464225"/>
            <a:ext cx="2438400" cy="2895600"/>
          </a:xfrm>
          <a:prstGeom prst="rect">
            <a:avLst/>
          </a:prstGeom>
        </p:spPr>
      </p:pic>
    </p:spTree>
    <p:extLst>
      <p:ext uri="{BB962C8B-B14F-4D97-AF65-F5344CB8AC3E}">
        <p14:creationId xmlns:p14="http://schemas.microsoft.com/office/powerpoint/2010/main" val="339969583"/>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B2BFF-8604-46B0-8FE4-7231BB82B7EE}"/>
              </a:ext>
            </a:extLst>
          </p:cNvPr>
          <p:cNvSpPr>
            <a:spLocks noGrp="1"/>
          </p:cNvSpPr>
          <p:nvPr>
            <p:ph type="title"/>
          </p:nvPr>
        </p:nvSpPr>
        <p:spPr>
          <a:xfrm>
            <a:off x="182880" y="232217"/>
            <a:ext cx="10607040" cy="853440"/>
          </a:xfrm>
        </p:spPr>
        <p:txBody>
          <a:bodyPr/>
          <a:lstStyle/>
          <a:p>
            <a:r>
              <a:rPr lang="en-US" dirty="0"/>
              <a:t>Double Blinding</a:t>
            </a:r>
          </a:p>
        </p:txBody>
      </p:sp>
      <p:sp>
        <p:nvSpPr>
          <p:cNvPr id="3" name="Content Placeholder 2">
            <a:extLst>
              <a:ext uri="{FF2B5EF4-FFF2-40B4-BE49-F238E27FC236}">
                <a16:creationId xmlns:a16="http://schemas.microsoft.com/office/drawing/2014/main" id="{7D960FF3-9A2A-4E15-829A-89A59910B291}"/>
              </a:ext>
            </a:extLst>
          </p:cNvPr>
          <p:cNvSpPr>
            <a:spLocks noGrp="1"/>
          </p:cNvSpPr>
          <p:nvPr>
            <p:ph sz="half" idx="13"/>
          </p:nvPr>
        </p:nvSpPr>
        <p:spPr>
          <a:xfrm>
            <a:off x="272925" y="1022929"/>
            <a:ext cx="11574720" cy="4267200"/>
          </a:xfrm>
        </p:spPr>
        <p:txBody>
          <a:bodyPr/>
          <a:lstStyle/>
          <a:p>
            <a:r>
              <a:rPr lang="en-US" sz="2533" dirty="0">
                <a:solidFill>
                  <a:schemeClr val="bg2">
                    <a:lumMod val="50000"/>
                    <a:lumOff val="50000"/>
                  </a:schemeClr>
                </a:solidFill>
                <a:latin typeface="+mn-lt"/>
                <a:cs typeface="+mn-cs"/>
              </a:rPr>
              <a:t>A double-blind study is one in which neither the participants nor the experimenters know who is receiving a particular treatment. </a:t>
            </a:r>
          </a:p>
        </p:txBody>
      </p:sp>
      <p:sp>
        <p:nvSpPr>
          <p:cNvPr id="5" name="Rectangle 4">
            <a:extLst>
              <a:ext uri="{FF2B5EF4-FFF2-40B4-BE49-F238E27FC236}">
                <a16:creationId xmlns:a16="http://schemas.microsoft.com/office/drawing/2014/main" id="{467F6821-631D-4CAA-A896-3A96D96D480A}"/>
              </a:ext>
            </a:extLst>
          </p:cNvPr>
          <p:cNvSpPr/>
          <p:nvPr/>
        </p:nvSpPr>
        <p:spPr>
          <a:xfrm>
            <a:off x="182881" y="4748587"/>
            <a:ext cx="11475369" cy="1023756"/>
          </a:xfrm>
          <a:prstGeom prst="rect">
            <a:avLst/>
          </a:prstGeom>
          <a:solidFill>
            <a:schemeClr val="tx1">
              <a:lumMod val="20000"/>
              <a:lumOff val="80000"/>
            </a:schemeClr>
          </a:solidFill>
          <a:ln w="12700" cmpd="sng">
            <a:noFill/>
          </a:ln>
          <a:effectLst/>
        </p:spPr>
        <p:txBody>
          <a:bodyPr wrap="square" lIns="243840" tIns="182880" rIns="182880" bIns="182880" rtlCol="0" anchor="ctr">
            <a:noAutofit/>
          </a:bodyPr>
          <a:lstStyle/>
          <a:p>
            <a:pPr>
              <a:lnSpc>
                <a:spcPct val="90000"/>
              </a:lnSpc>
              <a:spcBef>
                <a:spcPts val="800"/>
              </a:spcBef>
            </a:pPr>
            <a:r>
              <a:rPr lang="en-US" sz="1600" dirty="0"/>
              <a:t>Blinding and double blinding are methods that are used to try and eliminate bias that occurs when researchers and the subject are aware of which group is in which study </a:t>
            </a:r>
          </a:p>
        </p:txBody>
      </p:sp>
      <p:sp>
        <p:nvSpPr>
          <p:cNvPr id="6" name="Rectangle 5">
            <a:extLst>
              <a:ext uri="{FF2B5EF4-FFF2-40B4-BE49-F238E27FC236}">
                <a16:creationId xmlns:a16="http://schemas.microsoft.com/office/drawing/2014/main" id="{CB4C82C2-5050-4599-A646-370098578078}"/>
              </a:ext>
            </a:extLst>
          </p:cNvPr>
          <p:cNvSpPr/>
          <p:nvPr/>
        </p:nvSpPr>
        <p:spPr>
          <a:xfrm>
            <a:off x="182881" y="4748588"/>
            <a:ext cx="180088" cy="1005141"/>
          </a:xfrm>
          <a:prstGeom prst="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7" name="TextBox 6">
            <a:extLst>
              <a:ext uri="{FF2B5EF4-FFF2-40B4-BE49-F238E27FC236}">
                <a16:creationId xmlns:a16="http://schemas.microsoft.com/office/drawing/2014/main" id="{951382A6-2BCC-493A-B623-979398C5254C}"/>
              </a:ext>
            </a:extLst>
          </p:cNvPr>
          <p:cNvSpPr txBox="1"/>
          <p:nvPr/>
        </p:nvSpPr>
        <p:spPr>
          <a:xfrm>
            <a:off x="182881" y="2270204"/>
            <a:ext cx="660788" cy="379656"/>
          </a:xfrm>
          <a:prstGeom prst="rect">
            <a:avLst/>
          </a:prstGeom>
          <a:noFill/>
        </p:spPr>
        <p:txBody>
          <a:bodyPr wrap="square" rtlCol="0">
            <a:spAutoFit/>
          </a:bodyPr>
          <a:lstStyle/>
          <a:p>
            <a:pPr>
              <a:buClr>
                <a:schemeClr val="bg1"/>
              </a:buClr>
            </a:pPr>
            <a:r>
              <a:rPr lang="en-US" sz="1867" b="1" dirty="0">
                <a:solidFill>
                  <a:schemeClr val="bg2">
                    <a:lumMod val="50000"/>
                    <a:lumOff val="50000"/>
                  </a:schemeClr>
                </a:solidFill>
              </a:rPr>
              <a:t>EX:</a:t>
            </a:r>
          </a:p>
        </p:txBody>
      </p:sp>
      <p:pic>
        <p:nvPicPr>
          <p:cNvPr id="8" name="Picture 7" descr="Icon&#10;&#10;Description automatically generated">
            <a:extLst>
              <a:ext uri="{FF2B5EF4-FFF2-40B4-BE49-F238E27FC236}">
                <a16:creationId xmlns:a16="http://schemas.microsoft.com/office/drawing/2014/main" id="{60E230BE-A23E-4204-8EAF-66940F443B7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437307" y="2141899"/>
            <a:ext cx="3571813" cy="2143088"/>
          </a:xfrm>
          <a:prstGeom prst="rect">
            <a:avLst/>
          </a:prstGeom>
        </p:spPr>
      </p:pic>
    </p:spTree>
    <p:extLst>
      <p:ext uri="{BB962C8B-B14F-4D97-AF65-F5344CB8AC3E}">
        <p14:creationId xmlns:p14="http://schemas.microsoft.com/office/powerpoint/2010/main" val="643188253"/>
      </p:ext>
    </p:extLst>
  </p:cSld>
  <p:clrMapOvr>
    <a:masterClrMapping/>
  </p:clrMapOvr>
  <p:transition spd="med">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A2F82-C58B-485C-BE38-1016ABFCB027}"/>
              </a:ext>
            </a:extLst>
          </p:cNvPr>
          <p:cNvSpPr>
            <a:spLocks noGrp="1"/>
          </p:cNvSpPr>
          <p:nvPr>
            <p:ph type="title"/>
          </p:nvPr>
        </p:nvSpPr>
        <p:spPr>
          <a:xfrm>
            <a:off x="67939" y="157763"/>
            <a:ext cx="10607040" cy="853440"/>
          </a:xfrm>
        </p:spPr>
        <p:txBody>
          <a:bodyPr/>
          <a:lstStyle/>
          <a:p>
            <a:r>
              <a:rPr lang="en-US" dirty="0"/>
              <a:t>Why blinding is important in Statistics?</a:t>
            </a:r>
          </a:p>
        </p:txBody>
      </p:sp>
      <p:sp>
        <p:nvSpPr>
          <p:cNvPr id="3" name="Content Placeholder 2">
            <a:extLst>
              <a:ext uri="{FF2B5EF4-FFF2-40B4-BE49-F238E27FC236}">
                <a16:creationId xmlns:a16="http://schemas.microsoft.com/office/drawing/2014/main" id="{2FB9D893-65BA-48E9-9032-45983A01F364}"/>
              </a:ext>
            </a:extLst>
          </p:cNvPr>
          <p:cNvSpPr>
            <a:spLocks noGrp="1"/>
          </p:cNvSpPr>
          <p:nvPr>
            <p:ph sz="half" idx="13"/>
          </p:nvPr>
        </p:nvSpPr>
        <p:spPr>
          <a:xfrm>
            <a:off x="226157" y="1295400"/>
            <a:ext cx="10448823" cy="4267200"/>
          </a:xfrm>
        </p:spPr>
        <p:txBody>
          <a:bodyPr/>
          <a:lstStyle/>
          <a:p>
            <a:r>
              <a:rPr lang="en-US" sz="2533" dirty="0">
                <a:solidFill>
                  <a:schemeClr val="bg2">
                    <a:lumMod val="50000"/>
                    <a:lumOff val="50000"/>
                  </a:schemeClr>
                </a:solidFill>
                <a:latin typeface="+mn-lt"/>
                <a:cs typeface="+mn-cs"/>
              </a:rPr>
              <a:t>Blinding is especially important in subjective trials to avoid skewed results</a:t>
            </a:r>
            <a:r>
              <a:rPr lang="en-US" sz="2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t>
            </a:r>
            <a:r>
              <a:rPr lang="en-US" sz="2400" dirty="0">
                <a:latin typeface="Calibri" panose="020F0502020204030204" pitchFamily="34" charset="0"/>
                <a:ea typeface="DengXian" panose="02010600030101010101" pitchFamily="2" charset="-122"/>
                <a:cs typeface="Times New Roman" panose="02020603050405020304" pitchFamily="18" charset="0"/>
              </a:rPr>
              <a:t> </a:t>
            </a:r>
            <a:endParaRPr lang="en-US" dirty="0"/>
          </a:p>
        </p:txBody>
      </p:sp>
      <p:sp>
        <p:nvSpPr>
          <p:cNvPr id="5" name="TextBox 4">
            <a:extLst>
              <a:ext uri="{FF2B5EF4-FFF2-40B4-BE49-F238E27FC236}">
                <a16:creationId xmlns:a16="http://schemas.microsoft.com/office/drawing/2014/main" id="{5918F907-DDBC-4B77-AF68-08312351098E}"/>
              </a:ext>
            </a:extLst>
          </p:cNvPr>
          <p:cNvSpPr txBox="1"/>
          <p:nvPr/>
        </p:nvSpPr>
        <p:spPr>
          <a:xfrm>
            <a:off x="226157" y="2391193"/>
            <a:ext cx="660788" cy="379656"/>
          </a:xfrm>
          <a:prstGeom prst="rect">
            <a:avLst/>
          </a:prstGeom>
          <a:noFill/>
        </p:spPr>
        <p:txBody>
          <a:bodyPr wrap="square" rtlCol="0">
            <a:spAutoFit/>
          </a:bodyPr>
          <a:lstStyle/>
          <a:p>
            <a:pPr>
              <a:buClr>
                <a:schemeClr val="bg1"/>
              </a:buClr>
            </a:pPr>
            <a:r>
              <a:rPr lang="en-US" sz="1867" b="1" dirty="0">
                <a:solidFill>
                  <a:schemeClr val="bg2">
                    <a:lumMod val="50000"/>
                    <a:lumOff val="50000"/>
                  </a:schemeClr>
                </a:solidFill>
              </a:rPr>
              <a:t>EX:</a:t>
            </a:r>
          </a:p>
        </p:txBody>
      </p:sp>
    </p:spTree>
    <p:extLst>
      <p:ext uri="{BB962C8B-B14F-4D97-AF65-F5344CB8AC3E}">
        <p14:creationId xmlns:p14="http://schemas.microsoft.com/office/powerpoint/2010/main" val="2582633460"/>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12192000" cy="68580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525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524001" y="1"/>
            <a:ext cx="158751" cy="158751"/>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8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100814" y="1843454"/>
            <a:ext cx="11990372" cy="4047391"/>
          </a:xfrm>
        </p:spPr>
        <p:txBody>
          <a:bodyPr/>
          <a:lstStyle/>
          <a:p>
            <a:r>
              <a:rPr lang="en-US" sz="6400" dirty="0">
                <a:solidFill>
                  <a:schemeClr val="tx2"/>
                </a:solidFill>
              </a:rPr>
              <a:t>Describing Data through Statistics</a:t>
            </a:r>
            <a:br>
              <a:rPr lang="en-US" dirty="0"/>
            </a:br>
            <a:br>
              <a:rPr lang="en-US" dirty="0"/>
            </a:br>
            <a:r>
              <a:rPr lang="en-US" dirty="0"/>
              <a:t> </a:t>
            </a:r>
          </a:p>
        </p:txBody>
      </p:sp>
    </p:spTree>
    <p:extLst>
      <p:ext uri="{BB962C8B-B14F-4D97-AF65-F5344CB8AC3E}">
        <p14:creationId xmlns:p14="http://schemas.microsoft.com/office/powerpoint/2010/main" val="850901763"/>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525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524001" y="1"/>
            <a:ext cx="158751" cy="158751"/>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8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12192000" cy="68580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100814" y="1666623"/>
            <a:ext cx="11990372" cy="4047391"/>
          </a:xfrm>
        </p:spPr>
        <p:txBody>
          <a:bodyPr/>
          <a:lstStyle/>
          <a:p>
            <a:r>
              <a:rPr lang="en-US" sz="6400" dirty="0">
                <a:solidFill>
                  <a:schemeClr val="tx2"/>
                </a:solidFill>
              </a:rPr>
              <a:t>Measure of  </a:t>
            </a:r>
            <a:br>
              <a:rPr lang="en-US" sz="6400" dirty="0">
                <a:solidFill>
                  <a:schemeClr val="tx2"/>
                </a:solidFill>
              </a:rPr>
            </a:br>
            <a:r>
              <a:rPr lang="en-US" sz="6400" dirty="0">
                <a:solidFill>
                  <a:schemeClr val="tx2"/>
                </a:solidFill>
              </a:rPr>
              <a:t>Central Tendency</a:t>
            </a:r>
            <a:br>
              <a:rPr lang="en-US" dirty="0"/>
            </a:br>
            <a:br>
              <a:rPr lang="en-US" dirty="0"/>
            </a:br>
            <a:r>
              <a:rPr lang="en-US" dirty="0"/>
              <a:t> </a:t>
            </a:r>
          </a:p>
        </p:txBody>
      </p:sp>
    </p:spTree>
    <p:extLst>
      <p:ext uri="{BB962C8B-B14F-4D97-AF65-F5344CB8AC3E}">
        <p14:creationId xmlns:p14="http://schemas.microsoft.com/office/powerpoint/2010/main" val="665294110"/>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B17AC-8C6F-4E8F-927B-93ABAEA6606B}"/>
              </a:ext>
            </a:extLst>
          </p:cNvPr>
          <p:cNvSpPr>
            <a:spLocks noGrp="1"/>
          </p:cNvSpPr>
          <p:nvPr>
            <p:ph type="title"/>
          </p:nvPr>
        </p:nvSpPr>
        <p:spPr>
          <a:xfrm>
            <a:off x="349008" y="196415"/>
            <a:ext cx="10972800" cy="850392"/>
          </a:xfrm>
        </p:spPr>
        <p:txBody>
          <a:bodyPr/>
          <a:lstStyle/>
          <a:p>
            <a:r>
              <a:rPr lang="en-US" dirty="0"/>
              <a:t>Finding Central Value</a:t>
            </a:r>
          </a:p>
        </p:txBody>
      </p:sp>
      <p:sp>
        <p:nvSpPr>
          <p:cNvPr id="3" name="TextBox 2">
            <a:extLst>
              <a:ext uri="{FF2B5EF4-FFF2-40B4-BE49-F238E27FC236}">
                <a16:creationId xmlns:a16="http://schemas.microsoft.com/office/drawing/2014/main" id="{338B153F-82EC-4EC3-A01C-319C19798D05}"/>
              </a:ext>
            </a:extLst>
          </p:cNvPr>
          <p:cNvSpPr txBox="1"/>
          <p:nvPr/>
        </p:nvSpPr>
        <p:spPr>
          <a:xfrm>
            <a:off x="465344" y="1451873"/>
            <a:ext cx="8562320" cy="2390911"/>
          </a:xfrm>
          <a:prstGeom prst="rect">
            <a:avLst/>
          </a:prstGeom>
          <a:noFill/>
        </p:spPr>
        <p:txBody>
          <a:bodyPr wrap="square" rtlCol="0">
            <a:spAutoFit/>
          </a:bodyPr>
          <a:lstStyle/>
          <a:p>
            <a:pPr>
              <a:buClr>
                <a:schemeClr val="bg1"/>
              </a:buClr>
            </a:pPr>
            <a:r>
              <a:rPr lang="en-US" sz="1867" b="1" dirty="0">
                <a:solidFill>
                  <a:schemeClr val="bg2">
                    <a:lumMod val="50000"/>
                    <a:lumOff val="50000"/>
                  </a:schemeClr>
                </a:solidFill>
              </a:rPr>
              <a:t>For Two Numbers </a:t>
            </a:r>
            <a:r>
              <a:rPr lang="en-US" sz="1867" b="1">
                <a:solidFill>
                  <a:schemeClr val="bg2">
                    <a:lumMod val="50000"/>
                    <a:lumOff val="50000"/>
                  </a:schemeClr>
                </a:solidFill>
              </a:rPr>
              <a:t>:   3 </a:t>
            </a:r>
            <a:r>
              <a:rPr lang="en-US" sz="1867" b="1" dirty="0">
                <a:solidFill>
                  <a:schemeClr val="bg2">
                    <a:lumMod val="50000"/>
                    <a:lumOff val="50000"/>
                  </a:schemeClr>
                </a:solidFill>
              </a:rPr>
              <a:t>and 7 </a:t>
            </a:r>
          </a:p>
          <a:p>
            <a:pPr>
              <a:buClr>
                <a:schemeClr val="bg1"/>
              </a:buClr>
            </a:pPr>
            <a:r>
              <a:rPr lang="en-US" sz="1867" dirty="0">
                <a:solidFill>
                  <a:schemeClr val="bg2">
                    <a:lumMod val="50000"/>
                    <a:lumOff val="50000"/>
                  </a:schemeClr>
                </a:solidFill>
              </a:rPr>
              <a:t>	</a:t>
            </a:r>
          </a:p>
          <a:p>
            <a:pPr>
              <a:buClr>
                <a:schemeClr val="bg1"/>
              </a:buClr>
            </a:pPr>
            <a:r>
              <a:rPr lang="en-US" sz="1867" dirty="0">
                <a:solidFill>
                  <a:schemeClr val="bg2">
                    <a:lumMod val="50000"/>
                    <a:lumOff val="50000"/>
                  </a:schemeClr>
                </a:solidFill>
              </a:rPr>
              <a:t>	Central value </a:t>
            </a:r>
            <a:r>
              <a:rPr lang="en-US" sz="1867">
                <a:solidFill>
                  <a:schemeClr val="bg2">
                    <a:lumMod val="50000"/>
                    <a:lumOff val="50000"/>
                  </a:schemeClr>
                </a:solidFill>
              </a:rPr>
              <a:t>: (3 </a:t>
            </a:r>
            <a:r>
              <a:rPr lang="en-US" sz="1867" dirty="0">
                <a:solidFill>
                  <a:schemeClr val="bg2">
                    <a:lumMod val="50000"/>
                    <a:lumOff val="50000"/>
                  </a:schemeClr>
                </a:solidFill>
              </a:rPr>
              <a:t>+ 7) / 2 = </a:t>
            </a:r>
          </a:p>
          <a:p>
            <a:pPr>
              <a:buClr>
                <a:schemeClr val="bg1"/>
              </a:buClr>
            </a:pPr>
            <a:endParaRPr lang="en-US" sz="1867" dirty="0">
              <a:solidFill>
                <a:schemeClr val="bg2">
                  <a:lumMod val="50000"/>
                  <a:lumOff val="50000"/>
                </a:schemeClr>
              </a:solidFill>
            </a:endParaRPr>
          </a:p>
          <a:p>
            <a:pPr>
              <a:buClr>
                <a:schemeClr val="bg1"/>
              </a:buClr>
            </a:pPr>
            <a:endParaRPr lang="en-US" sz="1867" dirty="0">
              <a:solidFill>
                <a:schemeClr val="bg2">
                  <a:lumMod val="50000"/>
                  <a:lumOff val="50000"/>
                </a:schemeClr>
              </a:solidFill>
            </a:endParaRPr>
          </a:p>
          <a:p>
            <a:pPr>
              <a:buClr>
                <a:schemeClr val="bg1"/>
              </a:buClr>
            </a:pPr>
            <a:r>
              <a:rPr lang="en-US" sz="1867" b="1" dirty="0">
                <a:solidFill>
                  <a:schemeClr val="bg2">
                    <a:lumMod val="50000"/>
                    <a:lumOff val="50000"/>
                  </a:schemeClr>
                </a:solidFill>
              </a:rPr>
              <a:t>For three numbers </a:t>
            </a:r>
            <a:r>
              <a:rPr lang="en-US" sz="1867" b="1">
                <a:solidFill>
                  <a:schemeClr val="bg2">
                    <a:lumMod val="50000"/>
                    <a:lumOff val="50000"/>
                  </a:schemeClr>
                </a:solidFill>
              </a:rPr>
              <a:t>: 3, </a:t>
            </a:r>
            <a:r>
              <a:rPr lang="en-US" sz="1867" b="1" dirty="0">
                <a:solidFill>
                  <a:schemeClr val="bg2">
                    <a:lumMod val="50000"/>
                    <a:lumOff val="50000"/>
                  </a:schemeClr>
                </a:solidFill>
              </a:rPr>
              <a:t>7, 8</a:t>
            </a:r>
          </a:p>
          <a:p>
            <a:pPr>
              <a:buClr>
                <a:schemeClr val="bg1"/>
              </a:buClr>
            </a:pPr>
            <a:endParaRPr lang="en-US" sz="1867" dirty="0">
              <a:solidFill>
                <a:schemeClr val="bg2">
                  <a:lumMod val="50000"/>
                  <a:lumOff val="50000"/>
                </a:schemeClr>
              </a:solidFill>
            </a:endParaRPr>
          </a:p>
          <a:p>
            <a:pPr>
              <a:buClr>
                <a:schemeClr val="bg1"/>
              </a:buClr>
            </a:pPr>
            <a:r>
              <a:rPr lang="en-US" sz="1867" dirty="0">
                <a:solidFill>
                  <a:schemeClr val="bg2">
                    <a:lumMod val="50000"/>
                    <a:lumOff val="50000"/>
                  </a:schemeClr>
                </a:solidFill>
              </a:rPr>
              <a:t>	Central value </a:t>
            </a:r>
            <a:r>
              <a:rPr lang="en-US" sz="1867">
                <a:solidFill>
                  <a:schemeClr val="bg2">
                    <a:lumMod val="50000"/>
                    <a:lumOff val="50000"/>
                  </a:schemeClr>
                </a:solidFill>
              </a:rPr>
              <a:t>: (3+7+8</a:t>
            </a:r>
            <a:r>
              <a:rPr lang="en-US" sz="1867" dirty="0">
                <a:solidFill>
                  <a:schemeClr val="bg2">
                    <a:lumMod val="50000"/>
                    <a:lumOff val="50000"/>
                  </a:schemeClr>
                </a:solidFill>
              </a:rPr>
              <a:t>) / 2 = </a:t>
            </a:r>
          </a:p>
        </p:txBody>
      </p:sp>
    </p:spTree>
    <p:extLst>
      <p:ext uri="{BB962C8B-B14F-4D97-AF65-F5344CB8AC3E}">
        <p14:creationId xmlns:p14="http://schemas.microsoft.com/office/powerpoint/2010/main" val="3501129861"/>
      </p:ext>
    </p:extLst>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3019A-8969-4E41-917D-0CD27630D77D}"/>
              </a:ext>
            </a:extLst>
          </p:cNvPr>
          <p:cNvSpPr>
            <a:spLocks noGrp="1"/>
          </p:cNvSpPr>
          <p:nvPr>
            <p:ph type="title"/>
          </p:nvPr>
        </p:nvSpPr>
        <p:spPr>
          <a:xfrm>
            <a:off x="0" y="0"/>
            <a:ext cx="10972800" cy="850392"/>
          </a:xfrm>
        </p:spPr>
        <p:txBody>
          <a:bodyPr/>
          <a:lstStyle/>
          <a:p>
            <a:r>
              <a:rPr lang="en-US" dirty="0"/>
              <a:t>Measure of Central Tendency</a:t>
            </a:r>
          </a:p>
        </p:txBody>
      </p:sp>
      <p:sp>
        <p:nvSpPr>
          <p:cNvPr id="4" name="Content Placeholder 2">
            <a:extLst>
              <a:ext uri="{FF2B5EF4-FFF2-40B4-BE49-F238E27FC236}">
                <a16:creationId xmlns:a16="http://schemas.microsoft.com/office/drawing/2014/main" id="{39E72A63-31AC-4F6E-9D77-DF5F16FB8C2D}"/>
              </a:ext>
            </a:extLst>
          </p:cNvPr>
          <p:cNvSpPr txBox="1">
            <a:spLocks/>
          </p:cNvSpPr>
          <p:nvPr/>
        </p:nvSpPr>
        <p:spPr>
          <a:xfrm>
            <a:off x="261989" y="850392"/>
            <a:ext cx="10448823" cy="4267200"/>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r>
              <a:rPr lang="en-US" sz="2533" b="1" dirty="0">
                <a:solidFill>
                  <a:schemeClr val="bg2">
                    <a:lumMod val="50000"/>
                    <a:lumOff val="50000"/>
                  </a:schemeClr>
                </a:solidFill>
                <a:latin typeface="+mn-lt"/>
                <a:ea typeface="+mn-ea"/>
              </a:rPr>
              <a:t>Measure of central tendency </a:t>
            </a:r>
            <a:r>
              <a:rPr lang="en-US" sz="2533" i="1" dirty="0">
                <a:solidFill>
                  <a:schemeClr val="bg2">
                    <a:lumMod val="50000"/>
                    <a:lumOff val="50000"/>
                  </a:schemeClr>
                </a:solidFill>
                <a:latin typeface="+mn-lt"/>
                <a:ea typeface="+mn-ea"/>
              </a:rPr>
              <a:t>yield information about the center, or middle part,</a:t>
            </a:r>
            <a:r>
              <a:rPr lang="en-US" sz="2533" dirty="0">
                <a:solidFill>
                  <a:schemeClr val="bg2">
                    <a:lumMod val="50000"/>
                    <a:lumOff val="50000"/>
                  </a:schemeClr>
                </a:solidFill>
                <a:latin typeface="+mn-lt"/>
                <a:ea typeface="+mn-ea"/>
              </a:rPr>
              <a:t> </a:t>
            </a:r>
            <a:r>
              <a:rPr lang="en-US" sz="2533" i="1" dirty="0">
                <a:solidFill>
                  <a:schemeClr val="bg2">
                    <a:lumMod val="50000"/>
                    <a:lumOff val="50000"/>
                  </a:schemeClr>
                </a:solidFill>
                <a:latin typeface="+mn-lt"/>
                <a:ea typeface="+mn-ea"/>
              </a:rPr>
              <a:t>of a group of numbers</a:t>
            </a:r>
            <a:endParaRPr lang="en-US" sz="1867" i="1" kern="0" dirty="0"/>
          </a:p>
        </p:txBody>
      </p:sp>
      <p:sp>
        <p:nvSpPr>
          <p:cNvPr id="5" name="Rectangle 4">
            <a:extLst>
              <a:ext uri="{FF2B5EF4-FFF2-40B4-BE49-F238E27FC236}">
                <a16:creationId xmlns:a16="http://schemas.microsoft.com/office/drawing/2014/main" id="{A43048EA-074A-4CE3-A9B1-938902706637}"/>
              </a:ext>
            </a:extLst>
          </p:cNvPr>
          <p:cNvSpPr/>
          <p:nvPr/>
        </p:nvSpPr>
        <p:spPr>
          <a:xfrm>
            <a:off x="426721" y="2112660"/>
            <a:ext cx="2968891" cy="2568696"/>
          </a:xfrm>
          <a:prstGeom prst="rect">
            <a:avLst/>
          </a:prstGeom>
          <a:noFill/>
          <a:ln w="19050" cmpd="sng">
            <a:solidFill>
              <a:schemeClr val="tx1"/>
            </a:solidFill>
          </a:ln>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6" name="TextBox 5">
            <a:extLst>
              <a:ext uri="{FF2B5EF4-FFF2-40B4-BE49-F238E27FC236}">
                <a16:creationId xmlns:a16="http://schemas.microsoft.com/office/drawing/2014/main" id="{700023B3-6EF9-4F3A-8FD6-79F54B337413}"/>
              </a:ext>
            </a:extLst>
          </p:cNvPr>
          <p:cNvSpPr txBox="1"/>
          <p:nvPr/>
        </p:nvSpPr>
        <p:spPr>
          <a:xfrm>
            <a:off x="521186" y="2326718"/>
            <a:ext cx="2615229" cy="2144305"/>
          </a:xfrm>
          <a:prstGeom prst="rect">
            <a:avLst/>
          </a:prstGeom>
          <a:noFill/>
        </p:spPr>
        <p:txBody>
          <a:bodyPr wrap="square" rtlCol="0">
            <a:spAutoFit/>
          </a:bodyPr>
          <a:lstStyle/>
          <a:p>
            <a:pPr>
              <a:buClr>
                <a:schemeClr val="bg1"/>
              </a:buClr>
            </a:pPr>
            <a:r>
              <a:rPr lang="en-US" sz="1867" b="1" dirty="0">
                <a:solidFill>
                  <a:schemeClr val="accent1"/>
                </a:solidFill>
              </a:rPr>
              <a:t>MEAN :</a:t>
            </a:r>
          </a:p>
          <a:p>
            <a:pPr>
              <a:buClr>
                <a:schemeClr val="bg1"/>
              </a:buClr>
            </a:pPr>
            <a:endParaRPr lang="en-US" sz="1867" b="1" dirty="0">
              <a:solidFill>
                <a:schemeClr val="accent1"/>
              </a:solidFill>
            </a:endParaRPr>
          </a:p>
          <a:p>
            <a:pPr>
              <a:buClr>
                <a:schemeClr val="bg1"/>
              </a:buClr>
            </a:pPr>
            <a:r>
              <a:rPr lang="en-US" sz="2400" dirty="0">
                <a:solidFill>
                  <a:schemeClr val="bg2">
                    <a:lumMod val="50000"/>
                    <a:lumOff val="50000"/>
                  </a:schemeClr>
                </a:solidFill>
                <a:latin typeface="Inter"/>
              </a:rPr>
              <a:t>The sum of all values divided by the total number of values</a:t>
            </a:r>
            <a:endParaRPr lang="en-US" sz="2400" b="1" dirty="0">
              <a:solidFill>
                <a:schemeClr val="bg2">
                  <a:lumMod val="50000"/>
                  <a:lumOff val="50000"/>
                </a:schemeClr>
              </a:solidFill>
            </a:endParaRPr>
          </a:p>
        </p:txBody>
      </p:sp>
      <p:sp>
        <p:nvSpPr>
          <p:cNvPr id="7" name="Rectangle 6">
            <a:extLst>
              <a:ext uri="{FF2B5EF4-FFF2-40B4-BE49-F238E27FC236}">
                <a16:creationId xmlns:a16="http://schemas.microsoft.com/office/drawing/2014/main" id="{1A7A125E-8E88-4D2C-B02B-C3AD10A4C40F}"/>
              </a:ext>
            </a:extLst>
          </p:cNvPr>
          <p:cNvSpPr/>
          <p:nvPr/>
        </p:nvSpPr>
        <p:spPr>
          <a:xfrm>
            <a:off x="4409285" y="2112660"/>
            <a:ext cx="2968891" cy="2568696"/>
          </a:xfrm>
          <a:prstGeom prst="rect">
            <a:avLst/>
          </a:prstGeom>
          <a:noFill/>
          <a:ln w="19050" cmpd="sng">
            <a:solidFill>
              <a:schemeClr val="tx1"/>
            </a:solidFill>
          </a:ln>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8" name="TextBox 7">
            <a:extLst>
              <a:ext uri="{FF2B5EF4-FFF2-40B4-BE49-F238E27FC236}">
                <a16:creationId xmlns:a16="http://schemas.microsoft.com/office/drawing/2014/main" id="{89DAB812-C601-44F9-A00D-018D6B1E0839}"/>
              </a:ext>
            </a:extLst>
          </p:cNvPr>
          <p:cNvSpPr txBox="1"/>
          <p:nvPr/>
        </p:nvSpPr>
        <p:spPr>
          <a:xfrm>
            <a:off x="4503750" y="2326717"/>
            <a:ext cx="2615229" cy="1713418"/>
          </a:xfrm>
          <a:prstGeom prst="rect">
            <a:avLst/>
          </a:prstGeom>
          <a:noFill/>
        </p:spPr>
        <p:txBody>
          <a:bodyPr wrap="square" rtlCol="0">
            <a:spAutoFit/>
          </a:bodyPr>
          <a:lstStyle/>
          <a:p>
            <a:pPr>
              <a:buClr>
                <a:schemeClr val="bg1"/>
              </a:buClr>
            </a:pPr>
            <a:r>
              <a:rPr lang="en-US" sz="1867" b="1" dirty="0">
                <a:solidFill>
                  <a:schemeClr val="accent1"/>
                </a:solidFill>
              </a:rPr>
              <a:t>MEDIAN :</a:t>
            </a:r>
            <a:endParaRPr lang="en-US" sz="1467" b="1" dirty="0">
              <a:solidFill>
                <a:schemeClr val="accent1"/>
              </a:solidFill>
            </a:endParaRPr>
          </a:p>
          <a:p>
            <a:pPr>
              <a:buClr>
                <a:schemeClr val="bg1"/>
              </a:buClr>
            </a:pPr>
            <a:endParaRPr lang="en-US" sz="1467" b="1" dirty="0">
              <a:solidFill>
                <a:schemeClr val="accent1"/>
              </a:solidFill>
            </a:endParaRPr>
          </a:p>
          <a:p>
            <a:pPr>
              <a:buClr>
                <a:schemeClr val="bg1"/>
              </a:buClr>
            </a:pPr>
            <a:r>
              <a:rPr lang="en-US" sz="2400" dirty="0">
                <a:solidFill>
                  <a:schemeClr val="bg2">
                    <a:lumMod val="50000"/>
                    <a:lumOff val="50000"/>
                  </a:schemeClr>
                </a:solidFill>
                <a:latin typeface="Inter"/>
              </a:rPr>
              <a:t>The middle number in an ordered data set</a:t>
            </a:r>
          </a:p>
        </p:txBody>
      </p:sp>
      <p:sp>
        <p:nvSpPr>
          <p:cNvPr id="9" name="Rectangle 8">
            <a:extLst>
              <a:ext uri="{FF2B5EF4-FFF2-40B4-BE49-F238E27FC236}">
                <a16:creationId xmlns:a16="http://schemas.microsoft.com/office/drawing/2014/main" id="{905A28FF-286E-472E-85BF-8CEB657F1CF3}"/>
              </a:ext>
            </a:extLst>
          </p:cNvPr>
          <p:cNvSpPr/>
          <p:nvPr/>
        </p:nvSpPr>
        <p:spPr>
          <a:xfrm>
            <a:off x="8391851" y="2112660"/>
            <a:ext cx="2968891" cy="2568696"/>
          </a:xfrm>
          <a:prstGeom prst="rect">
            <a:avLst/>
          </a:prstGeom>
          <a:noFill/>
          <a:ln w="19050" cmpd="sng">
            <a:solidFill>
              <a:schemeClr val="tx1"/>
            </a:solidFill>
          </a:ln>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10" name="TextBox 9">
            <a:extLst>
              <a:ext uri="{FF2B5EF4-FFF2-40B4-BE49-F238E27FC236}">
                <a16:creationId xmlns:a16="http://schemas.microsoft.com/office/drawing/2014/main" id="{67FCE0DA-E98D-49E1-B9C2-4C30AF458A0C}"/>
              </a:ext>
            </a:extLst>
          </p:cNvPr>
          <p:cNvSpPr txBox="1"/>
          <p:nvPr/>
        </p:nvSpPr>
        <p:spPr>
          <a:xfrm>
            <a:off x="8486315" y="2326718"/>
            <a:ext cx="2615229" cy="1159420"/>
          </a:xfrm>
          <a:prstGeom prst="rect">
            <a:avLst/>
          </a:prstGeom>
          <a:noFill/>
        </p:spPr>
        <p:txBody>
          <a:bodyPr wrap="square" rtlCol="0">
            <a:spAutoFit/>
          </a:bodyPr>
          <a:lstStyle/>
          <a:p>
            <a:pPr>
              <a:buClr>
                <a:schemeClr val="bg1"/>
              </a:buClr>
            </a:pPr>
            <a:r>
              <a:rPr lang="en-US" sz="1867" b="1" dirty="0">
                <a:solidFill>
                  <a:schemeClr val="accent1"/>
                </a:solidFill>
              </a:rPr>
              <a:t>MODE :</a:t>
            </a:r>
            <a:endParaRPr lang="en-US" sz="1333" b="1" dirty="0">
              <a:solidFill>
                <a:schemeClr val="accent1"/>
              </a:solidFill>
            </a:endParaRPr>
          </a:p>
          <a:p>
            <a:pPr>
              <a:buClr>
                <a:schemeClr val="bg1"/>
              </a:buClr>
            </a:pPr>
            <a:endParaRPr lang="en-US" sz="1333" b="1" dirty="0">
              <a:solidFill>
                <a:schemeClr val="accent1"/>
              </a:solidFill>
            </a:endParaRPr>
          </a:p>
          <a:p>
            <a:pPr>
              <a:buClr>
                <a:schemeClr val="bg1"/>
              </a:buClr>
            </a:pPr>
            <a:r>
              <a:rPr lang="en-US" sz="1867" dirty="0">
                <a:solidFill>
                  <a:schemeClr val="bg2">
                    <a:lumMod val="50000"/>
                    <a:lumOff val="50000"/>
                  </a:schemeClr>
                </a:solidFill>
                <a:latin typeface="Inter"/>
              </a:rPr>
              <a:t>The most frequent value</a:t>
            </a:r>
          </a:p>
          <a:p>
            <a:pPr>
              <a:buClr>
                <a:schemeClr val="bg1"/>
              </a:buClr>
            </a:pPr>
            <a:endParaRPr lang="en-US" sz="1867" b="1" dirty="0">
              <a:solidFill>
                <a:schemeClr val="accent1"/>
              </a:solidFill>
            </a:endParaRPr>
          </a:p>
        </p:txBody>
      </p:sp>
    </p:spTree>
    <p:extLst>
      <p:ext uri="{BB962C8B-B14F-4D97-AF65-F5344CB8AC3E}">
        <p14:creationId xmlns:p14="http://schemas.microsoft.com/office/powerpoint/2010/main" val="4068607360"/>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8C326E3-E793-4419-9749-AAB5C1FA8435}"/>
              </a:ext>
            </a:extLst>
          </p:cNvPr>
          <p:cNvSpPr>
            <a:spLocks noGrp="1"/>
          </p:cNvSpPr>
          <p:nvPr>
            <p:ph type="body" sz="quarter" idx="10"/>
          </p:nvPr>
        </p:nvSpPr>
        <p:spPr>
          <a:xfrm>
            <a:off x="365757" y="879895"/>
            <a:ext cx="10607040" cy="318456"/>
          </a:xfrm>
        </p:spPr>
        <p:txBody>
          <a:bodyPr>
            <a:normAutofit fontScale="92500" lnSpcReduction="10000"/>
          </a:bodyPr>
          <a:lstStyle/>
          <a:p>
            <a:pPr marL="0" indent="0">
              <a:buNone/>
            </a:pPr>
            <a:r>
              <a:rPr lang="en-US" dirty="0"/>
              <a:t>Let’s </a:t>
            </a:r>
            <a:r>
              <a:rPr lang="en-US" dirty="0" err="1"/>
              <a:t>Gooooooooooo</a:t>
            </a:r>
            <a:r>
              <a:rPr lang="en-US" dirty="0"/>
              <a:t>… </a:t>
            </a:r>
          </a:p>
        </p:txBody>
      </p:sp>
      <p:sp>
        <p:nvSpPr>
          <p:cNvPr id="2" name="Title 1">
            <a:extLst>
              <a:ext uri="{FF2B5EF4-FFF2-40B4-BE49-F238E27FC236}">
                <a16:creationId xmlns:a16="http://schemas.microsoft.com/office/drawing/2014/main" id="{4643F953-1C23-46FD-AAAE-48D1EF3239AA}"/>
              </a:ext>
            </a:extLst>
          </p:cNvPr>
          <p:cNvSpPr>
            <a:spLocks noGrp="1"/>
          </p:cNvSpPr>
          <p:nvPr>
            <p:ph type="title"/>
          </p:nvPr>
        </p:nvSpPr>
        <p:spPr>
          <a:xfrm>
            <a:off x="235463" y="97851"/>
            <a:ext cx="10607040" cy="853440"/>
          </a:xfrm>
        </p:spPr>
        <p:txBody>
          <a:bodyPr>
            <a:normAutofit/>
          </a:bodyPr>
          <a:lstStyle/>
          <a:p>
            <a:r>
              <a:rPr lang="en-US" sz="4267" dirty="0"/>
              <a:t>Ready ??????????????</a:t>
            </a:r>
            <a:endParaRPr lang="en-US" dirty="0"/>
          </a:p>
        </p:txBody>
      </p:sp>
      <p:pic>
        <p:nvPicPr>
          <p:cNvPr id="6" name="Picture 5" descr="A red car driving on a road&#10;&#10;Description automatically generated with medium confidence">
            <a:extLst>
              <a:ext uri="{FF2B5EF4-FFF2-40B4-BE49-F238E27FC236}">
                <a16:creationId xmlns:a16="http://schemas.microsoft.com/office/drawing/2014/main" id="{24B9B8C4-AA54-41BC-B108-D9677BC8109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65758" y="1586051"/>
            <a:ext cx="9211012" cy="4761235"/>
          </a:xfrm>
          <a:prstGeom prst="rect">
            <a:avLst/>
          </a:prstGeom>
        </p:spPr>
      </p:pic>
    </p:spTree>
    <p:extLst>
      <p:ext uri="{BB962C8B-B14F-4D97-AF65-F5344CB8AC3E}">
        <p14:creationId xmlns:p14="http://schemas.microsoft.com/office/powerpoint/2010/main" val="379037975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602528787"/>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6C7DD8-E1BC-4EBD-BFD4-E6A6AF47F2E0}"/>
              </a:ext>
            </a:extLst>
          </p:cNvPr>
          <p:cNvSpPr>
            <a:spLocks noGrp="1"/>
          </p:cNvSpPr>
          <p:nvPr>
            <p:ph type="title"/>
          </p:nvPr>
        </p:nvSpPr>
        <p:spPr>
          <a:xfrm>
            <a:off x="151701" y="157763"/>
            <a:ext cx="10607040" cy="853440"/>
          </a:xfrm>
        </p:spPr>
        <p:txBody>
          <a:bodyPr/>
          <a:lstStyle/>
          <a:p>
            <a:r>
              <a:rPr lang="en-US" dirty="0"/>
              <a:t>Mean </a:t>
            </a:r>
          </a:p>
        </p:txBody>
      </p:sp>
      <p:sp>
        <p:nvSpPr>
          <p:cNvPr id="4" name="Content Placeholder 3">
            <a:extLst>
              <a:ext uri="{FF2B5EF4-FFF2-40B4-BE49-F238E27FC236}">
                <a16:creationId xmlns:a16="http://schemas.microsoft.com/office/drawing/2014/main" id="{76ABAD4C-07E6-4B48-A259-F8E361E4AAD0}"/>
              </a:ext>
            </a:extLst>
          </p:cNvPr>
          <p:cNvSpPr>
            <a:spLocks noGrp="1"/>
          </p:cNvSpPr>
          <p:nvPr>
            <p:ph sz="half" idx="1"/>
          </p:nvPr>
        </p:nvSpPr>
        <p:spPr>
          <a:xfrm>
            <a:off x="151701" y="1104725"/>
            <a:ext cx="10607040" cy="4023360"/>
          </a:xfrm>
        </p:spPr>
        <p:txBody>
          <a:bodyPr/>
          <a:lstStyle/>
          <a:p>
            <a:r>
              <a:rPr lang="en-US" dirty="0"/>
              <a:t>The mean is the average of a group of number and is computed by summing all numbers and dividing by the number of numbers.</a:t>
            </a:r>
          </a:p>
          <a:p>
            <a:endParaRPr lang="en-US" dirty="0"/>
          </a:p>
          <a:p>
            <a:pPr marL="0" indent="0">
              <a:buNone/>
            </a:pPr>
            <a:r>
              <a:rPr lang="en-US" b="1" dirty="0"/>
              <a:t>Ex: </a:t>
            </a:r>
            <a:r>
              <a:rPr lang="en-US" dirty="0"/>
              <a:t>of a Jumping castle</a:t>
            </a:r>
          </a:p>
          <a:p>
            <a:endParaRPr lang="en-US" dirty="0"/>
          </a:p>
          <a:p>
            <a:pPr marL="0" indent="0">
              <a:buNone/>
            </a:pPr>
            <a:endParaRPr lang="en-US" dirty="0"/>
          </a:p>
        </p:txBody>
      </p:sp>
      <p:pic>
        <p:nvPicPr>
          <p:cNvPr id="8" name="Picture 7" descr="A picture containing tree, outdoor, colorful&#10;&#10;Description automatically generated">
            <a:extLst>
              <a:ext uri="{FF2B5EF4-FFF2-40B4-BE49-F238E27FC236}">
                <a16:creationId xmlns:a16="http://schemas.microsoft.com/office/drawing/2014/main" id="{431D9C13-880E-4616-A698-2D43B2DD595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920989" y="2531467"/>
            <a:ext cx="3893028" cy="2596619"/>
          </a:xfrm>
          <a:prstGeom prst="rect">
            <a:avLst/>
          </a:prstGeom>
        </p:spPr>
      </p:pic>
      <p:sp>
        <p:nvSpPr>
          <p:cNvPr id="10" name="TextBox 9">
            <a:extLst>
              <a:ext uri="{FF2B5EF4-FFF2-40B4-BE49-F238E27FC236}">
                <a16:creationId xmlns:a16="http://schemas.microsoft.com/office/drawing/2014/main" id="{9527B901-F112-4CF6-B0AB-5B0206A695F7}"/>
              </a:ext>
            </a:extLst>
          </p:cNvPr>
          <p:cNvSpPr txBox="1"/>
          <p:nvPr/>
        </p:nvSpPr>
        <p:spPr>
          <a:xfrm>
            <a:off x="151702" y="5695804"/>
            <a:ext cx="6781917" cy="379656"/>
          </a:xfrm>
          <a:prstGeom prst="rect">
            <a:avLst/>
          </a:prstGeom>
          <a:noFill/>
        </p:spPr>
        <p:txBody>
          <a:bodyPr wrap="square" rtlCol="0">
            <a:spAutoFit/>
          </a:bodyPr>
          <a:lstStyle/>
          <a:p>
            <a:pPr>
              <a:buClr>
                <a:schemeClr val="bg1"/>
              </a:buClr>
            </a:pPr>
            <a:r>
              <a:rPr lang="en-US" sz="1867" dirty="0">
                <a:solidFill>
                  <a:schemeClr val="bg2"/>
                </a:solidFill>
              </a:rPr>
              <a:t>Here the mean is accurate but not useful</a:t>
            </a:r>
          </a:p>
        </p:txBody>
      </p:sp>
    </p:spTree>
    <p:extLst>
      <p:ext uri="{BB962C8B-B14F-4D97-AF65-F5344CB8AC3E}">
        <p14:creationId xmlns:p14="http://schemas.microsoft.com/office/powerpoint/2010/main" val="2688859099"/>
      </p:ext>
    </p:extLst>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22DD31-3378-4BFD-858A-45134180E98B}"/>
              </a:ext>
            </a:extLst>
          </p:cNvPr>
          <p:cNvSpPr>
            <a:spLocks noGrp="1"/>
          </p:cNvSpPr>
          <p:nvPr>
            <p:ph type="title"/>
          </p:nvPr>
        </p:nvSpPr>
        <p:spPr>
          <a:xfrm>
            <a:off x="105165" y="111228"/>
            <a:ext cx="10607040" cy="853440"/>
          </a:xfrm>
        </p:spPr>
        <p:txBody>
          <a:bodyPr/>
          <a:lstStyle/>
          <a:p>
            <a:r>
              <a:rPr lang="en-US" dirty="0"/>
              <a:t>Median</a:t>
            </a:r>
          </a:p>
        </p:txBody>
      </p:sp>
      <p:sp>
        <p:nvSpPr>
          <p:cNvPr id="4" name="Content Placeholder 3">
            <a:extLst>
              <a:ext uri="{FF2B5EF4-FFF2-40B4-BE49-F238E27FC236}">
                <a16:creationId xmlns:a16="http://schemas.microsoft.com/office/drawing/2014/main" id="{6E9599F9-7E29-4BD8-8E52-18FF8C724383}"/>
              </a:ext>
            </a:extLst>
          </p:cNvPr>
          <p:cNvSpPr>
            <a:spLocks noGrp="1"/>
          </p:cNvSpPr>
          <p:nvPr>
            <p:ph sz="half" idx="1"/>
          </p:nvPr>
        </p:nvSpPr>
        <p:spPr>
          <a:xfrm>
            <a:off x="272689" y="1160567"/>
            <a:ext cx="11025851" cy="4023360"/>
          </a:xfrm>
        </p:spPr>
        <p:txBody>
          <a:bodyPr/>
          <a:lstStyle/>
          <a:p>
            <a:r>
              <a:rPr lang="en-US" dirty="0"/>
              <a:t>List all the numbers in order and choose the middle one</a:t>
            </a:r>
          </a:p>
          <a:p>
            <a:r>
              <a:rPr lang="en-US" dirty="0"/>
              <a:t>Ex : Jumping castle continued </a:t>
            </a:r>
          </a:p>
          <a:p>
            <a:r>
              <a:rPr lang="en-US" dirty="0"/>
              <a:t>List the ages in order.</a:t>
            </a:r>
          </a:p>
        </p:txBody>
      </p:sp>
      <p:pic>
        <p:nvPicPr>
          <p:cNvPr id="6" name="Picture 5" descr="A group of planets in space&#10;&#10;Description automatically generated with low confidence">
            <a:extLst>
              <a:ext uri="{FF2B5EF4-FFF2-40B4-BE49-F238E27FC236}">
                <a16:creationId xmlns:a16="http://schemas.microsoft.com/office/drawing/2014/main" id="{375C0BAF-A535-485E-8530-85DE19CD3D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030058" y="2003062"/>
            <a:ext cx="4889253" cy="3261380"/>
          </a:xfrm>
          <a:prstGeom prst="rect">
            <a:avLst/>
          </a:prstGeom>
        </p:spPr>
      </p:pic>
    </p:spTree>
    <p:extLst>
      <p:ext uri="{BB962C8B-B14F-4D97-AF65-F5344CB8AC3E}">
        <p14:creationId xmlns:p14="http://schemas.microsoft.com/office/powerpoint/2010/main" val="1532996662"/>
      </p:ext>
    </p:extLst>
  </p:cSld>
  <p:clrMapOvr>
    <a:masterClrMapping/>
  </p:clrMapOvr>
  <p:transition spd="med">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ABBA51-A685-4F2C-AE0B-DE4088F8EF66}"/>
              </a:ext>
            </a:extLst>
          </p:cNvPr>
          <p:cNvSpPr>
            <a:spLocks noGrp="1"/>
          </p:cNvSpPr>
          <p:nvPr>
            <p:ph type="title"/>
          </p:nvPr>
        </p:nvSpPr>
        <p:spPr/>
        <p:txBody>
          <a:bodyPr/>
          <a:lstStyle/>
          <a:p>
            <a:r>
              <a:rPr lang="en-US" dirty="0"/>
              <a:t>Median – Two middle numbers</a:t>
            </a:r>
          </a:p>
        </p:txBody>
      </p:sp>
      <p:sp>
        <p:nvSpPr>
          <p:cNvPr id="4" name="Content Placeholder 3">
            <a:extLst>
              <a:ext uri="{FF2B5EF4-FFF2-40B4-BE49-F238E27FC236}">
                <a16:creationId xmlns:a16="http://schemas.microsoft.com/office/drawing/2014/main" id="{B4DE2912-DDA6-440E-BEA6-B3A254DD16E9}"/>
              </a:ext>
            </a:extLst>
          </p:cNvPr>
          <p:cNvSpPr>
            <a:spLocks noGrp="1"/>
          </p:cNvSpPr>
          <p:nvPr>
            <p:ph sz="half" idx="1"/>
          </p:nvPr>
        </p:nvSpPr>
        <p:spPr>
          <a:xfrm>
            <a:off x="365759" y="1346704"/>
            <a:ext cx="10607040" cy="4023360"/>
          </a:xfrm>
        </p:spPr>
        <p:txBody>
          <a:bodyPr/>
          <a:lstStyle/>
          <a:p>
            <a:r>
              <a:rPr lang="en-US" dirty="0"/>
              <a:t>If there are two middle number, then just take the average of those two numbers</a:t>
            </a:r>
          </a:p>
          <a:p>
            <a:endParaRPr lang="en-US" dirty="0"/>
          </a:p>
          <a:p>
            <a:r>
              <a:rPr lang="en-US" dirty="0"/>
              <a:t>Ex : find Median of 7,9,10,11,11,15</a:t>
            </a:r>
          </a:p>
        </p:txBody>
      </p:sp>
    </p:spTree>
    <p:extLst>
      <p:ext uri="{BB962C8B-B14F-4D97-AF65-F5344CB8AC3E}">
        <p14:creationId xmlns:p14="http://schemas.microsoft.com/office/powerpoint/2010/main" val="3262174151"/>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25CB22-FF51-4206-A208-F34D589823FC}"/>
              </a:ext>
            </a:extLst>
          </p:cNvPr>
          <p:cNvSpPr>
            <a:spLocks noGrp="1"/>
          </p:cNvSpPr>
          <p:nvPr>
            <p:ph type="title"/>
          </p:nvPr>
        </p:nvSpPr>
        <p:spPr>
          <a:xfrm>
            <a:off x="105165" y="185683"/>
            <a:ext cx="10607040" cy="853440"/>
          </a:xfrm>
        </p:spPr>
        <p:txBody>
          <a:bodyPr/>
          <a:lstStyle/>
          <a:p>
            <a:r>
              <a:rPr lang="en-US" dirty="0"/>
              <a:t>Mode</a:t>
            </a:r>
          </a:p>
        </p:txBody>
      </p:sp>
      <p:sp>
        <p:nvSpPr>
          <p:cNvPr id="4" name="Content Placeholder 3">
            <a:extLst>
              <a:ext uri="{FF2B5EF4-FFF2-40B4-BE49-F238E27FC236}">
                <a16:creationId xmlns:a16="http://schemas.microsoft.com/office/drawing/2014/main" id="{38C4030F-B49C-4D2E-A105-0BDA558200F7}"/>
              </a:ext>
            </a:extLst>
          </p:cNvPr>
          <p:cNvSpPr>
            <a:spLocks noGrp="1"/>
          </p:cNvSpPr>
          <p:nvPr>
            <p:ph sz="half" idx="1"/>
          </p:nvPr>
        </p:nvSpPr>
        <p:spPr>
          <a:xfrm>
            <a:off x="198236" y="893461"/>
            <a:ext cx="10607040" cy="5211847"/>
          </a:xfrm>
        </p:spPr>
        <p:txBody>
          <a:bodyPr/>
          <a:lstStyle/>
          <a:p>
            <a:r>
              <a:rPr lang="en-US" dirty="0">
                <a:solidFill>
                  <a:schemeClr val="bg2">
                    <a:lumMod val="50000"/>
                    <a:lumOff val="50000"/>
                  </a:schemeClr>
                </a:solidFill>
                <a:latin typeface="Inter"/>
              </a:rPr>
              <a:t>The most frequent value. (the value that occurs the highest number of times)</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 : Jumping castle continued</a:t>
            </a:r>
          </a:p>
          <a:p>
            <a:r>
              <a:rPr lang="en-US" dirty="0">
                <a:solidFill>
                  <a:schemeClr val="bg2">
                    <a:lumMod val="50000"/>
                    <a:lumOff val="50000"/>
                  </a:schemeClr>
                </a:solidFill>
                <a:latin typeface="Inter"/>
              </a:rPr>
              <a:t>Group the numbers so we can count them : </a:t>
            </a:r>
          </a:p>
          <a:p>
            <a:endParaRPr lang="en-US" dirty="0"/>
          </a:p>
        </p:txBody>
      </p:sp>
      <p:pic>
        <p:nvPicPr>
          <p:cNvPr id="6" name="Picture 5" descr="A group of planets in space&#10;&#10;Description automatically generated with low confidence">
            <a:extLst>
              <a:ext uri="{FF2B5EF4-FFF2-40B4-BE49-F238E27FC236}">
                <a16:creationId xmlns:a16="http://schemas.microsoft.com/office/drawing/2014/main" id="{9913AA4F-182A-4CFF-96F3-3A802A25BE2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030058" y="2003062"/>
            <a:ext cx="4889253" cy="3261380"/>
          </a:xfrm>
          <a:prstGeom prst="rect">
            <a:avLst/>
          </a:prstGeom>
        </p:spPr>
      </p:pic>
    </p:spTree>
    <p:extLst>
      <p:ext uri="{BB962C8B-B14F-4D97-AF65-F5344CB8AC3E}">
        <p14:creationId xmlns:p14="http://schemas.microsoft.com/office/powerpoint/2010/main" val="636038740"/>
      </p:ext>
    </p:extLst>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0E9BB-181B-4BF0-A706-7A35CF408AD5}"/>
              </a:ext>
            </a:extLst>
          </p:cNvPr>
          <p:cNvSpPr>
            <a:spLocks noGrp="1"/>
          </p:cNvSpPr>
          <p:nvPr>
            <p:ph type="title"/>
          </p:nvPr>
        </p:nvSpPr>
        <p:spPr>
          <a:xfrm>
            <a:off x="272691" y="176376"/>
            <a:ext cx="10607040" cy="853440"/>
          </a:xfrm>
        </p:spPr>
        <p:txBody>
          <a:bodyPr/>
          <a:lstStyle/>
          <a:p>
            <a:r>
              <a:rPr lang="en-US" dirty="0"/>
              <a:t>Mode</a:t>
            </a:r>
          </a:p>
        </p:txBody>
      </p:sp>
      <p:sp>
        <p:nvSpPr>
          <p:cNvPr id="4" name="Content Placeholder 3">
            <a:extLst>
              <a:ext uri="{FF2B5EF4-FFF2-40B4-BE49-F238E27FC236}">
                <a16:creationId xmlns:a16="http://schemas.microsoft.com/office/drawing/2014/main" id="{F7D859AF-EC6C-404E-A3A5-5C9B7B9266E3}"/>
              </a:ext>
            </a:extLst>
          </p:cNvPr>
          <p:cNvSpPr>
            <a:spLocks noGrp="1"/>
          </p:cNvSpPr>
          <p:nvPr>
            <p:ph sz="half" idx="1"/>
          </p:nvPr>
        </p:nvSpPr>
        <p:spPr>
          <a:xfrm>
            <a:off x="365760" y="958608"/>
            <a:ext cx="10607040" cy="5137392"/>
          </a:xfrm>
        </p:spPr>
        <p:txBody>
          <a:bodyPr/>
          <a:lstStyle/>
          <a:p>
            <a:r>
              <a:rPr lang="en-US" dirty="0">
                <a:solidFill>
                  <a:schemeClr val="bg2">
                    <a:lumMod val="50000"/>
                    <a:lumOff val="50000"/>
                  </a:schemeClr>
                </a:solidFill>
              </a:rPr>
              <a:t>But Mode can be tricky, there can sometime be more than one mode</a:t>
            </a:r>
          </a:p>
          <a:p>
            <a:endParaRPr lang="en-US" dirty="0">
              <a:solidFill>
                <a:schemeClr val="bg2">
                  <a:lumMod val="50000"/>
                  <a:lumOff val="50000"/>
                </a:schemeClr>
              </a:solidFill>
            </a:endParaRPr>
          </a:p>
          <a:p>
            <a:r>
              <a:rPr lang="en-US" dirty="0">
                <a:solidFill>
                  <a:schemeClr val="bg2">
                    <a:lumMod val="50000"/>
                    <a:lumOff val="50000"/>
                  </a:schemeClr>
                </a:solidFill>
              </a:rPr>
              <a:t>Ex : What is the Mode of 10,11,11,12,12,13,14</a:t>
            </a:r>
          </a:p>
          <a:p>
            <a:endParaRPr lang="en-US" dirty="0"/>
          </a:p>
          <a:p>
            <a:endParaRPr lang="en-US" dirty="0"/>
          </a:p>
        </p:txBody>
      </p:sp>
    </p:spTree>
    <p:extLst>
      <p:ext uri="{BB962C8B-B14F-4D97-AF65-F5344CB8AC3E}">
        <p14:creationId xmlns:p14="http://schemas.microsoft.com/office/powerpoint/2010/main" val="3651340896"/>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05FE6-98FF-4D7B-B314-563F75F834DB}"/>
              </a:ext>
            </a:extLst>
          </p:cNvPr>
          <p:cNvSpPr>
            <a:spLocks noGrp="1"/>
          </p:cNvSpPr>
          <p:nvPr>
            <p:ph type="title"/>
          </p:nvPr>
        </p:nvSpPr>
        <p:spPr>
          <a:xfrm>
            <a:off x="67939" y="111227"/>
            <a:ext cx="10607040" cy="853440"/>
          </a:xfrm>
        </p:spPr>
        <p:txBody>
          <a:bodyPr/>
          <a:lstStyle/>
          <a:p>
            <a:r>
              <a:rPr lang="en-US" dirty="0"/>
              <a:t>Grouping</a:t>
            </a:r>
          </a:p>
        </p:txBody>
      </p:sp>
      <p:sp>
        <p:nvSpPr>
          <p:cNvPr id="4" name="Content Placeholder 3">
            <a:extLst>
              <a:ext uri="{FF2B5EF4-FFF2-40B4-BE49-F238E27FC236}">
                <a16:creationId xmlns:a16="http://schemas.microsoft.com/office/drawing/2014/main" id="{7467BCD5-CB99-4999-9385-6B8338F1F152}"/>
              </a:ext>
            </a:extLst>
          </p:cNvPr>
          <p:cNvSpPr>
            <a:spLocks noGrp="1"/>
          </p:cNvSpPr>
          <p:nvPr>
            <p:ph sz="half" idx="1"/>
          </p:nvPr>
        </p:nvSpPr>
        <p:spPr>
          <a:xfrm>
            <a:off x="67938" y="1160567"/>
            <a:ext cx="11444660" cy="5009888"/>
          </a:xfrm>
        </p:spPr>
        <p:txBody>
          <a:bodyPr/>
          <a:lstStyle/>
          <a:p>
            <a:r>
              <a:rPr lang="en-US" dirty="0">
                <a:solidFill>
                  <a:schemeClr val="bg2">
                    <a:lumMod val="50000"/>
                    <a:lumOff val="50000"/>
                  </a:schemeClr>
                </a:solidFill>
                <a:latin typeface="Inter"/>
              </a:rPr>
              <a:t>In Some cases (such as when all values appear the same number of times) the mode is not useful. But we can group the values to see if one group has more than the others </a:t>
            </a:r>
          </a:p>
          <a:p>
            <a:r>
              <a:rPr lang="en-US" dirty="0">
                <a:solidFill>
                  <a:schemeClr val="bg2">
                    <a:lumMod val="50000"/>
                    <a:lumOff val="50000"/>
                  </a:schemeClr>
                </a:solidFill>
                <a:latin typeface="Inter"/>
              </a:rPr>
              <a:t>Ex : 5, 8, 12, 17, 21</a:t>
            </a:r>
            <a:r>
              <a:rPr lang="en-US">
                <a:solidFill>
                  <a:schemeClr val="bg2">
                    <a:lumMod val="50000"/>
                    <a:lumOff val="50000"/>
                  </a:schemeClr>
                </a:solidFill>
                <a:latin typeface="Inter"/>
              </a:rPr>
              <a:t>, 23, </a:t>
            </a:r>
            <a:r>
              <a:rPr lang="en-US" dirty="0">
                <a:solidFill>
                  <a:schemeClr val="bg2">
                    <a:lumMod val="50000"/>
                    <a:lumOff val="50000"/>
                  </a:schemeClr>
                </a:solidFill>
                <a:latin typeface="Inter"/>
              </a:rPr>
              <a:t>26, 27</a:t>
            </a:r>
            <a:r>
              <a:rPr lang="en-US">
                <a:solidFill>
                  <a:schemeClr val="bg2">
                    <a:lumMod val="50000"/>
                    <a:lumOff val="50000"/>
                  </a:schemeClr>
                </a:solidFill>
                <a:latin typeface="Inter"/>
              </a:rPr>
              <a:t>, 34</a:t>
            </a:r>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r>
              <a:rPr lang="en-US" b="1" i="1" dirty="0">
                <a:solidFill>
                  <a:schemeClr val="bg2">
                    <a:lumMod val="50000"/>
                    <a:lumOff val="50000"/>
                  </a:schemeClr>
                </a:solidFill>
                <a:latin typeface="Inter"/>
              </a:rPr>
              <a:t>Note : You could use different grouping and get a different answer</a:t>
            </a:r>
          </a:p>
        </p:txBody>
      </p:sp>
    </p:spTree>
    <p:extLst>
      <p:ext uri="{BB962C8B-B14F-4D97-AF65-F5344CB8AC3E}">
        <p14:creationId xmlns:p14="http://schemas.microsoft.com/office/powerpoint/2010/main" val="1995959026"/>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DE561-1E11-496C-86F7-9FC450554141}"/>
              </a:ext>
            </a:extLst>
          </p:cNvPr>
          <p:cNvSpPr>
            <a:spLocks noGrp="1"/>
          </p:cNvSpPr>
          <p:nvPr>
            <p:ph type="title"/>
          </p:nvPr>
        </p:nvSpPr>
        <p:spPr>
          <a:xfrm>
            <a:off x="0" y="37308"/>
            <a:ext cx="10607040" cy="853440"/>
          </a:xfrm>
        </p:spPr>
        <p:txBody>
          <a:bodyPr/>
          <a:lstStyle/>
          <a:p>
            <a:r>
              <a:rPr lang="en-US" dirty="0"/>
              <a:t>Grouping another example</a:t>
            </a:r>
          </a:p>
        </p:txBody>
      </p:sp>
      <p:sp>
        <p:nvSpPr>
          <p:cNvPr id="4" name="Content Placeholder 3">
            <a:extLst>
              <a:ext uri="{FF2B5EF4-FFF2-40B4-BE49-F238E27FC236}">
                <a16:creationId xmlns:a16="http://schemas.microsoft.com/office/drawing/2014/main" id="{835414F6-32F3-427B-8782-BB4FFF32D390}"/>
              </a:ext>
            </a:extLst>
          </p:cNvPr>
          <p:cNvSpPr>
            <a:spLocks noGrp="1"/>
          </p:cNvSpPr>
          <p:nvPr>
            <p:ph sz="half" idx="1"/>
          </p:nvPr>
        </p:nvSpPr>
        <p:spPr>
          <a:xfrm>
            <a:off x="0" y="704531"/>
            <a:ext cx="11854160" cy="5270480"/>
          </a:xfrm>
        </p:spPr>
        <p:txBody>
          <a:bodyPr>
            <a:normAutofit/>
          </a:bodyPr>
          <a:lstStyle/>
          <a:p>
            <a:r>
              <a:rPr lang="en-US" dirty="0">
                <a:solidFill>
                  <a:schemeClr val="bg2">
                    <a:lumMod val="50000"/>
                    <a:lumOff val="50000"/>
                  </a:schemeClr>
                </a:solidFill>
              </a:rPr>
              <a:t>Grouping also help to find what the typical values are when the real-world messes things up!</a:t>
            </a:r>
          </a:p>
          <a:p>
            <a:r>
              <a:rPr lang="en-US" dirty="0">
                <a:solidFill>
                  <a:schemeClr val="bg2">
                    <a:lumMod val="50000"/>
                    <a:lumOff val="50000"/>
                  </a:schemeClr>
                </a:solidFill>
              </a:rPr>
              <a:t>Ex : How long to load a truck?</a:t>
            </a:r>
          </a:p>
          <a:p>
            <a:r>
              <a:rPr lang="en-US" dirty="0">
                <a:solidFill>
                  <a:schemeClr val="bg2">
                    <a:lumMod val="50000"/>
                    <a:lumOff val="50000"/>
                  </a:schemeClr>
                </a:solidFill>
              </a:rPr>
              <a:t>Robert recorded how long it take to load a truck in minutes:</a:t>
            </a:r>
          </a:p>
          <a:p>
            <a:pPr lvl="2"/>
            <a:r>
              <a:rPr lang="en-US" sz="1867" dirty="0">
                <a:solidFill>
                  <a:schemeClr val="bg2">
                    <a:lumMod val="50000"/>
                    <a:lumOff val="50000"/>
                  </a:schemeClr>
                </a:solidFill>
              </a:rPr>
              <a:t>46, 47, 43, 53, 69, 67, 46, 50, 57, 58, 45, 48, 61</a:t>
            </a:r>
          </a:p>
          <a:p>
            <a:r>
              <a:rPr lang="en-US" dirty="0">
                <a:solidFill>
                  <a:schemeClr val="bg2">
                    <a:lumMod val="50000"/>
                    <a:lumOff val="50000"/>
                  </a:schemeClr>
                </a:solidFill>
              </a:rPr>
              <a:t>It takes longer when there is break time or lunch so an average is not very useful.</a:t>
            </a:r>
          </a:p>
          <a:p>
            <a:r>
              <a:rPr lang="en-US" dirty="0">
                <a:solidFill>
                  <a:schemeClr val="bg2">
                    <a:lumMod val="50000"/>
                    <a:lumOff val="50000"/>
                  </a:schemeClr>
                </a:solidFill>
              </a:rPr>
              <a:t>But grouping by 5s gives:</a:t>
            </a:r>
          </a:p>
          <a:p>
            <a:pPr marL="0" indent="0">
              <a:buNone/>
            </a:pPr>
            <a:endParaRPr lang="en-US" dirty="0">
              <a:solidFill>
                <a:schemeClr val="bg2">
                  <a:lumMod val="50000"/>
                  <a:lumOff val="50000"/>
                </a:schemeClr>
              </a:solidFill>
            </a:endParaRPr>
          </a:p>
          <a:p>
            <a:pPr>
              <a:lnSpc>
                <a:spcPct val="10000"/>
              </a:lnSpc>
            </a:pPr>
            <a:r>
              <a:rPr lang="en-US" dirty="0">
                <a:solidFill>
                  <a:schemeClr val="bg2">
                    <a:lumMod val="50000"/>
                    <a:lumOff val="50000"/>
                  </a:schemeClr>
                </a:solidFill>
              </a:rPr>
              <a:t>40 - 44 : 1</a:t>
            </a:r>
          </a:p>
          <a:p>
            <a:pPr>
              <a:lnSpc>
                <a:spcPct val="10000"/>
              </a:lnSpc>
            </a:pPr>
            <a:r>
              <a:rPr lang="en-US" dirty="0">
                <a:solidFill>
                  <a:schemeClr val="bg2">
                    <a:lumMod val="50000"/>
                    <a:lumOff val="50000"/>
                  </a:schemeClr>
                </a:solidFill>
              </a:rPr>
              <a:t>45 - 49 : 5</a:t>
            </a:r>
          </a:p>
          <a:p>
            <a:pPr>
              <a:lnSpc>
                <a:spcPct val="10000"/>
              </a:lnSpc>
            </a:pPr>
            <a:r>
              <a:rPr lang="en-US" dirty="0">
                <a:solidFill>
                  <a:schemeClr val="bg2">
                    <a:lumMod val="50000"/>
                    <a:lumOff val="50000"/>
                  </a:schemeClr>
                </a:solidFill>
              </a:rPr>
              <a:t>50 – 54 : 2</a:t>
            </a:r>
          </a:p>
          <a:p>
            <a:pPr>
              <a:lnSpc>
                <a:spcPct val="10000"/>
              </a:lnSpc>
            </a:pPr>
            <a:r>
              <a:rPr lang="en-US" dirty="0">
                <a:solidFill>
                  <a:schemeClr val="bg2">
                    <a:lumMod val="50000"/>
                    <a:lumOff val="50000"/>
                  </a:schemeClr>
                </a:solidFill>
              </a:rPr>
              <a:t>55 – 59 : 2</a:t>
            </a:r>
          </a:p>
          <a:p>
            <a:pPr>
              <a:lnSpc>
                <a:spcPct val="10000"/>
              </a:lnSpc>
            </a:pPr>
            <a:r>
              <a:rPr lang="en-US" dirty="0">
                <a:solidFill>
                  <a:schemeClr val="bg2">
                    <a:lumMod val="50000"/>
                    <a:lumOff val="50000"/>
                  </a:schemeClr>
                </a:solidFill>
              </a:rPr>
              <a:t>60 – 64 : 1</a:t>
            </a:r>
          </a:p>
          <a:p>
            <a:pPr>
              <a:lnSpc>
                <a:spcPct val="10000"/>
              </a:lnSpc>
            </a:pPr>
            <a:r>
              <a:rPr lang="en-US" dirty="0">
                <a:solidFill>
                  <a:schemeClr val="bg2">
                    <a:lumMod val="50000"/>
                    <a:lumOff val="50000"/>
                  </a:schemeClr>
                </a:solidFill>
              </a:rPr>
              <a:t>64 – 69 : 2</a:t>
            </a:r>
          </a:p>
          <a:p>
            <a:r>
              <a:rPr lang="en-US" dirty="0">
                <a:solidFill>
                  <a:schemeClr val="bg2">
                    <a:lumMod val="50000"/>
                    <a:lumOff val="50000"/>
                  </a:schemeClr>
                </a:solidFill>
              </a:rPr>
              <a:t>“45 – 49” appear most often, so we can say it normally take about 37 minutes to fill a pallet</a:t>
            </a:r>
          </a:p>
          <a:p>
            <a:endParaRPr lang="en-US" sz="2133" dirty="0"/>
          </a:p>
          <a:p>
            <a:pPr lvl="3"/>
            <a:endParaRPr lang="en-US" sz="2133" dirty="0"/>
          </a:p>
          <a:p>
            <a:pPr lvl="3"/>
            <a:endParaRPr lang="en-US" sz="2133" dirty="0"/>
          </a:p>
        </p:txBody>
      </p:sp>
      <p:pic>
        <p:nvPicPr>
          <p:cNvPr id="11" name="Picture 10" descr="A picture containing truck, green, road, sky&#10;&#10;Description automatically generated">
            <a:extLst>
              <a:ext uri="{FF2B5EF4-FFF2-40B4-BE49-F238E27FC236}">
                <a16:creationId xmlns:a16="http://schemas.microsoft.com/office/drawing/2014/main" id="{DFA02102-7297-4F45-88F7-388D314238A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873612" y="2829289"/>
            <a:ext cx="4250445" cy="2390876"/>
          </a:xfrm>
          <a:prstGeom prst="rect">
            <a:avLst/>
          </a:prstGeom>
        </p:spPr>
      </p:pic>
    </p:spTree>
    <p:extLst>
      <p:ext uri="{BB962C8B-B14F-4D97-AF65-F5344CB8AC3E}">
        <p14:creationId xmlns:p14="http://schemas.microsoft.com/office/powerpoint/2010/main" val="3831935352"/>
      </p:ext>
    </p:extLst>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6B03A-C11B-445A-B3EE-89676853E2DC}"/>
              </a:ext>
            </a:extLst>
          </p:cNvPr>
          <p:cNvSpPr>
            <a:spLocks noGrp="1"/>
          </p:cNvSpPr>
          <p:nvPr>
            <p:ph type="title"/>
          </p:nvPr>
        </p:nvSpPr>
        <p:spPr>
          <a:xfrm>
            <a:off x="123780" y="120535"/>
            <a:ext cx="10607040" cy="853440"/>
          </a:xfrm>
        </p:spPr>
        <p:txBody>
          <a:bodyPr/>
          <a:lstStyle/>
          <a:p>
            <a:r>
              <a:rPr lang="en-US" dirty="0"/>
              <a:t>Outlier </a:t>
            </a:r>
          </a:p>
        </p:txBody>
      </p:sp>
      <p:sp>
        <p:nvSpPr>
          <p:cNvPr id="4" name="Content Placeholder 3">
            <a:extLst>
              <a:ext uri="{FF2B5EF4-FFF2-40B4-BE49-F238E27FC236}">
                <a16:creationId xmlns:a16="http://schemas.microsoft.com/office/drawing/2014/main" id="{CB5A1369-CDB1-4F9B-ADBB-7DB33F294B4E}"/>
              </a:ext>
            </a:extLst>
          </p:cNvPr>
          <p:cNvSpPr>
            <a:spLocks noGrp="1"/>
          </p:cNvSpPr>
          <p:nvPr>
            <p:ph sz="half" idx="1"/>
          </p:nvPr>
        </p:nvSpPr>
        <p:spPr>
          <a:xfrm>
            <a:off x="263385" y="867988"/>
            <a:ext cx="10607040" cy="5122025"/>
          </a:xfrm>
        </p:spPr>
        <p:txBody>
          <a:bodyPr/>
          <a:lstStyle/>
          <a:p>
            <a:r>
              <a:rPr lang="en-US" dirty="0">
                <a:solidFill>
                  <a:schemeClr val="bg2">
                    <a:lumMod val="50000"/>
                    <a:lumOff val="50000"/>
                  </a:schemeClr>
                </a:solidFill>
                <a:latin typeface="Inter"/>
              </a:rPr>
              <a:t>A value that "lies outside" (is much smaller or larger than) most of the other values in a set of data. They can change the mean a lot, so we can either not used them or use mean median mode instead.</a:t>
            </a:r>
          </a:p>
          <a:p>
            <a:r>
              <a:rPr lang="en-US" dirty="0">
                <a:solidFill>
                  <a:schemeClr val="bg2">
                    <a:lumMod val="50000"/>
                    <a:lumOff val="50000"/>
                  </a:schemeClr>
                </a:solidFill>
                <a:latin typeface="Inter"/>
              </a:rPr>
              <a:t>Ex : In this set of random numbers, 1 and 201 are outliers:</a:t>
            </a:r>
          </a:p>
          <a:p>
            <a:pPr lvl="1"/>
            <a:r>
              <a:rPr lang="en-US" dirty="0">
                <a:solidFill>
                  <a:schemeClr val="bg2">
                    <a:lumMod val="50000"/>
                    <a:lumOff val="50000"/>
                  </a:schemeClr>
                </a:solidFill>
                <a:latin typeface="Inter"/>
              </a:rPr>
              <a:t>1, 99, 100, 101, 103, 109, 110, 201</a:t>
            </a:r>
          </a:p>
          <a:p>
            <a:pPr lvl="1"/>
            <a:r>
              <a:rPr lang="en-US" dirty="0">
                <a:solidFill>
                  <a:schemeClr val="bg2">
                    <a:lumMod val="50000"/>
                    <a:lumOff val="50000"/>
                  </a:schemeClr>
                </a:solidFill>
                <a:latin typeface="Inter"/>
              </a:rPr>
              <a:t>“1” is an extremely low value and “201” is an extremely high value.</a:t>
            </a:r>
          </a:p>
          <a:p>
            <a:r>
              <a:rPr lang="en-US" dirty="0">
                <a:solidFill>
                  <a:schemeClr val="bg2">
                    <a:lumMod val="50000"/>
                    <a:lumOff val="50000"/>
                  </a:schemeClr>
                </a:solidFill>
                <a:latin typeface="Inter"/>
              </a:rPr>
              <a:t>Outliers aren’t always that obvious. Let’s say you received the following paychecks last month:</a:t>
            </a:r>
          </a:p>
          <a:p>
            <a:pPr lvl="1"/>
            <a:r>
              <a:rPr lang="en-US" dirty="0">
                <a:solidFill>
                  <a:schemeClr val="bg2">
                    <a:lumMod val="50000"/>
                    <a:lumOff val="50000"/>
                  </a:schemeClr>
                </a:solidFill>
                <a:latin typeface="Inter"/>
              </a:rPr>
              <a:t>$225, $250, $25, $235.</a:t>
            </a:r>
          </a:p>
          <a:p>
            <a:pPr lvl="1"/>
            <a:r>
              <a:rPr lang="en-US" dirty="0">
                <a:solidFill>
                  <a:schemeClr val="bg2">
                    <a:lumMod val="50000"/>
                    <a:lumOff val="50000"/>
                  </a:schemeClr>
                </a:solidFill>
                <a:latin typeface="Inter"/>
              </a:rPr>
              <a:t>Your average paycheck is $135. But that small paycheck ($25) might be because you went on vacation, so a weekly paycheck average of $135 isn’t a true reflection of how much you earned. Your average is actually closer to $237 if you take the outlier ($25) out of the set.</a:t>
            </a:r>
          </a:p>
          <a:p>
            <a:r>
              <a:rPr lang="en-US" dirty="0">
                <a:solidFill>
                  <a:schemeClr val="bg2">
                    <a:lumMod val="50000"/>
                    <a:lumOff val="50000"/>
                  </a:schemeClr>
                </a:solidFill>
                <a:latin typeface="Inter"/>
              </a:rPr>
              <a:t>Age of students studying Data science in Board Infinity</a:t>
            </a:r>
          </a:p>
          <a:p>
            <a:pPr lvl="1"/>
            <a:r>
              <a:rPr lang="en-US" dirty="0">
                <a:solidFill>
                  <a:schemeClr val="bg2">
                    <a:lumMod val="50000"/>
                    <a:lumOff val="50000"/>
                  </a:schemeClr>
                </a:solidFill>
                <a:latin typeface="Inter"/>
              </a:rPr>
              <a:t>Ex : </a:t>
            </a:r>
          </a:p>
          <a:p>
            <a:pPr lvl="1"/>
            <a:endParaRPr lang="en-US" dirty="0"/>
          </a:p>
        </p:txBody>
      </p:sp>
    </p:spTree>
    <p:extLst>
      <p:ext uri="{BB962C8B-B14F-4D97-AF65-F5344CB8AC3E}">
        <p14:creationId xmlns:p14="http://schemas.microsoft.com/office/powerpoint/2010/main" val="1048263595"/>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C4D7A-EB20-44C5-815F-C0641D331487}"/>
              </a:ext>
            </a:extLst>
          </p:cNvPr>
          <p:cNvSpPr>
            <a:spLocks noGrp="1"/>
          </p:cNvSpPr>
          <p:nvPr>
            <p:ph type="title"/>
          </p:nvPr>
        </p:nvSpPr>
        <p:spPr/>
        <p:txBody>
          <a:bodyPr/>
          <a:lstStyle/>
          <a:p>
            <a:r>
              <a:rPr lang="en-US" dirty="0"/>
              <a:t>Outlier </a:t>
            </a:r>
            <a:r>
              <a:rPr lang="en-US" dirty="0">
                <a:solidFill>
                  <a:schemeClr val="bg2">
                    <a:lumMod val="50000"/>
                    <a:lumOff val="50000"/>
                  </a:schemeClr>
                </a:solidFill>
              </a:rPr>
              <a:t>-</a:t>
            </a:r>
            <a:r>
              <a:rPr lang="en-US" dirty="0"/>
              <a:t> </a:t>
            </a:r>
            <a:r>
              <a:rPr lang="en-US" dirty="0">
                <a:solidFill>
                  <a:schemeClr val="bg2">
                    <a:lumMod val="50000"/>
                    <a:lumOff val="50000"/>
                  </a:schemeClr>
                </a:solidFill>
              </a:rPr>
              <a:t>continued</a:t>
            </a:r>
          </a:p>
        </p:txBody>
      </p:sp>
      <p:pic>
        <p:nvPicPr>
          <p:cNvPr id="6" name="Content Placeholder 5">
            <a:extLst>
              <a:ext uri="{FF2B5EF4-FFF2-40B4-BE49-F238E27FC236}">
                <a16:creationId xmlns:a16="http://schemas.microsoft.com/office/drawing/2014/main" id="{2B7093CC-771B-4C73-A0DC-D3F5C3CE8DED}"/>
              </a:ext>
            </a:extLst>
          </p:cNvPr>
          <p:cNvPicPr>
            <a:picLocks noGrp="1" noChangeAspect="1"/>
          </p:cNvPicPr>
          <p:nvPr>
            <p:ph sz="half" idx="1"/>
          </p:nvPr>
        </p:nvPicPr>
        <p:blipFill>
          <a:blip r:embed="rId2"/>
          <a:stretch>
            <a:fillRect/>
          </a:stretch>
        </p:blipFill>
        <p:spPr>
          <a:xfrm>
            <a:off x="6023735" y="65334"/>
            <a:ext cx="5638800" cy="723900"/>
          </a:xfrm>
        </p:spPr>
      </p:pic>
      <p:grpSp>
        <p:nvGrpSpPr>
          <p:cNvPr id="47" name="Group 46">
            <a:extLst>
              <a:ext uri="{FF2B5EF4-FFF2-40B4-BE49-F238E27FC236}">
                <a16:creationId xmlns:a16="http://schemas.microsoft.com/office/drawing/2014/main" id="{2A49F424-6475-4B80-B98E-BC7A187747C0}"/>
              </a:ext>
            </a:extLst>
          </p:cNvPr>
          <p:cNvGrpSpPr/>
          <p:nvPr/>
        </p:nvGrpSpPr>
        <p:grpSpPr>
          <a:xfrm>
            <a:off x="6505836" y="623411"/>
            <a:ext cx="150240" cy="213120"/>
            <a:chOff x="4879377" y="467558"/>
            <a:chExt cx="112680" cy="15984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A3C6882A-8F86-4203-BC54-CC76A101CAD1}"/>
                    </a:ext>
                  </a:extLst>
                </p14:cNvPr>
                <p14:cNvContentPartPr/>
                <p14:nvPr/>
              </p14:nvContentPartPr>
              <p14:xfrm>
                <a:off x="4879377" y="537038"/>
                <a:ext cx="13680" cy="90360"/>
              </p14:xfrm>
            </p:contentPart>
          </mc:Choice>
          <mc:Fallback xmlns="">
            <p:pic>
              <p:nvPicPr>
                <p:cNvPr id="7" name="Ink 6">
                  <a:extLst>
                    <a:ext uri="{FF2B5EF4-FFF2-40B4-BE49-F238E27FC236}">
                      <a16:creationId xmlns:a16="http://schemas.microsoft.com/office/drawing/2014/main" id="{A3C6882A-8F86-4203-BC54-CC76A101CAD1}"/>
                    </a:ext>
                  </a:extLst>
                </p:cNvPr>
                <p:cNvPicPr/>
                <p:nvPr/>
              </p:nvPicPr>
              <p:blipFill>
                <a:blip r:embed="rId4"/>
                <a:stretch>
                  <a:fillRect/>
                </a:stretch>
              </p:blipFill>
              <p:spPr>
                <a:xfrm>
                  <a:off x="4875057" y="532718"/>
                  <a:ext cx="2232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EBEB0D83-5163-4079-A7FB-019746BE0D7F}"/>
                    </a:ext>
                  </a:extLst>
                </p14:cNvPr>
                <p14:cNvContentPartPr/>
                <p14:nvPr/>
              </p14:nvContentPartPr>
              <p14:xfrm>
                <a:off x="4915017" y="544238"/>
                <a:ext cx="77040" cy="78840"/>
              </p14:xfrm>
            </p:contentPart>
          </mc:Choice>
          <mc:Fallback xmlns="">
            <p:pic>
              <p:nvPicPr>
                <p:cNvPr id="8" name="Ink 7">
                  <a:extLst>
                    <a:ext uri="{FF2B5EF4-FFF2-40B4-BE49-F238E27FC236}">
                      <a16:creationId xmlns:a16="http://schemas.microsoft.com/office/drawing/2014/main" id="{EBEB0D83-5163-4079-A7FB-019746BE0D7F}"/>
                    </a:ext>
                  </a:extLst>
                </p:cNvPr>
                <p:cNvPicPr/>
                <p:nvPr/>
              </p:nvPicPr>
              <p:blipFill>
                <a:blip r:embed="rId6"/>
                <a:stretch>
                  <a:fillRect/>
                </a:stretch>
              </p:blipFill>
              <p:spPr>
                <a:xfrm>
                  <a:off x="4910697" y="539918"/>
                  <a:ext cx="8568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1" name="Ink 40">
                  <a:extLst>
                    <a:ext uri="{FF2B5EF4-FFF2-40B4-BE49-F238E27FC236}">
                      <a16:creationId xmlns:a16="http://schemas.microsoft.com/office/drawing/2014/main" id="{9B996CA9-706D-4868-8DFB-7818048A6F32}"/>
                    </a:ext>
                  </a:extLst>
                </p14:cNvPr>
                <p14:cNvContentPartPr/>
                <p14:nvPr/>
              </p14:nvContentPartPr>
              <p14:xfrm>
                <a:off x="4951017" y="467558"/>
                <a:ext cx="18720" cy="55080"/>
              </p14:xfrm>
            </p:contentPart>
          </mc:Choice>
          <mc:Fallback xmlns="">
            <p:pic>
              <p:nvPicPr>
                <p:cNvPr id="41" name="Ink 40">
                  <a:extLst>
                    <a:ext uri="{FF2B5EF4-FFF2-40B4-BE49-F238E27FC236}">
                      <a16:creationId xmlns:a16="http://schemas.microsoft.com/office/drawing/2014/main" id="{9B996CA9-706D-4868-8DFB-7818048A6F32}"/>
                    </a:ext>
                  </a:extLst>
                </p:cNvPr>
                <p:cNvPicPr/>
                <p:nvPr/>
              </p:nvPicPr>
              <p:blipFill>
                <a:blip r:embed="rId8"/>
                <a:stretch>
                  <a:fillRect/>
                </a:stretch>
              </p:blipFill>
              <p:spPr>
                <a:xfrm>
                  <a:off x="4946697" y="463238"/>
                  <a:ext cx="27360" cy="63720"/>
                </a:xfrm>
                <a:prstGeom prst="rect">
                  <a:avLst/>
                </a:prstGeom>
              </p:spPr>
            </p:pic>
          </mc:Fallback>
        </mc:AlternateContent>
      </p:grpSp>
      <p:grpSp>
        <p:nvGrpSpPr>
          <p:cNvPr id="46" name="Group 45">
            <a:extLst>
              <a:ext uri="{FF2B5EF4-FFF2-40B4-BE49-F238E27FC236}">
                <a16:creationId xmlns:a16="http://schemas.microsoft.com/office/drawing/2014/main" id="{982482D8-1D90-4954-A22B-C99127ED1CC2}"/>
              </a:ext>
            </a:extLst>
          </p:cNvPr>
          <p:cNvGrpSpPr/>
          <p:nvPr/>
        </p:nvGrpSpPr>
        <p:grpSpPr>
          <a:xfrm>
            <a:off x="6802476" y="641651"/>
            <a:ext cx="131520" cy="216960"/>
            <a:chOff x="5101857" y="481238"/>
            <a:chExt cx="98640" cy="1627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6A7A2615-AD9A-4AAB-8E31-8819C563683E}"/>
                    </a:ext>
                  </a:extLst>
                </p14:cNvPr>
                <p14:cNvContentPartPr/>
                <p14:nvPr/>
              </p14:nvContentPartPr>
              <p14:xfrm>
                <a:off x="5101857" y="578798"/>
                <a:ext cx="48240" cy="65160"/>
              </p14:xfrm>
            </p:contentPart>
          </mc:Choice>
          <mc:Fallback xmlns="">
            <p:pic>
              <p:nvPicPr>
                <p:cNvPr id="10" name="Ink 9">
                  <a:extLst>
                    <a:ext uri="{FF2B5EF4-FFF2-40B4-BE49-F238E27FC236}">
                      <a16:creationId xmlns:a16="http://schemas.microsoft.com/office/drawing/2014/main" id="{6A7A2615-AD9A-4AAB-8E31-8819C563683E}"/>
                    </a:ext>
                  </a:extLst>
                </p:cNvPr>
                <p:cNvPicPr/>
                <p:nvPr/>
              </p:nvPicPr>
              <p:blipFill>
                <a:blip r:embed="rId10"/>
                <a:stretch>
                  <a:fillRect/>
                </a:stretch>
              </p:blipFill>
              <p:spPr>
                <a:xfrm>
                  <a:off x="5097537" y="574478"/>
                  <a:ext cx="5688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9E501B2A-6CC0-4031-974F-93C2E718C905}"/>
                    </a:ext>
                  </a:extLst>
                </p14:cNvPr>
                <p14:cNvContentPartPr/>
                <p14:nvPr/>
              </p14:nvContentPartPr>
              <p14:xfrm>
                <a:off x="5167017" y="579158"/>
                <a:ext cx="31680" cy="45000"/>
              </p14:xfrm>
            </p:contentPart>
          </mc:Choice>
          <mc:Fallback xmlns="">
            <p:pic>
              <p:nvPicPr>
                <p:cNvPr id="11" name="Ink 10">
                  <a:extLst>
                    <a:ext uri="{FF2B5EF4-FFF2-40B4-BE49-F238E27FC236}">
                      <a16:creationId xmlns:a16="http://schemas.microsoft.com/office/drawing/2014/main" id="{9E501B2A-6CC0-4031-974F-93C2E718C905}"/>
                    </a:ext>
                  </a:extLst>
                </p:cNvPr>
                <p:cNvPicPr/>
                <p:nvPr/>
              </p:nvPicPr>
              <p:blipFill>
                <a:blip r:embed="rId12"/>
                <a:stretch>
                  <a:fillRect/>
                </a:stretch>
              </p:blipFill>
              <p:spPr>
                <a:xfrm>
                  <a:off x="5162697" y="574838"/>
                  <a:ext cx="4032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3B6C7FA6-96D7-4628-BDF7-0A7E1758641E}"/>
                    </a:ext>
                  </a:extLst>
                </p14:cNvPr>
                <p14:cNvContentPartPr/>
                <p14:nvPr/>
              </p14:nvContentPartPr>
              <p14:xfrm>
                <a:off x="5193657" y="481238"/>
                <a:ext cx="6840" cy="25920"/>
              </p14:xfrm>
            </p:contentPart>
          </mc:Choice>
          <mc:Fallback xmlns="">
            <p:pic>
              <p:nvPicPr>
                <p:cNvPr id="42" name="Ink 41">
                  <a:extLst>
                    <a:ext uri="{FF2B5EF4-FFF2-40B4-BE49-F238E27FC236}">
                      <a16:creationId xmlns:a16="http://schemas.microsoft.com/office/drawing/2014/main" id="{3B6C7FA6-96D7-4628-BDF7-0A7E1758641E}"/>
                    </a:ext>
                  </a:extLst>
                </p:cNvPr>
                <p:cNvPicPr/>
                <p:nvPr/>
              </p:nvPicPr>
              <p:blipFill>
                <a:blip r:embed="rId14"/>
                <a:stretch>
                  <a:fillRect/>
                </a:stretch>
              </p:blipFill>
              <p:spPr>
                <a:xfrm>
                  <a:off x="5189337" y="476918"/>
                  <a:ext cx="15480" cy="34560"/>
                </a:xfrm>
                <a:prstGeom prst="rect">
                  <a:avLst/>
                </a:prstGeom>
              </p:spPr>
            </p:pic>
          </mc:Fallback>
        </mc:AlternateContent>
      </p:grpSp>
      <p:grpSp>
        <p:nvGrpSpPr>
          <p:cNvPr id="87" name="Group 86">
            <a:extLst>
              <a:ext uri="{FF2B5EF4-FFF2-40B4-BE49-F238E27FC236}">
                <a16:creationId xmlns:a16="http://schemas.microsoft.com/office/drawing/2014/main" id="{BE899715-DE73-45A2-8FA6-329D11A9AB88}"/>
              </a:ext>
            </a:extLst>
          </p:cNvPr>
          <p:cNvGrpSpPr/>
          <p:nvPr/>
        </p:nvGrpSpPr>
        <p:grpSpPr>
          <a:xfrm>
            <a:off x="7149516" y="623411"/>
            <a:ext cx="1290720" cy="252480"/>
            <a:chOff x="5362137" y="467558"/>
            <a:chExt cx="968040" cy="189360"/>
          </a:xfrm>
        </p:grpSpPr>
        <mc:AlternateContent xmlns:mc="http://schemas.openxmlformats.org/markup-compatibility/2006" xmlns:p14="http://schemas.microsoft.com/office/powerpoint/2010/main">
          <mc:Choice Requires="p14">
            <p:contentPart p14:bwMode="auto" r:id="rId15">
              <p14:nvContentPartPr>
                <p14:cNvPr id="58" name="Ink 57">
                  <a:extLst>
                    <a:ext uri="{FF2B5EF4-FFF2-40B4-BE49-F238E27FC236}">
                      <a16:creationId xmlns:a16="http://schemas.microsoft.com/office/drawing/2014/main" id="{1C92FB37-4929-4EFC-A012-AF8F501A4E2F}"/>
                    </a:ext>
                  </a:extLst>
                </p14:cNvPr>
                <p14:cNvContentPartPr/>
                <p14:nvPr/>
              </p14:nvContentPartPr>
              <p14:xfrm>
                <a:off x="5362137" y="565118"/>
                <a:ext cx="52920" cy="91800"/>
              </p14:xfrm>
            </p:contentPart>
          </mc:Choice>
          <mc:Fallback xmlns="">
            <p:pic>
              <p:nvPicPr>
                <p:cNvPr id="58" name="Ink 57">
                  <a:extLst>
                    <a:ext uri="{FF2B5EF4-FFF2-40B4-BE49-F238E27FC236}">
                      <a16:creationId xmlns:a16="http://schemas.microsoft.com/office/drawing/2014/main" id="{1C92FB37-4929-4EFC-A012-AF8F501A4E2F}"/>
                    </a:ext>
                  </a:extLst>
                </p:cNvPr>
                <p:cNvPicPr/>
                <p:nvPr/>
              </p:nvPicPr>
              <p:blipFill>
                <a:blip r:embed="rId16"/>
                <a:stretch>
                  <a:fillRect/>
                </a:stretch>
              </p:blipFill>
              <p:spPr>
                <a:xfrm>
                  <a:off x="5357817" y="560798"/>
                  <a:ext cx="61560" cy="100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9" name="Ink 58">
                  <a:extLst>
                    <a:ext uri="{FF2B5EF4-FFF2-40B4-BE49-F238E27FC236}">
                      <a16:creationId xmlns:a16="http://schemas.microsoft.com/office/drawing/2014/main" id="{2CF6E14A-C62A-4911-B466-F65E664E95BE}"/>
                    </a:ext>
                  </a:extLst>
                </p14:cNvPr>
                <p14:cNvContentPartPr/>
                <p14:nvPr/>
              </p14:nvContentPartPr>
              <p14:xfrm>
                <a:off x="5417217" y="591398"/>
                <a:ext cx="58680" cy="51120"/>
              </p14:xfrm>
            </p:contentPart>
          </mc:Choice>
          <mc:Fallback xmlns="">
            <p:pic>
              <p:nvPicPr>
                <p:cNvPr id="59" name="Ink 58">
                  <a:extLst>
                    <a:ext uri="{FF2B5EF4-FFF2-40B4-BE49-F238E27FC236}">
                      <a16:creationId xmlns:a16="http://schemas.microsoft.com/office/drawing/2014/main" id="{2CF6E14A-C62A-4911-B466-F65E664E95BE}"/>
                    </a:ext>
                  </a:extLst>
                </p:cNvPr>
                <p:cNvPicPr/>
                <p:nvPr/>
              </p:nvPicPr>
              <p:blipFill>
                <a:blip r:embed="rId18"/>
                <a:stretch>
                  <a:fillRect/>
                </a:stretch>
              </p:blipFill>
              <p:spPr>
                <a:xfrm>
                  <a:off x="5412897" y="587078"/>
                  <a:ext cx="67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60" name="Ink 59">
                  <a:extLst>
                    <a:ext uri="{FF2B5EF4-FFF2-40B4-BE49-F238E27FC236}">
                      <a16:creationId xmlns:a16="http://schemas.microsoft.com/office/drawing/2014/main" id="{55A31FE8-11C6-4F98-8F27-ABE798ED5899}"/>
                    </a:ext>
                  </a:extLst>
                </p14:cNvPr>
                <p14:cNvContentPartPr/>
                <p14:nvPr/>
              </p14:nvContentPartPr>
              <p14:xfrm>
                <a:off x="5554017" y="579158"/>
                <a:ext cx="71280" cy="56880"/>
              </p14:xfrm>
            </p:contentPart>
          </mc:Choice>
          <mc:Fallback xmlns="">
            <p:pic>
              <p:nvPicPr>
                <p:cNvPr id="60" name="Ink 59">
                  <a:extLst>
                    <a:ext uri="{FF2B5EF4-FFF2-40B4-BE49-F238E27FC236}">
                      <a16:creationId xmlns:a16="http://schemas.microsoft.com/office/drawing/2014/main" id="{55A31FE8-11C6-4F98-8F27-ABE798ED5899}"/>
                    </a:ext>
                  </a:extLst>
                </p:cNvPr>
                <p:cNvPicPr/>
                <p:nvPr/>
              </p:nvPicPr>
              <p:blipFill>
                <a:blip r:embed="rId20"/>
                <a:stretch>
                  <a:fillRect/>
                </a:stretch>
              </p:blipFill>
              <p:spPr>
                <a:xfrm>
                  <a:off x="5549697" y="574838"/>
                  <a:ext cx="79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1" name="Ink 60">
                  <a:extLst>
                    <a:ext uri="{FF2B5EF4-FFF2-40B4-BE49-F238E27FC236}">
                      <a16:creationId xmlns:a16="http://schemas.microsoft.com/office/drawing/2014/main" id="{66CD1D88-B354-4D51-B6E2-2FB10B3EB2BB}"/>
                    </a:ext>
                  </a:extLst>
                </p14:cNvPr>
                <p14:cNvContentPartPr/>
                <p14:nvPr/>
              </p14:nvContentPartPr>
              <p14:xfrm>
                <a:off x="5569497" y="585638"/>
                <a:ext cx="14760" cy="62640"/>
              </p14:xfrm>
            </p:contentPart>
          </mc:Choice>
          <mc:Fallback xmlns="">
            <p:pic>
              <p:nvPicPr>
                <p:cNvPr id="61" name="Ink 60">
                  <a:extLst>
                    <a:ext uri="{FF2B5EF4-FFF2-40B4-BE49-F238E27FC236}">
                      <a16:creationId xmlns:a16="http://schemas.microsoft.com/office/drawing/2014/main" id="{66CD1D88-B354-4D51-B6E2-2FB10B3EB2BB}"/>
                    </a:ext>
                  </a:extLst>
                </p:cNvPr>
                <p:cNvPicPr/>
                <p:nvPr/>
              </p:nvPicPr>
              <p:blipFill>
                <a:blip r:embed="rId22"/>
                <a:stretch>
                  <a:fillRect/>
                </a:stretch>
              </p:blipFill>
              <p:spPr>
                <a:xfrm>
                  <a:off x="5565177" y="581318"/>
                  <a:ext cx="2340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62" name="Ink 61">
                  <a:extLst>
                    <a:ext uri="{FF2B5EF4-FFF2-40B4-BE49-F238E27FC236}">
                      <a16:creationId xmlns:a16="http://schemas.microsoft.com/office/drawing/2014/main" id="{08D5FAAD-DCEA-4BCC-89E5-1F42BE1A5F81}"/>
                    </a:ext>
                  </a:extLst>
                </p14:cNvPr>
                <p14:cNvContentPartPr/>
                <p14:nvPr/>
              </p14:nvContentPartPr>
              <p14:xfrm>
                <a:off x="5633217" y="591758"/>
                <a:ext cx="41760" cy="41400"/>
              </p14:xfrm>
            </p:contentPart>
          </mc:Choice>
          <mc:Fallback xmlns="">
            <p:pic>
              <p:nvPicPr>
                <p:cNvPr id="62" name="Ink 61">
                  <a:extLst>
                    <a:ext uri="{FF2B5EF4-FFF2-40B4-BE49-F238E27FC236}">
                      <a16:creationId xmlns:a16="http://schemas.microsoft.com/office/drawing/2014/main" id="{08D5FAAD-DCEA-4BCC-89E5-1F42BE1A5F81}"/>
                    </a:ext>
                  </a:extLst>
                </p:cNvPr>
                <p:cNvPicPr/>
                <p:nvPr/>
              </p:nvPicPr>
              <p:blipFill>
                <a:blip r:embed="rId24"/>
                <a:stretch>
                  <a:fillRect/>
                </a:stretch>
              </p:blipFill>
              <p:spPr>
                <a:xfrm>
                  <a:off x="5628897" y="587438"/>
                  <a:ext cx="5040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63" name="Ink 62">
                  <a:extLst>
                    <a:ext uri="{FF2B5EF4-FFF2-40B4-BE49-F238E27FC236}">
                      <a16:creationId xmlns:a16="http://schemas.microsoft.com/office/drawing/2014/main" id="{53C08174-945B-4BD7-8DBB-33A9EFB19EAF}"/>
                    </a:ext>
                  </a:extLst>
                </p14:cNvPr>
                <p14:cNvContentPartPr/>
                <p14:nvPr/>
              </p14:nvContentPartPr>
              <p14:xfrm>
                <a:off x="5742297" y="571958"/>
                <a:ext cx="57240" cy="64440"/>
              </p14:xfrm>
            </p:contentPart>
          </mc:Choice>
          <mc:Fallback xmlns="">
            <p:pic>
              <p:nvPicPr>
                <p:cNvPr id="63" name="Ink 62">
                  <a:extLst>
                    <a:ext uri="{FF2B5EF4-FFF2-40B4-BE49-F238E27FC236}">
                      <a16:creationId xmlns:a16="http://schemas.microsoft.com/office/drawing/2014/main" id="{53C08174-945B-4BD7-8DBB-33A9EFB19EAF}"/>
                    </a:ext>
                  </a:extLst>
                </p:cNvPr>
                <p:cNvPicPr/>
                <p:nvPr/>
              </p:nvPicPr>
              <p:blipFill>
                <a:blip r:embed="rId26"/>
                <a:stretch>
                  <a:fillRect/>
                </a:stretch>
              </p:blipFill>
              <p:spPr>
                <a:xfrm>
                  <a:off x="5737977" y="567638"/>
                  <a:ext cx="6588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64" name="Ink 63">
                  <a:extLst>
                    <a:ext uri="{FF2B5EF4-FFF2-40B4-BE49-F238E27FC236}">
                      <a16:creationId xmlns:a16="http://schemas.microsoft.com/office/drawing/2014/main" id="{771DF10D-FBE2-4B4F-9839-00AEDD219109}"/>
                    </a:ext>
                  </a:extLst>
                </p14:cNvPr>
                <p14:cNvContentPartPr/>
                <p14:nvPr/>
              </p14:nvContentPartPr>
              <p14:xfrm>
                <a:off x="5751297" y="585638"/>
                <a:ext cx="35280" cy="69840"/>
              </p14:xfrm>
            </p:contentPart>
          </mc:Choice>
          <mc:Fallback xmlns="">
            <p:pic>
              <p:nvPicPr>
                <p:cNvPr id="64" name="Ink 63">
                  <a:extLst>
                    <a:ext uri="{FF2B5EF4-FFF2-40B4-BE49-F238E27FC236}">
                      <a16:creationId xmlns:a16="http://schemas.microsoft.com/office/drawing/2014/main" id="{771DF10D-FBE2-4B4F-9839-00AEDD219109}"/>
                    </a:ext>
                  </a:extLst>
                </p:cNvPr>
                <p:cNvPicPr/>
                <p:nvPr/>
              </p:nvPicPr>
              <p:blipFill>
                <a:blip r:embed="rId28"/>
                <a:stretch>
                  <a:fillRect/>
                </a:stretch>
              </p:blipFill>
              <p:spPr>
                <a:xfrm>
                  <a:off x="5746977" y="581318"/>
                  <a:ext cx="43920" cy="784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66" name="Ink 65">
                  <a:extLst>
                    <a:ext uri="{FF2B5EF4-FFF2-40B4-BE49-F238E27FC236}">
                      <a16:creationId xmlns:a16="http://schemas.microsoft.com/office/drawing/2014/main" id="{C9C10218-810B-408D-A478-9C45A80BFE58}"/>
                    </a:ext>
                  </a:extLst>
                </p14:cNvPr>
                <p14:cNvContentPartPr/>
                <p14:nvPr/>
              </p14:nvContentPartPr>
              <p14:xfrm>
                <a:off x="5799177" y="579878"/>
                <a:ext cx="43200" cy="67320"/>
              </p14:xfrm>
            </p:contentPart>
          </mc:Choice>
          <mc:Fallback xmlns="">
            <p:pic>
              <p:nvPicPr>
                <p:cNvPr id="66" name="Ink 65">
                  <a:extLst>
                    <a:ext uri="{FF2B5EF4-FFF2-40B4-BE49-F238E27FC236}">
                      <a16:creationId xmlns:a16="http://schemas.microsoft.com/office/drawing/2014/main" id="{C9C10218-810B-408D-A478-9C45A80BFE58}"/>
                    </a:ext>
                  </a:extLst>
                </p:cNvPr>
                <p:cNvPicPr/>
                <p:nvPr/>
              </p:nvPicPr>
              <p:blipFill>
                <a:blip r:embed="rId30"/>
                <a:stretch>
                  <a:fillRect/>
                </a:stretch>
              </p:blipFill>
              <p:spPr>
                <a:xfrm>
                  <a:off x="5794857" y="575558"/>
                  <a:ext cx="5184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67" name="Ink 66">
                  <a:extLst>
                    <a:ext uri="{FF2B5EF4-FFF2-40B4-BE49-F238E27FC236}">
                      <a16:creationId xmlns:a16="http://schemas.microsoft.com/office/drawing/2014/main" id="{4A5320AB-ACE0-42B9-8CEE-B6AF94A19CEB}"/>
                    </a:ext>
                  </a:extLst>
                </p14:cNvPr>
                <p14:cNvContentPartPr/>
                <p14:nvPr/>
              </p14:nvContentPartPr>
              <p14:xfrm>
                <a:off x="5907897" y="579518"/>
                <a:ext cx="39240" cy="63360"/>
              </p14:xfrm>
            </p:contentPart>
          </mc:Choice>
          <mc:Fallback xmlns="">
            <p:pic>
              <p:nvPicPr>
                <p:cNvPr id="67" name="Ink 66">
                  <a:extLst>
                    <a:ext uri="{FF2B5EF4-FFF2-40B4-BE49-F238E27FC236}">
                      <a16:creationId xmlns:a16="http://schemas.microsoft.com/office/drawing/2014/main" id="{4A5320AB-ACE0-42B9-8CEE-B6AF94A19CEB}"/>
                    </a:ext>
                  </a:extLst>
                </p:cNvPr>
                <p:cNvPicPr/>
                <p:nvPr/>
              </p:nvPicPr>
              <p:blipFill>
                <a:blip r:embed="rId32"/>
                <a:stretch>
                  <a:fillRect/>
                </a:stretch>
              </p:blipFill>
              <p:spPr>
                <a:xfrm>
                  <a:off x="5903577" y="575198"/>
                  <a:ext cx="4788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74" name="Ink 73">
                  <a:extLst>
                    <a:ext uri="{FF2B5EF4-FFF2-40B4-BE49-F238E27FC236}">
                      <a16:creationId xmlns:a16="http://schemas.microsoft.com/office/drawing/2014/main" id="{00B0BCB6-8EC9-4F42-B0A8-C2AB6F5F6645}"/>
                    </a:ext>
                  </a:extLst>
                </p14:cNvPr>
                <p14:cNvContentPartPr/>
                <p14:nvPr/>
              </p14:nvContentPartPr>
              <p14:xfrm>
                <a:off x="5938857" y="591758"/>
                <a:ext cx="60840" cy="47520"/>
              </p14:xfrm>
            </p:contentPart>
          </mc:Choice>
          <mc:Fallback xmlns="">
            <p:pic>
              <p:nvPicPr>
                <p:cNvPr id="74" name="Ink 73">
                  <a:extLst>
                    <a:ext uri="{FF2B5EF4-FFF2-40B4-BE49-F238E27FC236}">
                      <a16:creationId xmlns:a16="http://schemas.microsoft.com/office/drawing/2014/main" id="{00B0BCB6-8EC9-4F42-B0A8-C2AB6F5F6645}"/>
                    </a:ext>
                  </a:extLst>
                </p:cNvPr>
                <p:cNvPicPr/>
                <p:nvPr/>
              </p:nvPicPr>
              <p:blipFill>
                <a:blip r:embed="rId34"/>
                <a:stretch>
                  <a:fillRect/>
                </a:stretch>
              </p:blipFill>
              <p:spPr>
                <a:xfrm>
                  <a:off x="5934537" y="587438"/>
                  <a:ext cx="69480" cy="561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75" name="Ink 74">
                  <a:extLst>
                    <a:ext uri="{FF2B5EF4-FFF2-40B4-BE49-F238E27FC236}">
                      <a16:creationId xmlns:a16="http://schemas.microsoft.com/office/drawing/2014/main" id="{0BCC5110-0248-442B-8722-498CC887E825}"/>
                    </a:ext>
                  </a:extLst>
                </p14:cNvPr>
                <p14:cNvContentPartPr/>
                <p14:nvPr/>
              </p14:nvContentPartPr>
              <p14:xfrm>
                <a:off x="6033177" y="579158"/>
                <a:ext cx="30240" cy="70920"/>
              </p14:xfrm>
            </p:contentPart>
          </mc:Choice>
          <mc:Fallback xmlns="">
            <p:pic>
              <p:nvPicPr>
                <p:cNvPr id="75" name="Ink 74">
                  <a:extLst>
                    <a:ext uri="{FF2B5EF4-FFF2-40B4-BE49-F238E27FC236}">
                      <a16:creationId xmlns:a16="http://schemas.microsoft.com/office/drawing/2014/main" id="{0BCC5110-0248-442B-8722-498CC887E825}"/>
                    </a:ext>
                  </a:extLst>
                </p:cNvPr>
                <p:cNvPicPr/>
                <p:nvPr/>
              </p:nvPicPr>
              <p:blipFill>
                <a:blip r:embed="rId36"/>
                <a:stretch>
                  <a:fillRect/>
                </a:stretch>
              </p:blipFill>
              <p:spPr>
                <a:xfrm>
                  <a:off x="6028857" y="574838"/>
                  <a:ext cx="388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6" name="Ink 75">
                  <a:extLst>
                    <a:ext uri="{FF2B5EF4-FFF2-40B4-BE49-F238E27FC236}">
                      <a16:creationId xmlns:a16="http://schemas.microsoft.com/office/drawing/2014/main" id="{92FC619D-B485-4E90-B3E0-8AECA820C898}"/>
                    </a:ext>
                  </a:extLst>
                </p14:cNvPr>
                <p14:cNvContentPartPr/>
                <p14:nvPr/>
              </p14:nvContentPartPr>
              <p14:xfrm>
                <a:off x="6080697" y="585638"/>
                <a:ext cx="38880" cy="71280"/>
              </p14:xfrm>
            </p:contentPart>
          </mc:Choice>
          <mc:Fallback xmlns="">
            <p:pic>
              <p:nvPicPr>
                <p:cNvPr id="76" name="Ink 75">
                  <a:extLst>
                    <a:ext uri="{FF2B5EF4-FFF2-40B4-BE49-F238E27FC236}">
                      <a16:creationId xmlns:a16="http://schemas.microsoft.com/office/drawing/2014/main" id="{92FC619D-B485-4E90-B3E0-8AECA820C898}"/>
                    </a:ext>
                  </a:extLst>
                </p:cNvPr>
                <p:cNvPicPr/>
                <p:nvPr/>
              </p:nvPicPr>
              <p:blipFill>
                <a:blip r:embed="rId38"/>
                <a:stretch>
                  <a:fillRect/>
                </a:stretch>
              </p:blipFill>
              <p:spPr>
                <a:xfrm>
                  <a:off x="6076377" y="581318"/>
                  <a:ext cx="4752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7" name="Ink 76">
                  <a:extLst>
                    <a:ext uri="{FF2B5EF4-FFF2-40B4-BE49-F238E27FC236}">
                      <a16:creationId xmlns:a16="http://schemas.microsoft.com/office/drawing/2014/main" id="{3CA57AE4-A6DD-4006-B027-81D1EE7200BE}"/>
                    </a:ext>
                  </a:extLst>
                </p14:cNvPr>
                <p14:cNvContentPartPr/>
                <p14:nvPr/>
              </p14:nvContentPartPr>
              <p14:xfrm>
                <a:off x="6184737" y="571958"/>
                <a:ext cx="41400" cy="83880"/>
              </p14:xfrm>
            </p:contentPart>
          </mc:Choice>
          <mc:Fallback xmlns="">
            <p:pic>
              <p:nvPicPr>
                <p:cNvPr id="77" name="Ink 76">
                  <a:extLst>
                    <a:ext uri="{FF2B5EF4-FFF2-40B4-BE49-F238E27FC236}">
                      <a16:creationId xmlns:a16="http://schemas.microsoft.com/office/drawing/2014/main" id="{3CA57AE4-A6DD-4006-B027-81D1EE7200BE}"/>
                    </a:ext>
                  </a:extLst>
                </p:cNvPr>
                <p:cNvPicPr/>
                <p:nvPr/>
              </p:nvPicPr>
              <p:blipFill>
                <a:blip r:embed="rId40"/>
                <a:stretch>
                  <a:fillRect/>
                </a:stretch>
              </p:blipFill>
              <p:spPr>
                <a:xfrm>
                  <a:off x="6180417" y="567638"/>
                  <a:ext cx="50040" cy="925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78" name="Ink 77">
                  <a:extLst>
                    <a:ext uri="{FF2B5EF4-FFF2-40B4-BE49-F238E27FC236}">
                      <a16:creationId xmlns:a16="http://schemas.microsoft.com/office/drawing/2014/main" id="{6B9CD26D-6AD1-4532-B19F-0E7E657094B6}"/>
                    </a:ext>
                  </a:extLst>
                </p14:cNvPr>
                <p14:cNvContentPartPr/>
                <p14:nvPr/>
              </p14:nvContentPartPr>
              <p14:xfrm>
                <a:off x="6275817" y="570518"/>
                <a:ext cx="54360" cy="57600"/>
              </p14:xfrm>
            </p:contentPart>
          </mc:Choice>
          <mc:Fallback xmlns="">
            <p:pic>
              <p:nvPicPr>
                <p:cNvPr id="78" name="Ink 77">
                  <a:extLst>
                    <a:ext uri="{FF2B5EF4-FFF2-40B4-BE49-F238E27FC236}">
                      <a16:creationId xmlns:a16="http://schemas.microsoft.com/office/drawing/2014/main" id="{6B9CD26D-6AD1-4532-B19F-0E7E657094B6}"/>
                    </a:ext>
                  </a:extLst>
                </p:cNvPr>
                <p:cNvPicPr/>
                <p:nvPr/>
              </p:nvPicPr>
              <p:blipFill>
                <a:blip r:embed="rId42"/>
                <a:stretch>
                  <a:fillRect/>
                </a:stretch>
              </p:blipFill>
              <p:spPr>
                <a:xfrm>
                  <a:off x="6271497" y="566198"/>
                  <a:ext cx="6300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80" name="Ink 79">
                  <a:extLst>
                    <a:ext uri="{FF2B5EF4-FFF2-40B4-BE49-F238E27FC236}">
                      <a16:creationId xmlns:a16="http://schemas.microsoft.com/office/drawing/2014/main" id="{6530AB09-30BA-480D-ACAF-C1EF8C7C5174}"/>
                    </a:ext>
                  </a:extLst>
                </p14:cNvPr>
                <p14:cNvContentPartPr/>
                <p14:nvPr/>
              </p14:nvContentPartPr>
              <p14:xfrm>
                <a:off x="5403537" y="488078"/>
                <a:ext cx="12960" cy="42480"/>
              </p14:xfrm>
            </p:contentPart>
          </mc:Choice>
          <mc:Fallback xmlns="">
            <p:pic>
              <p:nvPicPr>
                <p:cNvPr id="80" name="Ink 79">
                  <a:extLst>
                    <a:ext uri="{FF2B5EF4-FFF2-40B4-BE49-F238E27FC236}">
                      <a16:creationId xmlns:a16="http://schemas.microsoft.com/office/drawing/2014/main" id="{6530AB09-30BA-480D-ACAF-C1EF8C7C5174}"/>
                    </a:ext>
                  </a:extLst>
                </p:cNvPr>
                <p:cNvPicPr/>
                <p:nvPr/>
              </p:nvPicPr>
              <p:blipFill>
                <a:blip r:embed="rId44"/>
                <a:stretch>
                  <a:fillRect/>
                </a:stretch>
              </p:blipFill>
              <p:spPr>
                <a:xfrm>
                  <a:off x="5399217" y="483758"/>
                  <a:ext cx="21600" cy="51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81" name="Ink 80">
                  <a:extLst>
                    <a:ext uri="{FF2B5EF4-FFF2-40B4-BE49-F238E27FC236}">
                      <a16:creationId xmlns:a16="http://schemas.microsoft.com/office/drawing/2014/main" id="{EEEA03DF-C400-49B5-B6B4-DE12FFCF3067}"/>
                    </a:ext>
                  </a:extLst>
                </p14:cNvPr>
                <p14:cNvContentPartPr/>
                <p14:nvPr/>
              </p14:nvContentPartPr>
              <p14:xfrm>
                <a:off x="5601897" y="467558"/>
                <a:ext cx="30960" cy="60120"/>
              </p14:xfrm>
            </p:contentPart>
          </mc:Choice>
          <mc:Fallback xmlns="">
            <p:pic>
              <p:nvPicPr>
                <p:cNvPr id="81" name="Ink 80">
                  <a:extLst>
                    <a:ext uri="{FF2B5EF4-FFF2-40B4-BE49-F238E27FC236}">
                      <a16:creationId xmlns:a16="http://schemas.microsoft.com/office/drawing/2014/main" id="{EEEA03DF-C400-49B5-B6B4-DE12FFCF3067}"/>
                    </a:ext>
                  </a:extLst>
                </p:cNvPr>
                <p:cNvPicPr/>
                <p:nvPr/>
              </p:nvPicPr>
              <p:blipFill>
                <a:blip r:embed="rId46"/>
                <a:stretch>
                  <a:fillRect/>
                </a:stretch>
              </p:blipFill>
              <p:spPr>
                <a:xfrm>
                  <a:off x="5597577" y="463238"/>
                  <a:ext cx="3960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83" name="Ink 82">
                  <a:extLst>
                    <a:ext uri="{FF2B5EF4-FFF2-40B4-BE49-F238E27FC236}">
                      <a16:creationId xmlns:a16="http://schemas.microsoft.com/office/drawing/2014/main" id="{3E6AF700-05E3-40AC-B9BF-C5CAC48AAEA3}"/>
                    </a:ext>
                  </a:extLst>
                </p14:cNvPr>
                <p14:cNvContentPartPr/>
                <p14:nvPr/>
              </p14:nvContentPartPr>
              <p14:xfrm>
                <a:off x="5753457" y="474038"/>
                <a:ext cx="19440" cy="40680"/>
              </p14:xfrm>
            </p:contentPart>
          </mc:Choice>
          <mc:Fallback xmlns="">
            <p:pic>
              <p:nvPicPr>
                <p:cNvPr id="83" name="Ink 82">
                  <a:extLst>
                    <a:ext uri="{FF2B5EF4-FFF2-40B4-BE49-F238E27FC236}">
                      <a16:creationId xmlns:a16="http://schemas.microsoft.com/office/drawing/2014/main" id="{3E6AF700-05E3-40AC-B9BF-C5CAC48AAEA3}"/>
                    </a:ext>
                  </a:extLst>
                </p:cNvPr>
                <p:cNvPicPr/>
                <p:nvPr/>
              </p:nvPicPr>
              <p:blipFill>
                <a:blip r:embed="rId48"/>
                <a:stretch>
                  <a:fillRect/>
                </a:stretch>
              </p:blipFill>
              <p:spPr>
                <a:xfrm>
                  <a:off x="5749137" y="469718"/>
                  <a:ext cx="2808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4" name="Ink 83">
                  <a:extLst>
                    <a:ext uri="{FF2B5EF4-FFF2-40B4-BE49-F238E27FC236}">
                      <a16:creationId xmlns:a16="http://schemas.microsoft.com/office/drawing/2014/main" id="{A8A67852-4FC8-4A1B-BFC5-7BC96AE98734}"/>
                    </a:ext>
                  </a:extLst>
                </p14:cNvPr>
                <p14:cNvContentPartPr/>
                <p14:nvPr/>
              </p14:nvContentPartPr>
              <p14:xfrm>
                <a:off x="5924097" y="474038"/>
                <a:ext cx="30240" cy="45000"/>
              </p14:xfrm>
            </p:contentPart>
          </mc:Choice>
          <mc:Fallback xmlns="">
            <p:pic>
              <p:nvPicPr>
                <p:cNvPr id="84" name="Ink 83">
                  <a:extLst>
                    <a:ext uri="{FF2B5EF4-FFF2-40B4-BE49-F238E27FC236}">
                      <a16:creationId xmlns:a16="http://schemas.microsoft.com/office/drawing/2014/main" id="{A8A67852-4FC8-4A1B-BFC5-7BC96AE98734}"/>
                    </a:ext>
                  </a:extLst>
                </p:cNvPr>
                <p:cNvPicPr/>
                <p:nvPr/>
              </p:nvPicPr>
              <p:blipFill>
                <a:blip r:embed="rId50"/>
                <a:stretch>
                  <a:fillRect/>
                </a:stretch>
              </p:blipFill>
              <p:spPr>
                <a:xfrm>
                  <a:off x="5919777" y="469718"/>
                  <a:ext cx="3888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5" name="Ink 84">
                  <a:extLst>
                    <a:ext uri="{FF2B5EF4-FFF2-40B4-BE49-F238E27FC236}">
                      <a16:creationId xmlns:a16="http://schemas.microsoft.com/office/drawing/2014/main" id="{17841811-E690-48A7-8A5F-C653A3F5B096}"/>
                    </a:ext>
                  </a:extLst>
                </p14:cNvPr>
                <p14:cNvContentPartPr/>
                <p14:nvPr/>
              </p14:nvContentPartPr>
              <p14:xfrm>
                <a:off x="6050097" y="467558"/>
                <a:ext cx="15840" cy="34920"/>
              </p14:xfrm>
            </p:contentPart>
          </mc:Choice>
          <mc:Fallback xmlns="">
            <p:pic>
              <p:nvPicPr>
                <p:cNvPr id="85" name="Ink 84">
                  <a:extLst>
                    <a:ext uri="{FF2B5EF4-FFF2-40B4-BE49-F238E27FC236}">
                      <a16:creationId xmlns:a16="http://schemas.microsoft.com/office/drawing/2014/main" id="{17841811-E690-48A7-8A5F-C653A3F5B096}"/>
                    </a:ext>
                  </a:extLst>
                </p:cNvPr>
                <p:cNvPicPr/>
                <p:nvPr/>
              </p:nvPicPr>
              <p:blipFill>
                <a:blip r:embed="rId52"/>
                <a:stretch>
                  <a:fillRect/>
                </a:stretch>
              </p:blipFill>
              <p:spPr>
                <a:xfrm>
                  <a:off x="6045777" y="463238"/>
                  <a:ext cx="24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6" name="Ink 85">
                  <a:extLst>
                    <a:ext uri="{FF2B5EF4-FFF2-40B4-BE49-F238E27FC236}">
                      <a16:creationId xmlns:a16="http://schemas.microsoft.com/office/drawing/2014/main" id="{598E7D38-5775-453A-934C-67C20A90A171}"/>
                    </a:ext>
                  </a:extLst>
                </p14:cNvPr>
                <p14:cNvContentPartPr/>
                <p14:nvPr/>
              </p14:nvContentPartPr>
              <p14:xfrm>
                <a:off x="6216057" y="481238"/>
                <a:ext cx="10080" cy="25560"/>
              </p14:xfrm>
            </p:contentPart>
          </mc:Choice>
          <mc:Fallback xmlns="">
            <p:pic>
              <p:nvPicPr>
                <p:cNvPr id="86" name="Ink 85">
                  <a:extLst>
                    <a:ext uri="{FF2B5EF4-FFF2-40B4-BE49-F238E27FC236}">
                      <a16:creationId xmlns:a16="http://schemas.microsoft.com/office/drawing/2014/main" id="{598E7D38-5775-453A-934C-67C20A90A171}"/>
                    </a:ext>
                  </a:extLst>
                </p:cNvPr>
                <p:cNvPicPr/>
                <p:nvPr/>
              </p:nvPicPr>
              <p:blipFill>
                <a:blip r:embed="rId54"/>
                <a:stretch>
                  <a:fillRect/>
                </a:stretch>
              </p:blipFill>
              <p:spPr>
                <a:xfrm>
                  <a:off x="6211737" y="476918"/>
                  <a:ext cx="18720" cy="342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55">
            <p14:nvContentPartPr>
              <p14:cNvPr id="88" name="Ink 87">
                <a:extLst>
                  <a:ext uri="{FF2B5EF4-FFF2-40B4-BE49-F238E27FC236}">
                    <a16:creationId xmlns:a16="http://schemas.microsoft.com/office/drawing/2014/main" id="{531875B8-63FD-453B-B849-5E8E0F9CA4F0}"/>
                  </a:ext>
                </a:extLst>
              </p14:cNvPr>
              <p14:cNvContentPartPr/>
              <p14:nvPr/>
            </p14:nvContentPartPr>
            <p14:xfrm>
              <a:off x="10786476" y="641651"/>
              <a:ext cx="37920" cy="20640"/>
            </p14:xfrm>
          </p:contentPart>
        </mc:Choice>
        <mc:Fallback>
          <p:pic>
            <p:nvPicPr>
              <p:cNvPr id="88" name="Ink 87">
                <a:extLst>
                  <a:ext uri="{FF2B5EF4-FFF2-40B4-BE49-F238E27FC236}">
                    <a16:creationId xmlns:a16="http://schemas.microsoft.com/office/drawing/2014/main" id="{531875B8-63FD-453B-B849-5E8E0F9CA4F0}"/>
                  </a:ext>
                </a:extLst>
              </p:cNvPr>
              <p:cNvPicPr/>
              <p:nvPr/>
            </p:nvPicPr>
            <p:blipFill>
              <a:blip r:embed="rId56"/>
              <a:stretch>
                <a:fillRect/>
              </a:stretch>
            </p:blipFill>
            <p:spPr>
              <a:xfrm>
                <a:off x="10782142" y="637306"/>
                <a:ext cx="46587" cy="29331"/>
              </a:xfrm>
              <a:prstGeom prst="rect">
                <a:avLst/>
              </a:prstGeom>
            </p:spPr>
          </p:pic>
        </mc:Fallback>
      </mc:AlternateContent>
      <mc:AlternateContent xmlns:mc="http://schemas.openxmlformats.org/markup-compatibility/2006">
        <mc:Choice xmlns:p14="http://schemas.microsoft.com/office/powerpoint/2010/main" Requires="p14">
          <p:contentPart p14:bwMode="auto" r:id="rId57">
            <p14:nvContentPartPr>
              <p14:cNvPr id="89" name="Ink 88">
                <a:extLst>
                  <a:ext uri="{FF2B5EF4-FFF2-40B4-BE49-F238E27FC236}">
                    <a16:creationId xmlns:a16="http://schemas.microsoft.com/office/drawing/2014/main" id="{DFB42180-85D5-40A2-98AF-D78C10FE81EE}"/>
                  </a:ext>
                </a:extLst>
              </p14:cNvPr>
              <p14:cNvContentPartPr/>
              <p14:nvPr/>
            </p14:nvContentPartPr>
            <p14:xfrm>
              <a:off x="6220236" y="390611"/>
              <a:ext cx="118080" cy="253440"/>
            </p14:xfrm>
          </p:contentPart>
        </mc:Choice>
        <mc:Fallback>
          <p:pic>
            <p:nvPicPr>
              <p:cNvPr id="89" name="Ink 88">
                <a:extLst>
                  <a:ext uri="{FF2B5EF4-FFF2-40B4-BE49-F238E27FC236}">
                    <a16:creationId xmlns:a16="http://schemas.microsoft.com/office/drawing/2014/main" id="{DFB42180-85D5-40A2-98AF-D78C10FE81EE}"/>
                  </a:ext>
                </a:extLst>
              </p:cNvPr>
              <p:cNvPicPr/>
              <p:nvPr/>
            </p:nvPicPr>
            <p:blipFill>
              <a:blip r:embed="rId58"/>
              <a:stretch>
                <a:fillRect/>
              </a:stretch>
            </p:blipFill>
            <p:spPr>
              <a:xfrm>
                <a:off x="6211181" y="381624"/>
                <a:ext cx="135828" cy="271055"/>
              </a:xfrm>
              <a:prstGeom prst="rect">
                <a:avLst/>
              </a:prstGeom>
            </p:spPr>
          </p:pic>
        </mc:Fallback>
      </mc:AlternateContent>
      <mc:AlternateContent xmlns:mc="http://schemas.openxmlformats.org/markup-compatibility/2006">
        <mc:Choice xmlns:p14="http://schemas.microsoft.com/office/powerpoint/2010/main" Requires="p14">
          <p:contentPart p14:bwMode="auto" r:id="rId59">
            <p14:nvContentPartPr>
              <p14:cNvPr id="90" name="Ink 89">
                <a:extLst>
                  <a:ext uri="{FF2B5EF4-FFF2-40B4-BE49-F238E27FC236}">
                    <a16:creationId xmlns:a16="http://schemas.microsoft.com/office/drawing/2014/main" id="{FE0D606C-C57B-4CF8-A74E-FC2FF7BB3289}"/>
                  </a:ext>
                </a:extLst>
              </p14:cNvPr>
              <p14:cNvContentPartPr/>
              <p14:nvPr/>
            </p14:nvContentPartPr>
            <p14:xfrm>
              <a:off x="5915916" y="788531"/>
              <a:ext cx="125760" cy="116640"/>
            </p14:xfrm>
          </p:contentPart>
        </mc:Choice>
        <mc:Fallback>
          <p:pic>
            <p:nvPicPr>
              <p:cNvPr id="90" name="Ink 89">
                <a:extLst>
                  <a:ext uri="{FF2B5EF4-FFF2-40B4-BE49-F238E27FC236}">
                    <a16:creationId xmlns:a16="http://schemas.microsoft.com/office/drawing/2014/main" id="{FE0D606C-C57B-4CF8-A74E-FC2FF7BB3289}"/>
                  </a:ext>
                </a:extLst>
              </p:cNvPr>
              <p:cNvPicPr/>
              <p:nvPr/>
            </p:nvPicPr>
            <p:blipFill>
              <a:blip r:embed="rId60"/>
              <a:stretch>
                <a:fillRect/>
              </a:stretch>
            </p:blipFill>
            <p:spPr>
              <a:xfrm>
                <a:off x="5906907" y="779531"/>
                <a:ext cx="143417" cy="134280"/>
              </a:xfrm>
              <a:prstGeom prst="rect">
                <a:avLst/>
              </a:prstGeom>
            </p:spPr>
          </p:pic>
        </mc:Fallback>
      </mc:AlternateContent>
      <p:sp>
        <p:nvSpPr>
          <p:cNvPr id="97" name="TextBox 96">
            <a:extLst>
              <a:ext uri="{FF2B5EF4-FFF2-40B4-BE49-F238E27FC236}">
                <a16:creationId xmlns:a16="http://schemas.microsoft.com/office/drawing/2014/main" id="{0B7F28F0-CBC9-4D42-8A6B-9EF4C95A95D6}"/>
              </a:ext>
            </a:extLst>
          </p:cNvPr>
          <p:cNvSpPr txBox="1"/>
          <p:nvPr/>
        </p:nvSpPr>
        <p:spPr>
          <a:xfrm>
            <a:off x="297820" y="1634291"/>
            <a:ext cx="8422717" cy="2677656"/>
          </a:xfrm>
          <a:prstGeom prst="rect">
            <a:avLst/>
          </a:prstGeom>
          <a:noFill/>
        </p:spPr>
        <p:txBody>
          <a:bodyPr wrap="square" rtlCol="0">
            <a:spAutoFit/>
          </a:bodyPr>
          <a:lstStyle/>
          <a:p>
            <a:pPr>
              <a:buClr>
                <a:schemeClr val="bg1"/>
              </a:buClr>
            </a:pPr>
            <a:r>
              <a:rPr lang="en-US" sz="2400" b="1" dirty="0">
                <a:solidFill>
                  <a:schemeClr val="bg2">
                    <a:lumMod val="50000"/>
                    <a:lumOff val="50000"/>
                  </a:schemeClr>
                </a:solidFill>
                <a:latin typeface="Inter"/>
                <a:cs typeface="Arial" panose="020B0604020202020204" pitchFamily="34" charset="0"/>
              </a:rPr>
              <a:t>Values : </a:t>
            </a:r>
            <a:r>
              <a:rPr lang="en-US" sz="2400" dirty="0">
                <a:solidFill>
                  <a:schemeClr val="bg2">
                    <a:lumMod val="50000"/>
                    <a:lumOff val="50000"/>
                  </a:schemeClr>
                </a:solidFill>
                <a:latin typeface="Inter"/>
                <a:cs typeface="Arial" panose="020B0604020202020204" pitchFamily="34" charset="0"/>
              </a:rPr>
              <a:t>10, 20, 30, 40, 44, 44, 45, 50, 55, 60 , 400</a:t>
            </a:r>
          </a:p>
          <a:p>
            <a:pPr>
              <a:buClr>
                <a:schemeClr val="bg1"/>
              </a:buClr>
            </a:pPr>
            <a:endParaRPr lang="en-US" sz="2400" dirty="0">
              <a:solidFill>
                <a:schemeClr val="bg2">
                  <a:lumMod val="50000"/>
                  <a:lumOff val="50000"/>
                </a:schemeClr>
              </a:solidFill>
              <a:latin typeface="Inter"/>
              <a:cs typeface="Arial" panose="020B0604020202020204" pitchFamily="34" charset="0"/>
            </a:endParaRPr>
          </a:p>
          <a:p>
            <a:pPr>
              <a:buClr>
                <a:schemeClr val="bg1"/>
              </a:buClr>
            </a:pPr>
            <a:r>
              <a:rPr lang="en-US" sz="2400" dirty="0">
                <a:solidFill>
                  <a:schemeClr val="accent1"/>
                </a:solidFill>
                <a:latin typeface="Inter"/>
                <a:cs typeface="Arial" panose="020B0604020202020204" pitchFamily="34" charset="0"/>
              </a:rPr>
              <a:t>Mean : </a:t>
            </a:r>
            <a:r>
              <a:rPr lang="en-US" sz="2400" dirty="0">
                <a:solidFill>
                  <a:schemeClr val="bg2">
                    <a:lumMod val="50000"/>
                    <a:lumOff val="50000"/>
                  </a:schemeClr>
                </a:solidFill>
                <a:latin typeface="Inter"/>
                <a:cs typeface="Arial" panose="020B0604020202020204" pitchFamily="34" charset="0"/>
              </a:rPr>
              <a:t>72.5</a:t>
            </a:r>
          </a:p>
          <a:p>
            <a:pPr>
              <a:buClr>
                <a:schemeClr val="bg1"/>
              </a:buClr>
            </a:pPr>
            <a:endParaRPr lang="en-US" sz="2400" dirty="0">
              <a:solidFill>
                <a:schemeClr val="accent1"/>
              </a:solidFill>
              <a:latin typeface="Inter"/>
              <a:cs typeface="Arial" panose="020B0604020202020204" pitchFamily="34" charset="0"/>
            </a:endParaRPr>
          </a:p>
          <a:p>
            <a:pPr>
              <a:buClr>
                <a:schemeClr val="bg1"/>
              </a:buClr>
            </a:pPr>
            <a:r>
              <a:rPr lang="en-US" sz="2400" dirty="0">
                <a:solidFill>
                  <a:schemeClr val="accent1"/>
                </a:solidFill>
                <a:latin typeface="Inter"/>
                <a:cs typeface="Arial" panose="020B0604020202020204" pitchFamily="34" charset="0"/>
              </a:rPr>
              <a:t>Median : </a:t>
            </a:r>
            <a:r>
              <a:rPr lang="en-US" sz="2400" dirty="0">
                <a:solidFill>
                  <a:schemeClr val="bg2">
                    <a:lumMod val="50000"/>
                    <a:lumOff val="50000"/>
                  </a:schemeClr>
                </a:solidFill>
                <a:latin typeface="Inter"/>
                <a:cs typeface="Arial" panose="020B0604020202020204" pitchFamily="34" charset="0"/>
              </a:rPr>
              <a:t>44</a:t>
            </a:r>
          </a:p>
          <a:p>
            <a:pPr>
              <a:buClr>
                <a:schemeClr val="bg1"/>
              </a:buClr>
            </a:pPr>
            <a:endParaRPr lang="en-US" sz="2400" dirty="0">
              <a:solidFill>
                <a:schemeClr val="accent1"/>
              </a:solidFill>
              <a:latin typeface="Inter"/>
              <a:cs typeface="Arial" panose="020B0604020202020204" pitchFamily="34" charset="0"/>
            </a:endParaRPr>
          </a:p>
          <a:p>
            <a:pPr>
              <a:buClr>
                <a:schemeClr val="bg1"/>
              </a:buClr>
            </a:pPr>
            <a:r>
              <a:rPr lang="en-US" sz="2400" dirty="0">
                <a:solidFill>
                  <a:schemeClr val="accent1"/>
                </a:solidFill>
                <a:latin typeface="Inter"/>
                <a:cs typeface="Arial" panose="020B0604020202020204" pitchFamily="34" charset="0"/>
              </a:rPr>
              <a:t>Mode : </a:t>
            </a:r>
            <a:r>
              <a:rPr lang="en-US" sz="2400" dirty="0">
                <a:solidFill>
                  <a:schemeClr val="bg2">
                    <a:lumMod val="50000"/>
                    <a:lumOff val="50000"/>
                  </a:schemeClr>
                </a:solidFill>
                <a:latin typeface="Inter"/>
                <a:cs typeface="Arial" panose="020B0604020202020204" pitchFamily="34" charset="0"/>
              </a:rPr>
              <a:t>44</a:t>
            </a:r>
          </a:p>
        </p:txBody>
      </p:sp>
      <p:grpSp>
        <p:nvGrpSpPr>
          <p:cNvPr id="107" name="Group 106">
            <a:extLst>
              <a:ext uri="{FF2B5EF4-FFF2-40B4-BE49-F238E27FC236}">
                <a16:creationId xmlns:a16="http://schemas.microsoft.com/office/drawing/2014/main" id="{B8B535AB-9207-47BE-A1C9-601BB537A3D2}"/>
              </a:ext>
            </a:extLst>
          </p:cNvPr>
          <p:cNvGrpSpPr/>
          <p:nvPr/>
        </p:nvGrpSpPr>
        <p:grpSpPr>
          <a:xfrm>
            <a:off x="10635276" y="780851"/>
            <a:ext cx="351360" cy="185760"/>
            <a:chOff x="7976457" y="585638"/>
            <a:chExt cx="263520" cy="139320"/>
          </a:xfrm>
        </p:grpSpPr>
        <mc:AlternateContent xmlns:mc="http://schemas.openxmlformats.org/markup-compatibility/2006" xmlns:p14="http://schemas.microsoft.com/office/powerpoint/2010/main">
          <mc:Choice Requires="p14">
            <p:contentPart p14:bwMode="auto" r:id="rId61">
              <p14:nvContentPartPr>
                <p14:cNvPr id="103" name="Ink 102">
                  <a:extLst>
                    <a:ext uri="{FF2B5EF4-FFF2-40B4-BE49-F238E27FC236}">
                      <a16:creationId xmlns:a16="http://schemas.microsoft.com/office/drawing/2014/main" id="{42F7E7F6-498A-4924-9E7B-2417E0FEC2F9}"/>
                    </a:ext>
                  </a:extLst>
                </p14:cNvPr>
                <p14:cNvContentPartPr/>
                <p14:nvPr/>
              </p14:nvContentPartPr>
              <p14:xfrm>
                <a:off x="7976457" y="592838"/>
                <a:ext cx="105840" cy="99360"/>
              </p14:xfrm>
            </p:contentPart>
          </mc:Choice>
          <mc:Fallback xmlns="">
            <p:pic>
              <p:nvPicPr>
                <p:cNvPr id="103" name="Ink 102">
                  <a:extLst>
                    <a:ext uri="{FF2B5EF4-FFF2-40B4-BE49-F238E27FC236}">
                      <a16:creationId xmlns:a16="http://schemas.microsoft.com/office/drawing/2014/main" id="{42F7E7F6-498A-4924-9E7B-2417E0FEC2F9}"/>
                    </a:ext>
                  </a:extLst>
                </p:cNvPr>
                <p:cNvPicPr/>
                <p:nvPr/>
              </p:nvPicPr>
              <p:blipFill>
                <a:blip r:embed="rId62"/>
                <a:stretch>
                  <a:fillRect/>
                </a:stretch>
              </p:blipFill>
              <p:spPr>
                <a:xfrm>
                  <a:off x="7972137" y="588518"/>
                  <a:ext cx="11448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4" name="Ink 103">
                  <a:extLst>
                    <a:ext uri="{FF2B5EF4-FFF2-40B4-BE49-F238E27FC236}">
                      <a16:creationId xmlns:a16="http://schemas.microsoft.com/office/drawing/2014/main" id="{E8038FD2-F19F-46A2-B68E-BA4430877E9F}"/>
                    </a:ext>
                  </a:extLst>
                </p14:cNvPr>
                <p14:cNvContentPartPr/>
                <p14:nvPr/>
              </p14:nvContentPartPr>
              <p14:xfrm>
                <a:off x="7999857" y="585638"/>
                <a:ext cx="48240" cy="139320"/>
              </p14:xfrm>
            </p:contentPart>
          </mc:Choice>
          <mc:Fallback xmlns="">
            <p:pic>
              <p:nvPicPr>
                <p:cNvPr id="104" name="Ink 103">
                  <a:extLst>
                    <a:ext uri="{FF2B5EF4-FFF2-40B4-BE49-F238E27FC236}">
                      <a16:creationId xmlns:a16="http://schemas.microsoft.com/office/drawing/2014/main" id="{E8038FD2-F19F-46A2-B68E-BA4430877E9F}"/>
                    </a:ext>
                  </a:extLst>
                </p:cNvPr>
                <p:cNvPicPr/>
                <p:nvPr/>
              </p:nvPicPr>
              <p:blipFill>
                <a:blip r:embed="rId64"/>
                <a:stretch>
                  <a:fillRect/>
                </a:stretch>
              </p:blipFill>
              <p:spPr>
                <a:xfrm>
                  <a:off x="7995537" y="581318"/>
                  <a:ext cx="5688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5" name="Ink 104">
                  <a:extLst>
                    <a:ext uri="{FF2B5EF4-FFF2-40B4-BE49-F238E27FC236}">
                      <a16:creationId xmlns:a16="http://schemas.microsoft.com/office/drawing/2014/main" id="{3624B60D-70CE-4C57-BB13-CDB2CA6188F8}"/>
                    </a:ext>
                  </a:extLst>
                </p14:cNvPr>
                <p14:cNvContentPartPr/>
                <p14:nvPr/>
              </p14:nvContentPartPr>
              <p14:xfrm>
                <a:off x="8103537" y="599318"/>
                <a:ext cx="57240" cy="57600"/>
              </p14:xfrm>
            </p:contentPart>
          </mc:Choice>
          <mc:Fallback xmlns="">
            <p:pic>
              <p:nvPicPr>
                <p:cNvPr id="105" name="Ink 104">
                  <a:extLst>
                    <a:ext uri="{FF2B5EF4-FFF2-40B4-BE49-F238E27FC236}">
                      <a16:creationId xmlns:a16="http://schemas.microsoft.com/office/drawing/2014/main" id="{3624B60D-70CE-4C57-BB13-CDB2CA6188F8}"/>
                    </a:ext>
                  </a:extLst>
                </p:cNvPr>
                <p:cNvPicPr/>
                <p:nvPr/>
              </p:nvPicPr>
              <p:blipFill>
                <a:blip r:embed="rId66"/>
                <a:stretch>
                  <a:fillRect/>
                </a:stretch>
              </p:blipFill>
              <p:spPr>
                <a:xfrm>
                  <a:off x="8099217" y="594998"/>
                  <a:ext cx="6588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6" name="Ink 105">
                  <a:extLst>
                    <a:ext uri="{FF2B5EF4-FFF2-40B4-BE49-F238E27FC236}">
                      <a16:creationId xmlns:a16="http://schemas.microsoft.com/office/drawing/2014/main" id="{F21C355D-4732-414A-8EB8-72F1F4C1964B}"/>
                    </a:ext>
                  </a:extLst>
                </p14:cNvPr>
                <p14:cNvContentPartPr/>
                <p14:nvPr/>
              </p14:nvContentPartPr>
              <p14:xfrm>
                <a:off x="8196057" y="585638"/>
                <a:ext cx="43920" cy="59400"/>
              </p14:xfrm>
            </p:contentPart>
          </mc:Choice>
          <mc:Fallback xmlns="">
            <p:pic>
              <p:nvPicPr>
                <p:cNvPr id="106" name="Ink 105">
                  <a:extLst>
                    <a:ext uri="{FF2B5EF4-FFF2-40B4-BE49-F238E27FC236}">
                      <a16:creationId xmlns:a16="http://schemas.microsoft.com/office/drawing/2014/main" id="{F21C355D-4732-414A-8EB8-72F1F4C1964B}"/>
                    </a:ext>
                  </a:extLst>
                </p:cNvPr>
                <p:cNvPicPr/>
                <p:nvPr/>
              </p:nvPicPr>
              <p:blipFill>
                <a:blip r:embed="rId68"/>
                <a:stretch>
                  <a:fillRect/>
                </a:stretch>
              </p:blipFill>
              <p:spPr>
                <a:xfrm>
                  <a:off x="8191737" y="581318"/>
                  <a:ext cx="52560" cy="68040"/>
                </a:xfrm>
                <a:prstGeom prst="rect">
                  <a:avLst/>
                </a:prstGeom>
              </p:spPr>
            </p:pic>
          </mc:Fallback>
        </mc:AlternateContent>
      </p:grpSp>
      <p:grpSp>
        <p:nvGrpSpPr>
          <p:cNvPr id="114" name="Group 113">
            <a:extLst>
              <a:ext uri="{FF2B5EF4-FFF2-40B4-BE49-F238E27FC236}">
                <a16:creationId xmlns:a16="http://schemas.microsoft.com/office/drawing/2014/main" id="{7885C676-A88E-492A-99A6-F6E6650F46A0}"/>
              </a:ext>
            </a:extLst>
          </p:cNvPr>
          <p:cNvGrpSpPr/>
          <p:nvPr/>
        </p:nvGrpSpPr>
        <p:grpSpPr>
          <a:xfrm>
            <a:off x="11457516" y="427571"/>
            <a:ext cx="436320" cy="420960"/>
            <a:chOff x="8593137" y="320678"/>
            <a:chExt cx="327240" cy="315720"/>
          </a:xfrm>
        </p:grpSpPr>
        <mc:AlternateContent xmlns:mc="http://schemas.openxmlformats.org/markup-compatibility/2006" xmlns:p14="http://schemas.microsoft.com/office/powerpoint/2010/main">
          <mc:Choice Requires="p14">
            <p:contentPart p14:bwMode="auto" r:id="rId69">
              <p14:nvContentPartPr>
                <p14:cNvPr id="109" name="Ink 108">
                  <a:extLst>
                    <a:ext uri="{FF2B5EF4-FFF2-40B4-BE49-F238E27FC236}">
                      <a16:creationId xmlns:a16="http://schemas.microsoft.com/office/drawing/2014/main" id="{8E5A5103-2C20-473B-B261-46E44E2A34E3}"/>
                    </a:ext>
                  </a:extLst>
                </p14:cNvPr>
                <p14:cNvContentPartPr/>
                <p14:nvPr/>
              </p14:nvContentPartPr>
              <p14:xfrm>
                <a:off x="8593137" y="320678"/>
                <a:ext cx="118080" cy="194040"/>
              </p14:xfrm>
            </p:contentPart>
          </mc:Choice>
          <mc:Fallback xmlns="">
            <p:pic>
              <p:nvPicPr>
                <p:cNvPr id="109" name="Ink 108">
                  <a:extLst>
                    <a:ext uri="{FF2B5EF4-FFF2-40B4-BE49-F238E27FC236}">
                      <a16:creationId xmlns:a16="http://schemas.microsoft.com/office/drawing/2014/main" id="{8E5A5103-2C20-473B-B261-46E44E2A34E3}"/>
                    </a:ext>
                  </a:extLst>
                </p:cNvPr>
                <p:cNvPicPr/>
                <p:nvPr/>
              </p:nvPicPr>
              <p:blipFill>
                <a:blip r:embed="rId70"/>
                <a:stretch>
                  <a:fillRect/>
                </a:stretch>
              </p:blipFill>
              <p:spPr>
                <a:xfrm>
                  <a:off x="8584137" y="311678"/>
                  <a:ext cx="13572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10" name="Ink 109">
                  <a:extLst>
                    <a:ext uri="{FF2B5EF4-FFF2-40B4-BE49-F238E27FC236}">
                      <a16:creationId xmlns:a16="http://schemas.microsoft.com/office/drawing/2014/main" id="{667A8D23-64F8-4238-9EDA-1EFFEDE5EA8D}"/>
                    </a:ext>
                  </a:extLst>
                </p14:cNvPr>
                <p14:cNvContentPartPr/>
                <p14:nvPr/>
              </p14:nvContentPartPr>
              <p14:xfrm>
                <a:off x="8657217" y="488078"/>
                <a:ext cx="96120" cy="148320"/>
              </p14:xfrm>
            </p:contentPart>
          </mc:Choice>
          <mc:Fallback xmlns="">
            <p:pic>
              <p:nvPicPr>
                <p:cNvPr id="110" name="Ink 109">
                  <a:extLst>
                    <a:ext uri="{FF2B5EF4-FFF2-40B4-BE49-F238E27FC236}">
                      <a16:creationId xmlns:a16="http://schemas.microsoft.com/office/drawing/2014/main" id="{667A8D23-64F8-4238-9EDA-1EFFEDE5EA8D}"/>
                    </a:ext>
                  </a:extLst>
                </p:cNvPr>
                <p:cNvPicPr/>
                <p:nvPr/>
              </p:nvPicPr>
              <p:blipFill>
                <a:blip r:embed="rId72"/>
                <a:stretch>
                  <a:fillRect/>
                </a:stretch>
              </p:blipFill>
              <p:spPr>
                <a:xfrm>
                  <a:off x="8648577" y="479078"/>
                  <a:ext cx="11376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12" name="Ink 111">
                  <a:extLst>
                    <a:ext uri="{FF2B5EF4-FFF2-40B4-BE49-F238E27FC236}">
                      <a16:creationId xmlns:a16="http://schemas.microsoft.com/office/drawing/2014/main" id="{D7AE6E3D-4C7A-4FAC-A1E4-6F7C020B45ED}"/>
                    </a:ext>
                  </a:extLst>
                </p14:cNvPr>
                <p14:cNvContentPartPr/>
                <p14:nvPr/>
              </p14:nvContentPartPr>
              <p14:xfrm>
                <a:off x="8753337" y="518318"/>
                <a:ext cx="79200" cy="87480"/>
              </p14:xfrm>
            </p:contentPart>
          </mc:Choice>
          <mc:Fallback xmlns="">
            <p:pic>
              <p:nvPicPr>
                <p:cNvPr id="112" name="Ink 111">
                  <a:extLst>
                    <a:ext uri="{FF2B5EF4-FFF2-40B4-BE49-F238E27FC236}">
                      <a16:creationId xmlns:a16="http://schemas.microsoft.com/office/drawing/2014/main" id="{D7AE6E3D-4C7A-4FAC-A1E4-6F7C020B45ED}"/>
                    </a:ext>
                  </a:extLst>
                </p:cNvPr>
                <p:cNvPicPr/>
                <p:nvPr/>
              </p:nvPicPr>
              <p:blipFill>
                <a:blip r:embed="rId74"/>
                <a:stretch>
                  <a:fillRect/>
                </a:stretch>
              </p:blipFill>
              <p:spPr>
                <a:xfrm>
                  <a:off x="8744337" y="509678"/>
                  <a:ext cx="9684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13" name="Ink 112">
                  <a:extLst>
                    <a:ext uri="{FF2B5EF4-FFF2-40B4-BE49-F238E27FC236}">
                      <a16:creationId xmlns:a16="http://schemas.microsoft.com/office/drawing/2014/main" id="{970F2986-0FFF-4ECB-BE85-093BDF17A43A}"/>
                    </a:ext>
                  </a:extLst>
                </p14:cNvPr>
                <p14:cNvContentPartPr/>
                <p14:nvPr/>
              </p14:nvContentPartPr>
              <p14:xfrm>
                <a:off x="8872857" y="503918"/>
                <a:ext cx="47520" cy="68040"/>
              </p14:xfrm>
            </p:contentPart>
          </mc:Choice>
          <mc:Fallback xmlns="">
            <p:pic>
              <p:nvPicPr>
                <p:cNvPr id="113" name="Ink 112">
                  <a:extLst>
                    <a:ext uri="{FF2B5EF4-FFF2-40B4-BE49-F238E27FC236}">
                      <a16:creationId xmlns:a16="http://schemas.microsoft.com/office/drawing/2014/main" id="{970F2986-0FFF-4ECB-BE85-093BDF17A43A}"/>
                    </a:ext>
                  </a:extLst>
                </p:cNvPr>
                <p:cNvPicPr/>
                <p:nvPr/>
              </p:nvPicPr>
              <p:blipFill>
                <a:blip r:embed="rId76"/>
                <a:stretch>
                  <a:fillRect/>
                </a:stretch>
              </p:blipFill>
              <p:spPr>
                <a:xfrm>
                  <a:off x="8863857" y="495278"/>
                  <a:ext cx="65160" cy="85680"/>
                </a:xfrm>
                <a:prstGeom prst="rect">
                  <a:avLst/>
                </a:prstGeom>
              </p:spPr>
            </p:pic>
          </mc:Fallback>
        </mc:AlternateContent>
      </p:grpSp>
      <p:sp>
        <p:nvSpPr>
          <p:cNvPr id="118" name="TextBox 117">
            <a:extLst>
              <a:ext uri="{FF2B5EF4-FFF2-40B4-BE49-F238E27FC236}">
                <a16:creationId xmlns:a16="http://schemas.microsoft.com/office/drawing/2014/main" id="{9FD59B1B-B3B2-450D-B9E2-D257740BB6D2}"/>
              </a:ext>
            </a:extLst>
          </p:cNvPr>
          <p:cNvSpPr txBox="1"/>
          <p:nvPr/>
        </p:nvSpPr>
        <p:spPr>
          <a:xfrm>
            <a:off x="190537" y="4895414"/>
            <a:ext cx="8652599" cy="461665"/>
          </a:xfrm>
          <a:prstGeom prst="rect">
            <a:avLst/>
          </a:prstGeom>
          <a:noFill/>
        </p:spPr>
        <p:txBody>
          <a:bodyPr wrap="square" rtlCol="0">
            <a:spAutoFit/>
          </a:bodyPr>
          <a:lstStyle/>
          <a:p>
            <a:pPr>
              <a:buClr>
                <a:schemeClr val="bg1"/>
              </a:buClr>
            </a:pPr>
            <a:r>
              <a:rPr lang="en-US" sz="2400" dirty="0">
                <a:solidFill>
                  <a:schemeClr val="bg2">
                    <a:lumMod val="50000"/>
                    <a:lumOff val="50000"/>
                  </a:schemeClr>
                </a:solidFill>
                <a:latin typeface="Inter"/>
                <a:cs typeface="Arial" panose="020B0604020202020204" pitchFamily="34" charset="0"/>
              </a:rPr>
              <a:t>Let’s learn how to identify and treat outliers in our ML classes</a:t>
            </a:r>
          </a:p>
        </p:txBody>
      </p:sp>
    </p:spTree>
    <p:extLst>
      <p:ext uri="{BB962C8B-B14F-4D97-AF65-F5344CB8AC3E}">
        <p14:creationId xmlns:p14="http://schemas.microsoft.com/office/powerpoint/2010/main" val="293059769"/>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6FF563-E73D-4114-871D-69CA13511BB3}"/>
              </a:ext>
            </a:extLst>
          </p:cNvPr>
          <p:cNvSpPr>
            <a:spLocks noGrp="1"/>
          </p:cNvSpPr>
          <p:nvPr>
            <p:ph type="title"/>
          </p:nvPr>
        </p:nvSpPr>
        <p:spPr>
          <a:xfrm>
            <a:off x="0" y="0"/>
            <a:ext cx="10607040" cy="853440"/>
          </a:xfrm>
        </p:spPr>
        <p:txBody>
          <a:bodyPr>
            <a:normAutofit fontScale="90000"/>
          </a:bodyPr>
          <a:lstStyle/>
          <a:p>
            <a:r>
              <a:rPr lang="en-US" dirty="0"/>
              <a:t>Mean – Continued</a:t>
            </a:r>
            <a:br>
              <a:rPr lang="en-US" dirty="0"/>
            </a:br>
            <a:r>
              <a:rPr lang="en-US" dirty="0">
                <a:solidFill>
                  <a:schemeClr val="bg2">
                    <a:lumMod val="50000"/>
                    <a:lumOff val="50000"/>
                  </a:schemeClr>
                </a:solidFill>
              </a:rPr>
              <a:t>Different types of Mean</a:t>
            </a:r>
          </a:p>
        </p:txBody>
      </p:sp>
      <p:sp>
        <p:nvSpPr>
          <p:cNvPr id="4" name="Content Placeholder 3">
            <a:extLst>
              <a:ext uri="{FF2B5EF4-FFF2-40B4-BE49-F238E27FC236}">
                <a16:creationId xmlns:a16="http://schemas.microsoft.com/office/drawing/2014/main" id="{7D3B6E85-01D6-4560-BC37-4C032EA4F8B6}"/>
              </a:ext>
            </a:extLst>
          </p:cNvPr>
          <p:cNvSpPr>
            <a:spLocks noGrp="1"/>
          </p:cNvSpPr>
          <p:nvPr>
            <p:ph sz="half" idx="1"/>
          </p:nvPr>
        </p:nvSpPr>
        <p:spPr>
          <a:xfrm>
            <a:off x="86554" y="1197340"/>
            <a:ext cx="10765257" cy="5094104"/>
          </a:xfrm>
        </p:spPr>
        <p:txBody>
          <a:bodyPr/>
          <a:lstStyle/>
          <a:p>
            <a:pPr marL="0" indent="0">
              <a:buNone/>
            </a:pPr>
            <a:r>
              <a:rPr lang="en-US" sz="3333" dirty="0">
                <a:solidFill>
                  <a:srgbClr val="007DB8"/>
                </a:solidFill>
              </a:rPr>
              <a:t>Arithmetic Mean </a:t>
            </a:r>
          </a:p>
          <a:p>
            <a:r>
              <a:rPr lang="en-US" dirty="0">
                <a:solidFill>
                  <a:schemeClr val="bg2">
                    <a:lumMod val="50000"/>
                    <a:lumOff val="50000"/>
                  </a:schemeClr>
                </a:solidFill>
                <a:latin typeface="Inter"/>
              </a:rPr>
              <a:t>When you add up all the values and divide by the number of values it is called Arithmetic Mean. To calculate, just add up all the given numbers then divide by how many numbers are given.</a:t>
            </a:r>
          </a:p>
          <a:p>
            <a:pPr lvl="1"/>
            <a:r>
              <a:rPr lang="en-US" sz="1867" dirty="0">
                <a:solidFill>
                  <a:schemeClr val="bg2">
                    <a:lumMod val="50000"/>
                    <a:lumOff val="50000"/>
                  </a:schemeClr>
                </a:solidFill>
                <a:latin typeface="Inter"/>
              </a:rPr>
              <a:t>Example: What is the mean of 3, 5, 9, 5, 7, 2?</a:t>
            </a:r>
          </a:p>
          <a:p>
            <a:pPr lvl="1"/>
            <a:r>
              <a:rPr lang="en-US" sz="1867" dirty="0">
                <a:solidFill>
                  <a:schemeClr val="bg2">
                    <a:lumMod val="50000"/>
                    <a:lumOff val="50000"/>
                  </a:schemeClr>
                </a:solidFill>
                <a:latin typeface="Inter"/>
              </a:rPr>
              <a:t>Now add up all the given numbers:</a:t>
            </a:r>
          </a:p>
          <a:p>
            <a:pPr lvl="1"/>
            <a:r>
              <a:rPr lang="en-US" sz="1867" dirty="0">
                <a:solidFill>
                  <a:schemeClr val="bg2">
                    <a:lumMod val="50000"/>
                    <a:lumOff val="50000"/>
                  </a:schemeClr>
                </a:solidFill>
                <a:latin typeface="Inter"/>
              </a:rPr>
              <a:t>3 + 5 + 9 + 5 + 7 + 2 = 31</a:t>
            </a:r>
          </a:p>
          <a:p>
            <a:pPr lvl="1"/>
            <a:r>
              <a:rPr lang="en-US" sz="1867" dirty="0">
                <a:solidFill>
                  <a:schemeClr val="bg2">
                    <a:lumMod val="50000"/>
                    <a:lumOff val="50000"/>
                  </a:schemeClr>
                </a:solidFill>
                <a:latin typeface="Inter"/>
              </a:rPr>
              <a:t>Now divide by how many numbers provided in the sequence:</a:t>
            </a:r>
          </a:p>
          <a:p>
            <a:pPr lvl="1"/>
            <a:r>
              <a:rPr lang="en-US" sz="1867" dirty="0">
                <a:solidFill>
                  <a:schemeClr val="bg2">
                    <a:lumMod val="50000"/>
                    <a:lumOff val="50000"/>
                  </a:schemeClr>
                </a:solidFill>
                <a:latin typeface="Inter"/>
              </a:rPr>
              <a:t>316= 5.16</a:t>
            </a:r>
          </a:p>
          <a:p>
            <a:pPr lvl="1"/>
            <a:r>
              <a:rPr lang="en-US" sz="1867" dirty="0">
                <a:solidFill>
                  <a:schemeClr val="bg2">
                    <a:lumMod val="50000"/>
                    <a:lumOff val="50000"/>
                  </a:schemeClr>
                </a:solidFill>
                <a:latin typeface="Inter"/>
              </a:rPr>
              <a:t>5.16 is the answer</a:t>
            </a:r>
            <a:r>
              <a:rPr lang="en-US" dirty="0"/>
              <a:t>.</a:t>
            </a:r>
          </a:p>
          <a:p>
            <a:endParaRPr lang="en-US" dirty="0"/>
          </a:p>
        </p:txBody>
      </p:sp>
      <p:pic>
        <p:nvPicPr>
          <p:cNvPr id="6" name="Picture 5">
            <a:extLst>
              <a:ext uri="{FF2B5EF4-FFF2-40B4-BE49-F238E27FC236}">
                <a16:creationId xmlns:a16="http://schemas.microsoft.com/office/drawing/2014/main" id="{27CA7337-1D9D-4B99-B6FB-2A461EFDE4E9}"/>
              </a:ext>
            </a:extLst>
          </p:cNvPr>
          <p:cNvPicPr>
            <a:picLocks noChangeAspect="1"/>
          </p:cNvPicPr>
          <p:nvPr/>
        </p:nvPicPr>
        <p:blipFill>
          <a:blip r:embed="rId2"/>
          <a:stretch>
            <a:fillRect/>
          </a:stretch>
        </p:blipFill>
        <p:spPr>
          <a:xfrm>
            <a:off x="709213" y="4876413"/>
            <a:ext cx="5524500" cy="660400"/>
          </a:xfrm>
          <a:prstGeom prst="rect">
            <a:avLst/>
          </a:prstGeom>
        </p:spPr>
      </p:pic>
    </p:spTree>
    <p:extLst>
      <p:ext uri="{BB962C8B-B14F-4D97-AF65-F5344CB8AC3E}">
        <p14:creationId xmlns:p14="http://schemas.microsoft.com/office/powerpoint/2010/main" val="2903660889"/>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215448" y="1406255"/>
            <a:ext cx="10565848" cy="42672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215447" y="5324642"/>
            <a:ext cx="11475511" cy="666977"/>
          </a:xfrm>
          <a:prstGeom prst="rect">
            <a:avLst/>
          </a:prstGeom>
          <a:noFill/>
        </p:spPr>
        <p:txBody>
          <a:bodyPr wrap="square" rtlCol="0">
            <a:spAutoFit/>
          </a:bodyPr>
          <a:lstStyle/>
          <a:p>
            <a:pPr>
              <a:buClr>
                <a:schemeClr val="bg1"/>
              </a:buClr>
            </a:pPr>
            <a:r>
              <a:rPr lang="en-US" sz="1867" i="1" dirty="0">
                <a:solidFill>
                  <a:schemeClr val="bg1"/>
                </a:solidFill>
              </a:rPr>
              <a:t>So, you can challenge most of the statements here. But these statements will be applicable to most of the population but there can be exceptions.</a:t>
            </a:r>
          </a:p>
        </p:txBody>
      </p:sp>
    </p:spTree>
    <p:extLst>
      <p:ext uri="{BB962C8B-B14F-4D97-AF65-F5344CB8AC3E}">
        <p14:creationId xmlns:p14="http://schemas.microsoft.com/office/powerpoint/2010/main" val="386559179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5DE446-0BA5-47DD-9C34-E22160028D02}"/>
              </a:ext>
            </a:extLst>
          </p:cNvPr>
          <p:cNvSpPr>
            <a:spLocks noGrp="1"/>
          </p:cNvSpPr>
          <p:nvPr>
            <p:ph type="title"/>
          </p:nvPr>
        </p:nvSpPr>
        <p:spPr>
          <a:xfrm>
            <a:off x="0" y="37308"/>
            <a:ext cx="10607040" cy="853440"/>
          </a:xfrm>
        </p:spPr>
        <p:txBody>
          <a:bodyPr/>
          <a:lstStyle/>
          <a:p>
            <a:r>
              <a:rPr lang="en-US" dirty="0"/>
              <a:t>Geometric Mean</a:t>
            </a:r>
          </a:p>
        </p:txBody>
      </p:sp>
      <p:sp>
        <p:nvSpPr>
          <p:cNvPr id="4" name="Content Placeholder 3">
            <a:extLst>
              <a:ext uri="{FF2B5EF4-FFF2-40B4-BE49-F238E27FC236}">
                <a16:creationId xmlns:a16="http://schemas.microsoft.com/office/drawing/2014/main" id="{8B864218-C049-4F5F-973F-1252FE3B9728}"/>
              </a:ext>
            </a:extLst>
          </p:cNvPr>
          <p:cNvSpPr>
            <a:spLocks noGrp="1"/>
          </p:cNvSpPr>
          <p:nvPr>
            <p:ph sz="half" idx="1"/>
          </p:nvPr>
        </p:nvSpPr>
        <p:spPr>
          <a:xfrm>
            <a:off x="365760" y="809698"/>
            <a:ext cx="10607040" cy="5286303"/>
          </a:xfrm>
        </p:spPr>
        <p:txBody>
          <a:bodyPr/>
          <a:lstStyle/>
          <a:p>
            <a:r>
              <a:rPr lang="en-US" dirty="0">
                <a:solidFill>
                  <a:schemeClr val="bg2">
                    <a:lumMod val="50000"/>
                    <a:lumOff val="50000"/>
                  </a:schemeClr>
                </a:solidFill>
                <a:latin typeface="Inter"/>
              </a:rPr>
              <a:t>While finding geometric mean the values are </a:t>
            </a:r>
            <a:r>
              <a:rPr lang="en-US" dirty="0" err="1">
                <a:solidFill>
                  <a:schemeClr val="bg2">
                    <a:lumMod val="50000"/>
                    <a:lumOff val="50000"/>
                  </a:schemeClr>
                </a:solidFill>
                <a:latin typeface="Inter"/>
              </a:rPr>
              <a:t>multipled</a:t>
            </a:r>
            <a:r>
              <a:rPr lang="en-US" dirty="0">
                <a:solidFill>
                  <a:schemeClr val="bg2">
                    <a:lumMod val="50000"/>
                    <a:lumOff val="50000"/>
                  </a:schemeClr>
                </a:solidFill>
                <a:latin typeface="Inter"/>
              </a:rPr>
              <a:t> rather than summed up </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ample: Find the geometric mean of 4 and 3 ?</a:t>
            </a:r>
          </a:p>
          <a:p>
            <a:pPr lvl="1"/>
            <a:r>
              <a:rPr lang="en-US" sz="1867" dirty="0">
                <a:solidFill>
                  <a:schemeClr val="bg2">
                    <a:lumMod val="50000"/>
                    <a:lumOff val="50000"/>
                  </a:schemeClr>
                </a:solidFill>
                <a:latin typeface="Inter"/>
              </a:rPr>
              <a:t>Geometric Mean =√4×3=2√23= 3.46</a:t>
            </a:r>
          </a:p>
          <a:p>
            <a:r>
              <a:rPr lang="en-US" dirty="0">
                <a:solidFill>
                  <a:schemeClr val="bg2">
                    <a:lumMod val="50000"/>
                    <a:lumOff val="50000"/>
                  </a:schemeClr>
                </a:solidFill>
                <a:latin typeface="Inter"/>
              </a:rPr>
              <a:t>GM of 2 numbers is like finding area and the GM of 3 numbers is like finding the volume of area.. </a:t>
            </a:r>
          </a:p>
          <a:p>
            <a:pPr lvl="1"/>
            <a:r>
              <a:rPr lang="en-US" sz="1867" dirty="0">
                <a:solidFill>
                  <a:schemeClr val="bg2">
                    <a:lumMod val="50000"/>
                    <a:lumOff val="50000"/>
                  </a:schemeClr>
                </a:solidFill>
                <a:latin typeface="Inter"/>
              </a:rPr>
              <a:t>Ex : What is geometric mean of 1,3,9,27,81 ? </a:t>
            </a:r>
          </a:p>
          <a:p>
            <a:r>
              <a:rPr lang="en-US" dirty="0">
                <a:solidFill>
                  <a:schemeClr val="bg2">
                    <a:lumMod val="50000"/>
                    <a:lumOff val="50000"/>
                  </a:schemeClr>
                </a:solidFill>
                <a:latin typeface="Inter"/>
              </a:rPr>
              <a:t>Why Geometric Mean ? </a:t>
            </a:r>
          </a:p>
          <a:p>
            <a:pPr lvl="1"/>
            <a:r>
              <a:rPr lang="en-US" sz="1867" dirty="0">
                <a:solidFill>
                  <a:schemeClr val="bg2">
                    <a:lumMod val="50000"/>
                    <a:lumOff val="50000"/>
                  </a:schemeClr>
                </a:solidFill>
                <a:latin typeface="Inter"/>
              </a:rPr>
              <a:t>Ex : Buying a laptop </a:t>
            </a:r>
          </a:p>
          <a:p>
            <a:endParaRPr lang="en-US" dirty="0"/>
          </a:p>
        </p:txBody>
      </p:sp>
      <p:pic>
        <p:nvPicPr>
          <p:cNvPr id="6" name="Picture 5" descr="A picture containing text, electronics, computer, display&#10;&#10;Description automatically generated">
            <a:extLst>
              <a:ext uri="{FF2B5EF4-FFF2-40B4-BE49-F238E27FC236}">
                <a16:creationId xmlns:a16="http://schemas.microsoft.com/office/drawing/2014/main" id="{5F3DBB60-44C0-4843-BD26-C515BA6729B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665357" y="3782662"/>
            <a:ext cx="3412168" cy="1885223"/>
          </a:xfrm>
          <a:prstGeom prst="rect">
            <a:avLst/>
          </a:prstGeom>
        </p:spPr>
      </p:pic>
      <p:pic>
        <p:nvPicPr>
          <p:cNvPr id="9" name="Picture 8">
            <a:extLst>
              <a:ext uri="{FF2B5EF4-FFF2-40B4-BE49-F238E27FC236}">
                <a16:creationId xmlns:a16="http://schemas.microsoft.com/office/drawing/2014/main" id="{EF92DF04-2F8E-4143-B9E7-DB7E0542E115}"/>
              </a:ext>
            </a:extLst>
          </p:cNvPr>
          <p:cNvPicPr>
            <a:picLocks noChangeAspect="1"/>
          </p:cNvPicPr>
          <p:nvPr/>
        </p:nvPicPr>
        <p:blipFill>
          <a:blip r:embed="rId4"/>
          <a:stretch>
            <a:fillRect/>
          </a:stretch>
        </p:blipFill>
        <p:spPr>
          <a:xfrm>
            <a:off x="2159195" y="1091445"/>
            <a:ext cx="4876800" cy="622300"/>
          </a:xfrm>
          <a:prstGeom prst="rect">
            <a:avLst/>
          </a:prstGeom>
        </p:spPr>
      </p:pic>
    </p:spTree>
    <p:extLst>
      <p:ext uri="{BB962C8B-B14F-4D97-AF65-F5344CB8AC3E}">
        <p14:creationId xmlns:p14="http://schemas.microsoft.com/office/powerpoint/2010/main" val="2355739922"/>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2BE7F-23BD-4650-9881-92293F42646A}"/>
              </a:ext>
            </a:extLst>
          </p:cNvPr>
          <p:cNvSpPr>
            <a:spLocks noGrp="1"/>
          </p:cNvSpPr>
          <p:nvPr>
            <p:ph type="title"/>
          </p:nvPr>
        </p:nvSpPr>
        <p:spPr>
          <a:xfrm>
            <a:off x="0" y="0"/>
            <a:ext cx="10607040" cy="853440"/>
          </a:xfrm>
        </p:spPr>
        <p:txBody>
          <a:bodyPr/>
          <a:lstStyle/>
          <a:p>
            <a:r>
              <a:rPr lang="en-US" dirty="0"/>
              <a:t>Harmonic Mean</a:t>
            </a:r>
          </a:p>
        </p:txBody>
      </p:sp>
      <p:sp>
        <p:nvSpPr>
          <p:cNvPr id="4" name="Content Placeholder 3">
            <a:extLst>
              <a:ext uri="{FF2B5EF4-FFF2-40B4-BE49-F238E27FC236}">
                <a16:creationId xmlns:a16="http://schemas.microsoft.com/office/drawing/2014/main" id="{FE64AFE6-BC36-4F1D-ACEC-72EB9E24C942}"/>
              </a:ext>
            </a:extLst>
          </p:cNvPr>
          <p:cNvSpPr>
            <a:spLocks noGrp="1"/>
          </p:cNvSpPr>
          <p:nvPr>
            <p:ph sz="half" idx="1"/>
          </p:nvPr>
        </p:nvSpPr>
        <p:spPr>
          <a:xfrm>
            <a:off x="77248" y="761186"/>
            <a:ext cx="11379509" cy="5335628"/>
          </a:xfrm>
        </p:spPr>
        <p:txBody>
          <a:bodyPr/>
          <a:lstStyle/>
          <a:p>
            <a:r>
              <a:rPr lang="en-US" sz="2400" dirty="0">
                <a:solidFill>
                  <a:schemeClr val="bg2">
                    <a:lumMod val="50000"/>
                    <a:lumOff val="50000"/>
                  </a:schemeClr>
                </a:solidFill>
                <a:latin typeface="Inter"/>
              </a:rPr>
              <a:t>The harmonic mean is a type of numerical average. It is calculated by dividing the number of observations by the reciprocal of each number in the series. </a:t>
            </a:r>
          </a:p>
          <a:p>
            <a:r>
              <a:rPr lang="en-US" sz="2400" dirty="0">
                <a:solidFill>
                  <a:schemeClr val="bg2">
                    <a:lumMod val="50000"/>
                    <a:lumOff val="50000"/>
                  </a:schemeClr>
                </a:solidFill>
                <a:latin typeface="Inter"/>
              </a:rPr>
              <a:t>The reciprocal of a number n is simply 1 / n.</a:t>
            </a:r>
          </a:p>
          <a:p>
            <a:r>
              <a:rPr lang="en-US" sz="2400" dirty="0">
                <a:solidFill>
                  <a:schemeClr val="bg2">
                    <a:lumMod val="50000"/>
                    <a:lumOff val="50000"/>
                  </a:schemeClr>
                </a:solidFill>
                <a:latin typeface="Inter"/>
              </a:rPr>
              <a:t>Ex : the harmonic mean of 2, 4, 6, 8, 50 is </a:t>
            </a:r>
          </a:p>
        </p:txBody>
      </p:sp>
      <mc:AlternateContent xmlns:mc="http://schemas.openxmlformats.org/markup-compatibility/2006">
        <mc:Choice xmlns:p14="http://schemas.microsoft.com/office/powerpoint/2010/main" Requires="p14">
          <p:contentPart p14:bwMode="auto" r:id="rId2">
            <p14:nvContentPartPr>
              <p14:cNvPr id="9" name="Ink 8">
                <a:extLst>
                  <a:ext uri="{FF2B5EF4-FFF2-40B4-BE49-F238E27FC236}">
                    <a16:creationId xmlns:a16="http://schemas.microsoft.com/office/drawing/2014/main" id="{521DD35F-BF5C-4C24-8567-60DAF0F0E899}"/>
                  </a:ext>
                </a:extLst>
              </p14:cNvPr>
              <p14:cNvContentPartPr/>
              <p14:nvPr/>
            </p14:nvContentPartPr>
            <p14:xfrm>
              <a:off x="2102796" y="3843251"/>
              <a:ext cx="480" cy="480"/>
            </p14:xfrm>
          </p:contentPart>
        </mc:Choice>
        <mc:Fallback>
          <p:pic>
            <p:nvPicPr>
              <p:cNvPr id="9" name="Ink 8">
                <a:extLst>
                  <a:ext uri="{FF2B5EF4-FFF2-40B4-BE49-F238E27FC236}">
                    <a16:creationId xmlns:a16="http://schemas.microsoft.com/office/drawing/2014/main" id="{521DD35F-BF5C-4C24-8567-60DAF0F0E899}"/>
                  </a:ext>
                </a:extLst>
              </p:cNvPr>
              <p:cNvPicPr/>
              <p:nvPr/>
            </p:nvPicPr>
            <p:blipFill>
              <a:blip r:embed="rId3"/>
              <a:stretch>
                <a:fillRect/>
              </a:stretch>
            </p:blipFill>
            <p:spPr>
              <a:xfrm>
                <a:off x="2097036" y="3837491"/>
                <a:ext cx="12000" cy="1200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13" name="Ink 12">
                <a:extLst>
                  <a:ext uri="{FF2B5EF4-FFF2-40B4-BE49-F238E27FC236}">
                    <a16:creationId xmlns:a16="http://schemas.microsoft.com/office/drawing/2014/main" id="{C247D014-0380-4712-8703-F5FA9E77D00C}"/>
                  </a:ext>
                </a:extLst>
              </p14:cNvPr>
              <p14:cNvContentPartPr/>
              <p14:nvPr/>
            </p14:nvContentPartPr>
            <p14:xfrm>
              <a:off x="585996" y="3281171"/>
              <a:ext cx="1939200" cy="125280"/>
            </p14:xfrm>
          </p:contentPart>
        </mc:Choice>
        <mc:Fallback>
          <p:pic>
            <p:nvPicPr>
              <p:cNvPr id="13" name="Ink 12">
                <a:extLst>
                  <a:ext uri="{FF2B5EF4-FFF2-40B4-BE49-F238E27FC236}">
                    <a16:creationId xmlns:a16="http://schemas.microsoft.com/office/drawing/2014/main" id="{C247D014-0380-4712-8703-F5FA9E77D00C}"/>
                  </a:ext>
                </a:extLst>
              </p:cNvPr>
              <p:cNvPicPr/>
              <p:nvPr/>
            </p:nvPicPr>
            <p:blipFill>
              <a:blip r:embed="rId5"/>
              <a:stretch>
                <a:fillRect/>
              </a:stretch>
            </p:blipFill>
            <p:spPr>
              <a:xfrm>
                <a:off x="581675" y="3276863"/>
                <a:ext cx="1947841" cy="133895"/>
              </a:xfrm>
              <a:prstGeom prst="rect">
                <a:avLst/>
              </a:prstGeom>
            </p:spPr>
          </p:pic>
        </mc:Fallback>
      </mc:AlternateContent>
      <p:grpSp>
        <p:nvGrpSpPr>
          <p:cNvPr id="31" name="Group 30">
            <a:extLst>
              <a:ext uri="{FF2B5EF4-FFF2-40B4-BE49-F238E27FC236}">
                <a16:creationId xmlns:a16="http://schemas.microsoft.com/office/drawing/2014/main" id="{7F6642C1-E870-4010-B0E9-EF747B2FA80D}"/>
              </a:ext>
            </a:extLst>
          </p:cNvPr>
          <p:cNvGrpSpPr/>
          <p:nvPr/>
        </p:nvGrpSpPr>
        <p:grpSpPr>
          <a:xfrm>
            <a:off x="213516" y="3489491"/>
            <a:ext cx="1666560" cy="529920"/>
            <a:chOff x="160137" y="2617118"/>
            <a:chExt cx="1249920" cy="397440"/>
          </a:xfrm>
        </p:grpSpPr>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BBCC6A1-7D66-471E-B664-9C36034A1695}"/>
                    </a:ext>
                  </a:extLst>
                </p14:cNvPr>
                <p14:cNvContentPartPr/>
                <p14:nvPr/>
              </p14:nvContentPartPr>
              <p14:xfrm>
                <a:off x="281457" y="2652398"/>
                <a:ext cx="18720" cy="69120"/>
              </p14:xfrm>
            </p:contentPart>
          </mc:Choice>
          <mc:Fallback xmlns="">
            <p:pic>
              <p:nvPicPr>
                <p:cNvPr id="15" name="Ink 14">
                  <a:extLst>
                    <a:ext uri="{FF2B5EF4-FFF2-40B4-BE49-F238E27FC236}">
                      <a16:creationId xmlns:a16="http://schemas.microsoft.com/office/drawing/2014/main" id="{ABBCC6A1-7D66-471E-B664-9C36034A1695}"/>
                    </a:ext>
                  </a:extLst>
                </p:cNvPr>
                <p:cNvPicPr/>
                <p:nvPr/>
              </p:nvPicPr>
              <p:blipFill>
                <a:blip r:embed="rId7"/>
                <a:stretch>
                  <a:fillRect/>
                </a:stretch>
              </p:blipFill>
              <p:spPr>
                <a:xfrm>
                  <a:off x="277137" y="2648078"/>
                  <a:ext cx="27360" cy="77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E827FF3F-D218-4768-83C1-269622D7BE6B}"/>
                    </a:ext>
                  </a:extLst>
                </p14:cNvPr>
                <p14:cNvContentPartPr/>
                <p14:nvPr/>
              </p14:nvContentPartPr>
              <p14:xfrm>
                <a:off x="160137" y="2777678"/>
                <a:ext cx="195480" cy="9360"/>
              </p14:xfrm>
            </p:contentPart>
          </mc:Choice>
          <mc:Fallback xmlns="">
            <p:pic>
              <p:nvPicPr>
                <p:cNvPr id="16" name="Ink 15">
                  <a:extLst>
                    <a:ext uri="{FF2B5EF4-FFF2-40B4-BE49-F238E27FC236}">
                      <a16:creationId xmlns:a16="http://schemas.microsoft.com/office/drawing/2014/main" id="{E827FF3F-D218-4768-83C1-269622D7BE6B}"/>
                    </a:ext>
                  </a:extLst>
                </p:cNvPr>
                <p:cNvPicPr/>
                <p:nvPr/>
              </p:nvPicPr>
              <p:blipFill>
                <a:blip r:embed="rId9"/>
                <a:stretch>
                  <a:fillRect/>
                </a:stretch>
              </p:blipFill>
              <p:spPr>
                <a:xfrm>
                  <a:off x="155817" y="2773358"/>
                  <a:ext cx="2041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808A8589-F238-4BBB-833C-8E6EB5A163A0}"/>
                    </a:ext>
                  </a:extLst>
                </p14:cNvPr>
                <p14:cNvContentPartPr/>
                <p14:nvPr/>
              </p14:nvContentPartPr>
              <p14:xfrm>
                <a:off x="184977" y="2847158"/>
                <a:ext cx="104760" cy="98280"/>
              </p14:xfrm>
            </p:contentPart>
          </mc:Choice>
          <mc:Fallback xmlns="">
            <p:pic>
              <p:nvPicPr>
                <p:cNvPr id="17" name="Ink 16">
                  <a:extLst>
                    <a:ext uri="{FF2B5EF4-FFF2-40B4-BE49-F238E27FC236}">
                      <a16:creationId xmlns:a16="http://schemas.microsoft.com/office/drawing/2014/main" id="{808A8589-F238-4BBB-833C-8E6EB5A163A0}"/>
                    </a:ext>
                  </a:extLst>
                </p:cNvPr>
                <p:cNvPicPr/>
                <p:nvPr/>
              </p:nvPicPr>
              <p:blipFill>
                <a:blip r:embed="rId11"/>
                <a:stretch>
                  <a:fillRect/>
                </a:stretch>
              </p:blipFill>
              <p:spPr>
                <a:xfrm>
                  <a:off x="180657" y="2842838"/>
                  <a:ext cx="113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ADC4EA80-7CFB-4BBE-ABC7-58B9F39C8CE8}"/>
                    </a:ext>
                  </a:extLst>
                </p14:cNvPr>
                <p14:cNvContentPartPr/>
                <p14:nvPr/>
              </p14:nvContentPartPr>
              <p14:xfrm>
                <a:off x="488817" y="2699558"/>
                <a:ext cx="6840" cy="91440"/>
              </p14:xfrm>
            </p:contentPart>
          </mc:Choice>
          <mc:Fallback xmlns="">
            <p:pic>
              <p:nvPicPr>
                <p:cNvPr id="18" name="Ink 17">
                  <a:extLst>
                    <a:ext uri="{FF2B5EF4-FFF2-40B4-BE49-F238E27FC236}">
                      <a16:creationId xmlns:a16="http://schemas.microsoft.com/office/drawing/2014/main" id="{ADC4EA80-7CFB-4BBE-ABC7-58B9F39C8CE8}"/>
                    </a:ext>
                  </a:extLst>
                </p:cNvPr>
                <p:cNvPicPr/>
                <p:nvPr/>
              </p:nvPicPr>
              <p:blipFill>
                <a:blip r:embed="rId13"/>
                <a:stretch>
                  <a:fillRect/>
                </a:stretch>
              </p:blipFill>
              <p:spPr>
                <a:xfrm>
                  <a:off x="484497" y="2695238"/>
                  <a:ext cx="15480" cy="1000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A80AF556-75FB-4007-89BC-179550900F1D}"/>
                    </a:ext>
                  </a:extLst>
                </p14:cNvPr>
                <p14:cNvContentPartPr/>
                <p14:nvPr/>
              </p14:nvContentPartPr>
              <p14:xfrm>
                <a:off x="425817" y="2766518"/>
                <a:ext cx="76320" cy="4320"/>
              </p14:xfrm>
            </p:contentPart>
          </mc:Choice>
          <mc:Fallback xmlns="">
            <p:pic>
              <p:nvPicPr>
                <p:cNvPr id="19" name="Ink 18">
                  <a:extLst>
                    <a:ext uri="{FF2B5EF4-FFF2-40B4-BE49-F238E27FC236}">
                      <a16:creationId xmlns:a16="http://schemas.microsoft.com/office/drawing/2014/main" id="{A80AF556-75FB-4007-89BC-179550900F1D}"/>
                    </a:ext>
                  </a:extLst>
                </p:cNvPr>
                <p:cNvPicPr/>
                <p:nvPr/>
              </p:nvPicPr>
              <p:blipFill>
                <a:blip r:embed="rId15"/>
                <a:stretch>
                  <a:fillRect/>
                </a:stretch>
              </p:blipFill>
              <p:spPr>
                <a:xfrm>
                  <a:off x="421497" y="2762198"/>
                  <a:ext cx="84960" cy="129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Ink 19">
                  <a:extLst>
                    <a:ext uri="{FF2B5EF4-FFF2-40B4-BE49-F238E27FC236}">
                      <a16:creationId xmlns:a16="http://schemas.microsoft.com/office/drawing/2014/main" id="{6E0D1770-2FF1-49B0-B884-EB534999F7B1}"/>
                    </a:ext>
                  </a:extLst>
                </p14:cNvPr>
                <p14:cNvContentPartPr/>
                <p14:nvPr/>
              </p14:nvContentPartPr>
              <p14:xfrm>
                <a:off x="677457" y="2637998"/>
                <a:ext cx="15480" cy="139320"/>
              </p14:xfrm>
            </p:contentPart>
          </mc:Choice>
          <mc:Fallback xmlns="">
            <p:pic>
              <p:nvPicPr>
                <p:cNvPr id="20" name="Ink 19">
                  <a:extLst>
                    <a:ext uri="{FF2B5EF4-FFF2-40B4-BE49-F238E27FC236}">
                      <a16:creationId xmlns:a16="http://schemas.microsoft.com/office/drawing/2014/main" id="{6E0D1770-2FF1-49B0-B884-EB534999F7B1}"/>
                    </a:ext>
                  </a:extLst>
                </p:cNvPr>
                <p:cNvPicPr/>
                <p:nvPr/>
              </p:nvPicPr>
              <p:blipFill>
                <a:blip r:embed="rId17"/>
                <a:stretch>
                  <a:fillRect/>
                </a:stretch>
              </p:blipFill>
              <p:spPr>
                <a:xfrm>
                  <a:off x="673137" y="2633678"/>
                  <a:ext cx="2412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Ink 20">
                  <a:extLst>
                    <a:ext uri="{FF2B5EF4-FFF2-40B4-BE49-F238E27FC236}">
                      <a16:creationId xmlns:a16="http://schemas.microsoft.com/office/drawing/2014/main" id="{701DEE8B-F426-46BC-A8D6-2F140690654E}"/>
                    </a:ext>
                  </a:extLst>
                </p14:cNvPr>
                <p14:cNvContentPartPr/>
                <p14:nvPr/>
              </p14:nvContentPartPr>
              <p14:xfrm>
                <a:off x="586017" y="2798558"/>
                <a:ext cx="279720" cy="14400"/>
              </p14:xfrm>
            </p:contentPart>
          </mc:Choice>
          <mc:Fallback xmlns="">
            <p:pic>
              <p:nvPicPr>
                <p:cNvPr id="21" name="Ink 20">
                  <a:extLst>
                    <a:ext uri="{FF2B5EF4-FFF2-40B4-BE49-F238E27FC236}">
                      <a16:creationId xmlns:a16="http://schemas.microsoft.com/office/drawing/2014/main" id="{701DEE8B-F426-46BC-A8D6-2F140690654E}"/>
                    </a:ext>
                  </a:extLst>
                </p:cNvPr>
                <p:cNvPicPr/>
                <p:nvPr/>
              </p:nvPicPr>
              <p:blipFill>
                <a:blip r:embed="rId19"/>
                <a:stretch>
                  <a:fillRect/>
                </a:stretch>
              </p:blipFill>
              <p:spPr>
                <a:xfrm>
                  <a:off x="581697" y="2794238"/>
                  <a:ext cx="2883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2" name="Ink 21">
                  <a:extLst>
                    <a:ext uri="{FF2B5EF4-FFF2-40B4-BE49-F238E27FC236}">
                      <a16:creationId xmlns:a16="http://schemas.microsoft.com/office/drawing/2014/main" id="{FAE1AE06-5FE8-4148-8B52-F004B4A5D083}"/>
                    </a:ext>
                  </a:extLst>
                </p14:cNvPr>
                <p14:cNvContentPartPr/>
                <p14:nvPr/>
              </p14:nvContentPartPr>
              <p14:xfrm>
                <a:off x="645417" y="2882438"/>
                <a:ext cx="142920" cy="64080"/>
              </p14:xfrm>
            </p:contentPart>
          </mc:Choice>
          <mc:Fallback xmlns="">
            <p:pic>
              <p:nvPicPr>
                <p:cNvPr id="22" name="Ink 21">
                  <a:extLst>
                    <a:ext uri="{FF2B5EF4-FFF2-40B4-BE49-F238E27FC236}">
                      <a16:creationId xmlns:a16="http://schemas.microsoft.com/office/drawing/2014/main" id="{FAE1AE06-5FE8-4148-8B52-F004B4A5D083}"/>
                    </a:ext>
                  </a:extLst>
                </p:cNvPr>
                <p:cNvPicPr/>
                <p:nvPr/>
              </p:nvPicPr>
              <p:blipFill>
                <a:blip r:embed="rId21"/>
                <a:stretch>
                  <a:fillRect/>
                </a:stretch>
              </p:blipFill>
              <p:spPr>
                <a:xfrm>
                  <a:off x="641097" y="2878118"/>
                  <a:ext cx="15156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3" name="Ink 22">
                  <a:extLst>
                    <a:ext uri="{FF2B5EF4-FFF2-40B4-BE49-F238E27FC236}">
                      <a16:creationId xmlns:a16="http://schemas.microsoft.com/office/drawing/2014/main" id="{EB4BAC1B-4F7A-4D56-A8AE-52BAA53BED62}"/>
                    </a:ext>
                  </a:extLst>
                </p14:cNvPr>
                <p14:cNvContentPartPr/>
                <p14:nvPr/>
              </p14:nvContentPartPr>
              <p14:xfrm>
                <a:off x="660177" y="2889278"/>
                <a:ext cx="37800" cy="125280"/>
              </p14:xfrm>
            </p:contentPart>
          </mc:Choice>
          <mc:Fallback xmlns="">
            <p:pic>
              <p:nvPicPr>
                <p:cNvPr id="23" name="Ink 22">
                  <a:extLst>
                    <a:ext uri="{FF2B5EF4-FFF2-40B4-BE49-F238E27FC236}">
                      <a16:creationId xmlns:a16="http://schemas.microsoft.com/office/drawing/2014/main" id="{EB4BAC1B-4F7A-4D56-A8AE-52BAA53BED62}"/>
                    </a:ext>
                  </a:extLst>
                </p:cNvPr>
                <p:cNvPicPr/>
                <p:nvPr/>
              </p:nvPicPr>
              <p:blipFill>
                <a:blip r:embed="rId23"/>
                <a:stretch>
                  <a:fillRect/>
                </a:stretch>
              </p:blipFill>
              <p:spPr>
                <a:xfrm>
                  <a:off x="655857" y="2884958"/>
                  <a:ext cx="4644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6" name="Ink 25">
                  <a:extLst>
                    <a:ext uri="{FF2B5EF4-FFF2-40B4-BE49-F238E27FC236}">
                      <a16:creationId xmlns:a16="http://schemas.microsoft.com/office/drawing/2014/main" id="{B66B6A31-3D97-4A0C-A2EB-9697A5137218}"/>
                    </a:ext>
                  </a:extLst>
                </p14:cNvPr>
                <p14:cNvContentPartPr/>
                <p14:nvPr/>
              </p14:nvContentPartPr>
              <p14:xfrm>
                <a:off x="970497" y="2714678"/>
                <a:ext cx="6840" cy="76680"/>
              </p14:xfrm>
            </p:contentPart>
          </mc:Choice>
          <mc:Fallback xmlns="">
            <p:pic>
              <p:nvPicPr>
                <p:cNvPr id="26" name="Ink 25">
                  <a:extLst>
                    <a:ext uri="{FF2B5EF4-FFF2-40B4-BE49-F238E27FC236}">
                      <a16:creationId xmlns:a16="http://schemas.microsoft.com/office/drawing/2014/main" id="{B66B6A31-3D97-4A0C-A2EB-9697A5137218}"/>
                    </a:ext>
                  </a:extLst>
                </p:cNvPr>
                <p:cNvPicPr/>
                <p:nvPr/>
              </p:nvPicPr>
              <p:blipFill>
                <a:blip r:embed="rId25"/>
                <a:stretch>
                  <a:fillRect/>
                </a:stretch>
              </p:blipFill>
              <p:spPr>
                <a:xfrm>
                  <a:off x="966177" y="2710358"/>
                  <a:ext cx="15480" cy="8532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7" name="Ink 26">
                  <a:extLst>
                    <a:ext uri="{FF2B5EF4-FFF2-40B4-BE49-F238E27FC236}">
                      <a16:creationId xmlns:a16="http://schemas.microsoft.com/office/drawing/2014/main" id="{19ED34EB-BF86-44FD-BC89-488EA6E66ABF}"/>
                    </a:ext>
                  </a:extLst>
                </p14:cNvPr>
                <p14:cNvContentPartPr/>
                <p14:nvPr/>
              </p14:nvContentPartPr>
              <p14:xfrm>
                <a:off x="948897" y="2749598"/>
                <a:ext cx="40680" cy="7560"/>
              </p14:xfrm>
            </p:contentPart>
          </mc:Choice>
          <mc:Fallback xmlns="">
            <p:pic>
              <p:nvPicPr>
                <p:cNvPr id="27" name="Ink 26">
                  <a:extLst>
                    <a:ext uri="{FF2B5EF4-FFF2-40B4-BE49-F238E27FC236}">
                      <a16:creationId xmlns:a16="http://schemas.microsoft.com/office/drawing/2014/main" id="{19ED34EB-BF86-44FD-BC89-488EA6E66ABF}"/>
                    </a:ext>
                  </a:extLst>
                </p:cNvPr>
                <p:cNvPicPr/>
                <p:nvPr/>
              </p:nvPicPr>
              <p:blipFill>
                <a:blip r:embed="rId27"/>
                <a:stretch>
                  <a:fillRect/>
                </a:stretch>
              </p:blipFill>
              <p:spPr>
                <a:xfrm>
                  <a:off x="944577" y="2745278"/>
                  <a:ext cx="49320" cy="162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9" name="Ink 28">
                  <a:extLst>
                    <a:ext uri="{FF2B5EF4-FFF2-40B4-BE49-F238E27FC236}">
                      <a16:creationId xmlns:a16="http://schemas.microsoft.com/office/drawing/2014/main" id="{958D456E-D080-40F6-AAF6-58B13AC96704}"/>
                    </a:ext>
                  </a:extLst>
                </p14:cNvPr>
                <p14:cNvContentPartPr/>
                <p14:nvPr/>
              </p14:nvContentPartPr>
              <p14:xfrm>
                <a:off x="1243377" y="2617118"/>
                <a:ext cx="20160" cy="83160"/>
              </p14:xfrm>
            </p:contentPart>
          </mc:Choice>
          <mc:Fallback xmlns="">
            <p:pic>
              <p:nvPicPr>
                <p:cNvPr id="29" name="Ink 28">
                  <a:extLst>
                    <a:ext uri="{FF2B5EF4-FFF2-40B4-BE49-F238E27FC236}">
                      <a16:creationId xmlns:a16="http://schemas.microsoft.com/office/drawing/2014/main" id="{958D456E-D080-40F6-AAF6-58B13AC96704}"/>
                    </a:ext>
                  </a:extLst>
                </p:cNvPr>
                <p:cNvPicPr/>
                <p:nvPr/>
              </p:nvPicPr>
              <p:blipFill>
                <a:blip r:embed="rId29"/>
                <a:stretch>
                  <a:fillRect/>
                </a:stretch>
              </p:blipFill>
              <p:spPr>
                <a:xfrm>
                  <a:off x="1239057" y="2612798"/>
                  <a:ext cx="2880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0" name="Ink 29">
                  <a:extLst>
                    <a:ext uri="{FF2B5EF4-FFF2-40B4-BE49-F238E27FC236}">
                      <a16:creationId xmlns:a16="http://schemas.microsoft.com/office/drawing/2014/main" id="{7F3C5EC0-6AAC-4326-8F00-D53A917C07D7}"/>
                    </a:ext>
                  </a:extLst>
                </p14:cNvPr>
                <p14:cNvContentPartPr/>
                <p14:nvPr/>
              </p14:nvContentPartPr>
              <p14:xfrm>
                <a:off x="1130337" y="2748518"/>
                <a:ext cx="279720" cy="8640"/>
              </p14:xfrm>
            </p:contentPart>
          </mc:Choice>
          <mc:Fallback xmlns="">
            <p:pic>
              <p:nvPicPr>
                <p:cNvPr id="30" name="Ink 29">
                  <a:extLst>
                    <a:ext uri="{FF2B5EF4-FFF2-40B4-BE49-F238E27FC236}">
                      <a16:creationId xmlns:a16="http://schemas.microsoft.com/office/drawing/2014/main" id="{7F3C5EC0-6AAC-4326-8F00-D53A917C07D7}"/>
                    </a:ext>
                  </a:extLst>
                </p:cNvPr>
                <p:cNvPicPr/>
                <p:nvPr/>
              </p:nvPicPr>
              <p:blipFill>
                <a:blip r:embed="rId31"/>
                <a:stretch>
                  <a:fillRect/>
                </a:stretch>
              </p:blipFill>
              <p:spPr>
                <a:xfrm>
                  <a:off x="1126017" y="2744198"/>
                  <a:ext cx="288360" cy="172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2">
            <p14:nvContentPartPr>
              <p14:cNvPr id="51" name="Ink 50">
                <a:extLst>
                  <a:ext uri="{FF2B5EF4-FFF2-40B4-BE49-F238E27FC236}">
                    <a16:creationId xmlns:a16="http://schemas.microsoft.com/office/drawing/2014/main" id="{147E4D44-176A-4371-91BB-08E459C0414E}"/>
                  </a:ext>
                </a:extLst>
              </p14:cNvPr>
              <p14:cNvContentPartPr/>
              <p14:nvPr/>
            </p14:nvContentPartPr>
            <p14:xfrm>
              <a:off x="1574316" y="3826451"/>
              <a:ext cx="102720" cy="156480"/>
            </p14:xfrm>
          </p:contentPart>
        </mc:Choice>
        <mc:Fallback>
          <p:pic>
            <p:nvPicPr>
              <p:cNvPr id="51" name="Ink 50">
                <a:extLst>
                  <a:ext uri="{FF2B5EF4-FFF2-40B4-BE49-F238E27FC236}">
                    <a16:creationId xmlns:a16="http://schemas.microsoft.com/office/drawing/2014/main" id="{147E4D44-176A-4371-91BB-08E459C0414E}"/>
                  </a:ext>
                </a:extLst>
              </p:cNvPr>
              <p:cNvPicPr/>
              <p:nvPr/>
            </p:nvPicPr>
            <p:blipFill>
              <a:blip r:embed="rId33"/>
              <a:stretch>
                <a:fillRect/>
              </a:stretch>
            </p:blipFill>
            <p:spPr>
              <a:xfrm>
                <a:off x="1569991" y="3822114"/>
                <a:ext cx="111370" cy="165153"/>
              </a:xfrm>
              <a:prstGeom prst="rect">
                <a:avLst/>
              </a:prstGeom>
            </p:spPr>
          </p:pic>
        </mc:Fallback>
      </mc:AlternateContent>
      <p:grpSp>
        <p:nvGrpSpPr>
          <p:cNvPr id="60" name="Group 59">
            <a:extLst>
              <a:ext uri="{FF2B5EF4-FFF2-40B4-BE49-F238E27FC236}">
                <a16:creationId xmlns:a16="http://schemas.microsoft.com/office/drawing/2014/main" id="{5500A8B3-627B-44F8-A466-699BAAE65DAB}"/>
              </a:ext>
            </a:extLst>
          </p:cNvPr>
          <p:cNvGrpSpPr/>
          <p:nvPr/>
        </p:nvGrpSpPr>
        <p:grpSpPr>
          <a:xfrm>
            <a:off x="1982316" y="3452531"/>
            <a:ext cx="660960" cy="447840"/>
            <a:chOff x="1486737" y="2589398"/>
            <a:chExt cx="495720" cy="335880"/>
          </a:xfrm>
        </p:grpSpPr>
        <mc:AlternateContent xmlns:mc="http://schemas.openxmlformats.org/markup-compatibility/2006" xmlns:p14="http://schemas.microsoft.com/office/powerpoint/2010/main">
          <mc:Choice Requires="p14">
            <p:contentPart p14:bwMode="auto" r:id="rId34">
              <p14:nvContentPartPr>
                <p14:cNvPr id="52" name="Ink 51">
                  <a:extLst>
                    <a:ext uri="{FF2B5EF4-FFF2-40B4-BE49-F238E27FC236}">
                      <a16:creationId xmlns:a16="http://schemas.microsoft.com/office/drawing/2014/main" id="{8FA09571-9A51-4CE5-873F-9A52DAFC1104}"/>
                    </a:ext>
                  </a:extLst>
                </p14:cNvPr>
                <p14:cNvContentPartPr/>
                <p14:nvPr/>
              </p14:nvContentPartPr>
              <p14:xfrm>
                <a:off x="1567017" y="2678678"/>
                <a:ext cx="3240" cy="86040"/>
              </p14:xfrm>
            </p:contentPart>
          </mc:Choice>
          <mc:Fallback xmlns="">
            <p:pic>
              <p:nvPicPr>
                <p:cNvPr id="52" name="Ink 51">
                  <a:extLst>
                    <a:ext uri="{FF2B5EF4-FFF2-40B4-BE49-F238E27FC236}">
                      <a16:creationId xmlns:a16="http://schemas.microsoft.com/office/drawing/2014/main" id="{8FA09571-9A51-4CE5-873F-9A52DAFC1104}"/>
                    </a:ext>
                  </a:extLst>
                </p:cNvPr>
                <p:cNvPicPr/>
                <p:nvPr/>
              </p:nvPicPr>
              <p:blipFill>
                <a:blip r:embed="rId35"/>
                <a:stretch>
                  <a:fillRect/>
                </a:stretch>
              </p:blipFill>
              <p:spPr>
                <a:xfrm>
                  <a:off x="1562697" y="2674358"/>
                  <a:ext cx="1188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3" name="Ink 52">
                  <a:extLst>
                    <a:ext uri="{FF2B5EF4-FFF2-40B4-BE49-F238E27FC236}">
                      <a16:creationId xmlns:a16="http://schemas.microsoft.com/office/drawing/2014/main" id="{1A8E33E0-5E67-451F-AF01-FFF4767A37F0}"/>
                    </a:ext>
                  </a:extLst>
                </p14:cNvPr>
                <p14:cNvContentPartPr/>
                <p14:nvPr/>
              </p14:nvContentPartPr>
              <p14:xfrm>
                <a:off x="1486737" y="2714678"/>
                <a:ext cx="123840" cy="360"/>
              </p14:xfrm>
            </p:contentPart>
          </mc:Choice>
          <mc:Fallback xmlns="">
            <p:pic>
              <p:nvPicPr>
                <p:cNvPr id="53" name="Ink 52">
                  <a:extLst>
                    <a:ext uri="{FF2B5EF4-FFF2-40B4-BE49-F238E27FC236}">
                      <a16:creationId xmlns:a16="http://schemas.microsoft.com/office/drawing/2014/main" id="{1A8E33E0-5E67-451F-AF01-FFF4767A37F0}"/>
                    </a:ext>
                  </a:extLst>
                </p:cNvPr>
                <p:cNvPicPr/>
                <p:nvPr/>
              </p:nvPicPr>
              <p:blipFill>
                <a:blip r:embed="rId37"/>
                <a:stretch>
                  <a:fillRect/>
                </a:stretch>
              </p:blipFill>
              <p:spPr>
                <a:xfrm>
                  <a:off x="1482417" y="2710358"/>
                  <a:ext cx="132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5" name="Ink 54">
                  <a:extLst>
                    <a:ext uri="{FF2B5EF4-FFF2-40B4-BE49-F238E27FC236}">
                      <a16:creationId xmlns:a16="http://schemas.microsoft.com/office/drawing/2014/main" id="{7977434D-220A-4EFB-BC3F-55598BA839DF}"/>
                    </a:ext>
                  </a:extLst>
                </p14:cNvPr>
                <p14:cNvContentPartPr/>
                <p14:nvPr/>
              </p14:nvContentPartPr>
              <p14:xfrm>
                <a:off x="1814697" y="2589398"/>
                <a:ext cx="21240" cy="118080"/>
              </p14:xfrm>
            </p:contentPart>
          </mc:Choice>
          <mc:Fallback xmlns="">
            <p:pic>
              <p:nvPicPr>
                <p:cNvPr id="55" name="Ink 54">
                  <a:extLst>
                    <a:ext uri="{FF2B5EF4-FFF2-40B4-BE49-F238E27FC236}">
                      <a16:creationId xmlns:a16="http://schemas.microsoft.com/office/drawing/2014/main" id="{7977434D-220A-4EFB-BC3F-55598BA839DF}"/>
                    </a:ext>
                  </a:extLst>
                </p:cNvPr>
                <p:cNvPicPr/>
                <p:nvPr/>
              </p:nvPicPr>
              <p:blipFill>
                <a:blip r:embed="rId39"/>
                <a:stretch>
                  <a:fillRect/>
                </a:stretch>
              </p:blipFill>
              <p:spPr>
                <a:xfrm>
                  <a:off x="1810377" y="2585078"/>
                  <a:ext cx="2988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6" name="Ink 55">
                  <a:extLst>
                    <a:ext uri="{FF2B5EF4-FFF2-40B4-BE49-F238E27FC236}">
                      <a16:creationId xmlns:a16="http://schemas.microsoft.com/office/drawing/2014/main" id="{34C9B2D5-82D6-4C61-AA2F-9DB4139C99F2}"/>
                    </a:ext>
                  </a:extLst>
                </p14:cNvPr>
                <p14:cNvContentPartPr/>
                <p14:nvPr/>
              </p14:nvContentPartPr>
              <p14:xfrm>
                <a:off x="1723617" y="2721878"/>
                <a:ext cx="258840" cy="28080"/>
              </p14:xfrm>
            </p:contentPart>
          </mc:Choice>
          <mc:Fallback xmlns="">
            <p:pic>
              <p:nvPicPr>
                <p:cNvPr id="56" name="Ink 55">
                  <a:extLst>
                    <a:ext uri="{FF2B5EF4-FFF2-40B4-BE49-F238E27FC236}">
                      <a16:creationId xmlns:a16="http://schemas.microsoft.com/office/drawing/2014/main" id="{34C9B2D5-82D6-4C61-AA2F-9DB4139C99F2}"/>
                    </a:ext>
                  </a:extLst>
                </p:cNvPr>
                <p:cNvPicPr/>
                <p:nvPr/>
              </p:nvPicPr>
              <p:blipFill>
                <a:blip r:embed="rId41"/>
                <a:stretch>
                  <a:fillRect/>
                </a:stretch>
              </p:blipFill>
              <p:spPr>
                <a:xfrm>
                  <a:off x="1719297" y="2717558"/>
                  <a:ext cx="26748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8" name="Ink 57">
                  <a:extLst>
                    <a:ext uri="{FF2B5EF4-FFF2-40B4-BE49-F238E27FC236}">
                      <a16:creationId xmlns:a16="http://schemas.microsoft.com/office/drawing/2014/main" id="{CA821B2D-06F0-48D0-83A3-75445FC3F964}"/>
                    </a:ext>
                  </a:extLst>
                </p14:cNvPr>
                <p14:cNvContentPartPr/>
                <p14:nvPr/>
              </p14:nvContentPartPr>
              <p14:xfrm>
                <a:off x="1706697" y="2828078"/>
                <a:ext cx="117360" cy="97200"/>
              </p14:xfrm>
            </p:contentPart>
          </mc:Choice>
          <mc:Fallback xmlns="">
            <p:pic>
              <p:nvPicPr>
                <p:cNvPr id="58" name="Ink 57">
                  <a:extLst>
                    <a:ext uri="{FF2B5EF4-FFF2-40B4-BE49-F238E27FC236}">
                      <a16:creationId xmlns:a16="http://schemas.microsoft.com/office/drawing/2014/main" id="{CA821B2D-06F0-48D0-83A3-75445FC3F964}"/>
                    </a:ext>
                  </a:extLst>
                </p:cNvPr>
                <p:cNvPicPr/>
                <p:nvPr/>
              </p:nvPicPr>
              <p:blipFill>
                <a:blip r:embed="rId43"/>
                <a:stretch>
                  <a:fillRect/>
                </a:stretch>
              </p:blipFill>
              <p:spPr>
                <a:xfrm>
                  <a:off x="1702377" y="2823758"/>
                  <a:ext cx="126000" cy="10584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9" name="Ink 58">
                  <a:extLst>
                    <a:ext uri="{FF2B5EF4-FFF2-40B4-BE49-F238E27FC236}">
                      <a16:creationId xmlns:a16="http://schemas.microsoft.com/office/drawing/2014/main" id="{47C56DC8-4860-43BE-9987-8909F6894683}"/>
                    </a:ext>
                  </a:extLst>
                </p14:cNvPr>
                <p14:cNvContentPartPr/>
                <p14:nvPr/>
              </p14:nvContentPartPr>
              <p14:xfrm>
                <a:off x="1891377" y="2841398"/>
                <a:ext cx="71280" cy="77040"/>
              </p14:xfrm>
            </p:contentPart>
          </mc:Choice>
          <mc:Fallback xmlns="">
            <p:pic>
              <p:nvPicPr>
                <p:cNvPr id="59" name="Ink 58">
                  <a:extLst>
                    <a:ext uri="{FF2B5EF4-FFF2-40B4-BE49-F238E27FC236}">
                      <a16:creationId xmlns:a16="http://schemas.microsoft.com/office/drawing/2014/main" id="{47C56DC8-4860-43BE-9987-8909F6894683}"/>
                    </a:ext>
                  </a:extLst>
                </p:cNvPr>
                <p:cNvPicPr/>
                <p:nvPr/>
              </p:nvPicPr>
              <p:blipFill>
                <a:blip r:embed="rId45"/>
                <a:stretch>
                  <a:fillRect/>
                </a:stretch>
              </p:blipFill>
              <p:spPr>
                <a:xfrm>
                  <a:off x="1887057" y="2837078"/>
                  <a:ext cx="79920" cy="85680"/>
                </a:xfrm>
                <a:prstGeom prst="rect">
                  <a:avLst/>
                </a:prstGeom>
              </p:spPr>
            </p:pic>
          </mc:Fallback>
        </mc:AlternateContent>
      </p:grpSp>
      <p:grpSp>
        <p:nvGrpSpPr>
          <p:cNvPr id="65" name="Group 64">
            <a:extLst>
              <a:ext uri="{FF2B5EF4-FFF2-40B4-BE49-F238E27FC236}">
                <a16:creationId xmlns:a16="http://schemas.microsoft.com/office/drawing/2014/main" id="{B21D57C7-8482-4DD6-AF96-719B98630E9F}"/>
              </a:ext>
            </a:extLst>
          </p:cNvPr>
          <p:cNvGrpSpPr/>
          <p:nvPr/>
        </p:nvGrpSpPr>
        <p:grpSpPr>
          <a:xfrm>
            <a:off x="1471596" y="3015251"/>
            <a:ext cx="208800" cy="176640"/>
            <a:chOff x="1103697" y="2261438"/>
            <a:chExt cx="156600" cy="132480"/>
          </a:xfrm>
        </p:grpSpPr>
        <mc:AlternateContent xmlns:mc="http://schemas.openxmlformats.org/markup-compatibility/2006" xmlns:p14="http://schemas.microsoft.com/office/powerpoint/2010/main">
          <mc:Choice Requires="p14">
            <p:contentPart p14:bwMode="auto" r:id="rId46">
              <p14:nvContentPartPr>
                <p14:cNvPr id="61" name="Ink 60">
                  <a:extLst>
                    <a:ext uri="{FF2B5EF4-FFF2-40B4-BE49-F238E27FC236}">
                      <a16:creationId xmlns:a16="http://schemas.microsoft.com/office/drawing/2014/main" id="{480E3E99-EF3A-4C88-93F3-6D77EB41F963}"/>
                    </a:ext>
                  </a:extLst>
                </p14:cNvPr>
                <p14:cNvContentPartPr/>
                <p14:nvPr/>
              </p14:nvContentPartPr>
              <p14:xfrm>
                <a:off x="1103697" y="2261438"/>
                <a:ext cx="156600" cy="92520"/>
              </p14:xfrm>
            </p:contentPart>
          </mc:Choice>
          <mc:Fallback xmlns="">
            <p:pic>
              <p:nvPicPr>
                <p:cNvPr id="61" name="Ink 60">
                  <a:extLst>
                    <a:ext uri="{FF2B5EF4-FFF2-40B4-BE49-F238E27FC236}">
                      <a16:creationId xmlns:a16="http://schemas.microsoft.com/office/drawing/2014/main" id="{480E3E99-EF3A-4C88-93F3-6D77EB41F963}"/>
                    </a:ext>
                  </a:extLst>
                </p:cNvPr>
                <p:cNvPicPr/>
                <p:nvPr/>
              </p:nvPicPr>
              <p:blipFill>
                <a:blip r:embed="rId47"/>
                <a:stretch>
                  <a:fillRect/>
                </a:stretch>
              </p:blipFill>
              <p:spPr>
                <a:xfrm>
                  <a:off x="1099377" y="2257118"/>
                  <a:ext cx="165240"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62" name="Ink 61">
                  <a:extLst>
                    <a:ext uri="{FF2B5EF4-FFF2-40B4-BE49-F238E27FC236}">
                      <a16:creationId xmlns:a16="http://schemas.microsoft.com/office/drawing/2014/main" id="{87064BBA-9E69-46B3-A4EE-110E2D5BCC62}"/>
                    </a:ext>
                  </a:extLst>
                </p14:cNvPr>
                <p14:cNvContentPartPr/>
                <p14:nvPr/>
              </p14:nvContentPartPr>
              <p14:xfrm>
                <a:off x="1160937" y="2261438"/>
                <a:ext cx="11880" cy="100080"/>
              </p14:xfrm>
            </p:contentPart>
          </mc:Choice>
          <mc:Fallback xmlns="">
            <p:pic>
              <p:nvPicPr>
                <p:cNvPr id="62" name="Ink 61">
                  <a:extLst>
                    <a:ext uri="{FF2B5EF4-FFF2-40B4-BE49-F238E27FC236}">
                      <a16:creationId xmlns:a16="http://schemas.microsoft.com/office/drawing/2014/main" id="{87064BBA-9E69-46B3-A4EE-110E2D5BCC62}"/>
                    </a:ext>
                  </a:extLst>
                </p:cNvPr>
                <p:cNvPicPr/>
                <p:nvPr/>
              </p:nvPicPr>
              <p:blipFill>
                <a:blip r:embed="rId49"/>
                <a:stretch>
                  <a:fillRect/>
                </a:stretch>
              </p:blipFill>
              <p:spPr>
                <a:xfrm>
                  <a:off x="1156617" y="2257118"/>
                  <a:ext cx="205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64" name="Ink 63">
                  <a:extLst>
                    <a:ext uri="{FF2B5EF4-FFF2-40B4-BE49-F238E27FC236}">
                      <a16:creationId xmlns:a16="http://schemas.microsoft.com/office/drawing/2014/main" id="{043A83EE-DB33-4020-B958-C79356266DCB}"/>
                    </a:ext>
                  </a:extLst>
                </p14:cNvPr>
                <p14:cNvContentPartPr/>
                <p14:nvPr/>
              </p14:nvContentPartPr>
              <p14:xfrm>
                <a:off x="1165257" y="2344958"/>
                <a:ext cx="6120" cy="48960"/>
              </p14:xfrm>
            </p:contentPart>
          </mc:Choice>
          <mc:Fallback xmlns="">
            <p:pic>
              <p:nvPicPr>
                <p:cNvPr id="64" name="Ink 63">
                  <a:extLst>
                    <a:ext uri="{FF2B5EF4-FFF2-40B4-BE49-F238E27FC236}">
                      <a16:creationId xmlns:a16="http://schemas.microsoft.com/office/drawing/2014/main" id="{043A83EE-DB33-4020-B958-C79356266DCB}"/>
                    </a:ext>
                  </a:extLst>
                </p:cNvPr>
                <p:cNvPicPr/>
                <p:nvPr/>
              </p:nvPicPr>
              <p:blipFill>
                <a:blip r:embed="rId51"/>
                <a:stretch>
                  <a:fillRect/>
                </a:stretch>
              </p:blipFill>
              <p:spPr>
                <a:xfrm>
                  <a:off x="1160937" y="2340638"/>
                  <a:ext cx="14760" cy="57600"/>
                </a:xfrm>
                <a:prstGeom prst="rect">
                  <a:avLst/>
                </a:prstGeom>
              </p:spPr>
            </p:pic>
          </mc:Fallback>
        </mc:AlternateContent>
      </p:grpSp>
      <p:grpSp>
        <p:nvGrpSpPr>
          <p:cNvPr id="69" name="Group 68">
            <a:extLst>
              <a:ext uri="{FF2B5EF4-FFF2-40B4-BE49-F238E27FC236}">
                <a16:creationId xmlns:a16="http://schemas.microsoft.com/office/drawing/2014/main" id="{1EB69986-8F72-4419-98F3-B23336B89302}"/>
              </a:ext>
            </a:extLst>
          </p:cNvPr>
          <p:cNvGrpSpPr/>
          <p:nvPr/>
        </p:nvGrpSpPr>
        <p:grpSpPr>
          <a:xfrm>
            <a:off x="3098796" y="3228851"/>
            <a:ext cx="123360" cy="93600"/>
            <a:chOff x="2324097" y="2421638"/>
            <a:chExt cx="92520" cy="70200"/>
          </a:xfrm>
        </p:grpSpPr>
        <mc:AlternateContent xmlns:mc="http://schemas.openxmlformats.org/markup-compatibility/2006" xmlns:p14="http://schemas.microsoft.com/office/powerpoint/2010/main">
          <mc:Choice Requires="p14">
            <p:contentPart p14:bwMode="auto" r:id="rId52">
              <p14:nvContentPartPr>
                <p14:cNvPr id="66" name="Ink 65">
                  <a:extLst>
                    <a:ext uri="{FF2B5EF4-FFF2-40B4-BE49-F238E27FC236}">
                      <a16:creationId xmlns:a16="http://schemas.microsoft.com/office/drawing/2014/main" id="{6CE74AAD-E46E-48EC-979F-BE10F983C6F4}"/>
                    </a:ext>
                  </a:extLst>
                </p14:cNvPr>
                <p14:cNvContentPartPr/>
                <p14:nvPr/>
              </p14:nvContentPartPr>
              <p14:xfrm>
                <a:off x="2400777" y="2421638"/>
                <a:ext cx="15840" cy="360"/>
              </p14:xfrm>
            </p:contentPart>
          </mc:Choice>
          <mc:Fallback xmlns="">
            <p:pic>
              <p:nvPicPr>
                <p:cNvPr id="66" name="Ink 65">
                  <a:extLst>
                    <a:ext uri="{FF2B5EF4-FFF2-40B4-BE49-F238E27FC236}">
                      <a16:creationId xmlns:a16="http://schemas.microsoft.com/office/drawing/2014/main" id="{6CE74AAD-E46E-48EC-979F-BE10F983C6F4}"/>
                    </a:ext>
                  </a:extLst>
                </p:cNvPr>
                <p:cNvPicPr/>
                <p:nvPr/>
              </p:nvPicPr>
              <p:blipFill>
                <a:blip r:embed="rId53"/>
                <a:stretch>
                  <a:fillRect/>
                </a:stretch>
              </p:blipFill>
              <p:spPr>
                <a:xfrm>
                  <a:off x="2396457" y="2417318"/>
                  <a:ext cx="24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7" name="Ink 66">
                  <a:extLst>
                    <a:ext uri="{FF2B5EF4-FFF2-40B4-BE49-F238E27FC236}">
                      <a16:creationId xmlns:a16="http://schemas.microsoft.com/office/drawing/2014/main" id="{1EA26F19-E686-436D-A93F-0CC403F15E5F}"/>
                    </a:ext>
                  </a:extLst>
                </p14:cNvPr>
                <p14:cNvContentPartPr/>
                <p14:nvPr/>
              </p14:nvContentPartPr>
              <p14:xfrm>
                <a:off x="2324097" y="2491478"/>
                <a:ext cx="76680" cy="360"/>
              </p14:xfrm>
            </p:contentPart>
          </mc:Choice>
          <mc:Fallback xmlns="">
            <p:pic>
              <p:nvPicPr>
                <p:cNvPr id="67" name="Ink 66">
                  <a:extLst>
                    <a:ext uri="{FF2B5EF4-FFF2-40B4-BE49-F238E27FC236}">
                      <a16:creationId xmlns:a16="http://schemas.microsoft.com/office/drawing/2014/main" id="{1EA26F19-E686-436D-A93F-0CC403F15E5F}"/>
                    </a:ext>
                  </a:extLst>
                </p:cNvPr>
                <p:cNvPicPr/>
                <p:nvPr/>
              </p:nvPicPr>
              <p:blipFill>
                <a:blip r:embed="rId55"/>
                <a:stretch>
                  <a:fillRect/>
                </a:stretch>
              </p:blipFill>
              <p:spPr>
                <a:xfrm>
                  <a:off x="2319777" y="2487158"/>
                  <a:ext cx="8532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8" name="Ink 67">
                  <a:extLst>
                    <a:ext uri="{FF2B5EF4-FFF2-40B4-BE49-F238E27FC236}">
                      <a16:creationId xmlns:a16="http://schemas.microsoft.com/office/drawing/2014/main" id="{F9EF1054-8C28-4C16-A6FA-50DD1ED26A21}"/>
                    </a:ext>
                  </a:extLst>
                </p14:cNvPr>
                <p14:cNvContentPartPr/>
                <p14:nvPr/>
              </p14:nvContentPartPr>
              <p14:xfrm>
                <a:off x="2344977" y="2421638"/>
                <a:ext cx="47880" cy="21240"/>
              </p14:xfrm>
            </p:contentPart>
          </mc:Choice>
          <mc:Fallback xmlns="">
            <p:pic>
              <p:nvPicPr>
                <p:cNvPr id="68" name="Ink 67">
                  <a:extLst>
                    <a:ext uri="{FF2B5EF4-FFF2-40B4-BE49-F238E27FC236}">
                      <a16:creationId xmlns:a16="http://schemas.microsoft.com/office/drawing/2014/main" id="{F9EF1054-8C28-4C16-A6FA-50DD1ED26A21}"/>
                    </a:ext>
                  </a:extLst>
                </p:cNvPr>
                <p:cNvPicPr/>
                <p:nvPr/>
              </p:nvPicPr>
              <p:blipFill>
                <a:blip r:embed="rId57"/>
                <a:stretch>
                  <a:fillRect/>
                </a:stretch>
              </p:blipFill>
              <p:spPr>
                <a:xfrm>
                  <a:off x="2340657" y="2417318"/>
                  <a:ext cx="56520" cy="29880"/>
                </a:xfrm>
                <a:prstGeom prst="rect">
                  <a:avLst/>
                </a:prstGeom>
              </p:spPr>
            </p:pic>
          </mc:Fallback>
        </mc:AlternateContent>
      </p:grpSp>
      <p:grpSp>
        <p:nvGrpSpPr>
          <p:cNvPr id="73" name="Group 72">
            <a:extLst>
              <a:ext uri="{FF2B5EF4-FFF2-40B4-BE49-F238E27FC236}">
                <a16:creationId xmlns:a16="http://schemas.microsoft.com/office/drawing/2014/main" id="{4424BF29-E655-4E00-9CEF-396E97441723}"/>
              </a:ext>
            </a:extLst>
          </p:cNvPr>
          <p:cNvGrpSpPr/>
          <p:nvPr/>
        </p:nvGrpSpPr>
        <p:grpSpPr>
          <a:xfrm>
            <a:off x="3926796" y="2921651"/>
            <a:ext cx="2437920" cy="475200"/>
            <a:chOff x="2945097" y="2191238"/>
            <a:chExt cx="1828440" cy="356400"/>
          </a:xfrm>
        </p:grpSpPr>
        <mc:AlternateContent xmlns:mc="http://schemas.openxmlformats.org/markup-compatibility/2006" xmlns:p14="http://schemas.microsoft.com/office/powerpoint/2010/main">
          <mc:Choice Requires="p14">
            <p:contentPart p14:bwMode="auto" r:id="rId58">
              <p14:nvContentPartPr>
                <p14:cNvPr id="70" name="Ink 69">
                  <a:extLst>
                    <a:ext uri="{FF2B5EF4-FFF2-40B4-BE49-F238E27FC236}">
                      <a16:creationId xmlns:a16="http://schemas.microsoft.com/office/drawing/2014/main" id="{4317C1E6-A60C-4D3F-B40E-FB6A28C6716C}"/>
                    </a:ext>
                  </a:extLst>
                </p14:cNvPr>
                <p14:cNvContentPartPr/>
                <p14:nvPr/>
              </p14:nvContentPartPr>
              <p14:xfrm>
                <a:off x="3479337" y="2198438"/>
                <a:ext cx="206280" cy="154080"/>
              </p14:xfrm>
            </p:contentPart>
          </mc:Choice>
          <mc:Fallback xmlns="">
            <p:pic>
              <p:nvPicPr>
                <p:cNvPr id="70" name="Ink 69">
                  <a:extLst>
                    <a:ext uri="{FF2B5EF4-FFF2-40B4-BE49-F238E27FC236}">
                      <a16:creationId xmlns:a16="http://schemas.microsoft.com/office/drawing/2014/main" id="{4317C1E6-A60C-4D3F-B40E-FB6A28C6716C}"/>
                    </a:ext>
                  </a:extLst>
                </p:cNvPr>
                <p:cNvPicPr/>
                <p:nvPr/>
              </p:nvPicPr>
              <p:blipFill>
                <a:blip r:embed="rId59"/>
                <a:stretch>
                  <a:fillRect/>
                </a:stretch>
              </p:blipFill>
              <p:spPr>
                <a:xfrm>
                  <a:off x="3475017" y="2194118"/>
                  <a:ext cx="214920" cy="16272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71" name="Ink 70">
                  <a:extLst>
                    <a:ext uri="{FF2B5EF4-FFF2-40B4-BE49-F238E27FC236}">
                      <a16:creationId xmlns:a16="http://schemas.microsoft.com/office/drawing/2014/main" id="{9ABBD5C8-320C-4FD3-B16D-DF9709F0A3F9}"/>
                    </a:ext>
                  </a:extLst>
                </p14:cNvPr>
                <p14:cNvContentPartPr/>
                <p14:nvPr/>
              </p14:nvContentPartPr>
              <p14:xfrm>
                <a:off x="3545577" y="2191238"/>
                <a:ext cx="77040" cy="223920"/>
              </p14:xfrm>
            </p:contentPart>
          </mc:Choice>
          <mc:Fallback xmlns="">
            <p:pic>
              <p:nvPicPr>
                <p:cNvPr id="71" name="Ink 70">
                  <a:extLst>
                    <a:ext uri="{FF2B5EF4-FFF2-40B4-BE49-F238E27FC236}">
                      <a16:creationId xmlns:a16="http://schemas.microsoft.com/office/drawing/2014/main" id="{9ABBD5C8-320C-4FD3-B16D-DF9709F0A3F9}"/>
                    </a:ext>
                  </a:extLst>
                </p:cNvPr>
                <p:cNvPicPr/>
                <p:nvPr/>
              </p:nvPicPr>
              <p:blipFill>
                <a:blip r:embed="rId61"/>
                <a:stretch>
                  <a:fillRect/>
                </a:stretch>
              </p:blipFill>
              <p:spPr>
                <a:xfrm>
                  <a:off x="3541257" y="2186918"/>
                  <a:ext cx="85680" cy="2325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72" name="Ink 71">
                  <a:extLst>
                    <a:ext uri="{FF2B5EF4-FFF2-40B4-BE49-F238E27FC236}">
                      <a16:creationId xmlns:a16="http://schemas.microsoft.com/office/drawing/2014/main" id="{242EB795-7C6E-40FE-A792-B604ADDC4D6F}"/>
                    </a:ext>
                  </a:extLst>
                </p14:cNvPr>
                <p14:cNvContentPartPr/>
                <p14:nvPr/>
              </p14:nvContentPartPr>
              <p14:xfrm>
                <a:off x="2945097" y="2463038"/>
                <a:ext cx="1828440" cy="84600"/>
              </p14:xfrm>
            </p:contentPart>
          </mc:Choice>
          <mc:Fallback xmlns="">
            <p:pic>
              <p:nvPicPr>
                <p:cNvPr id="72" name="Ink 71">
                  <a:extLst>
                    <a:ext uri="{FF2B5EF4-FFF2-40B4-BE49-F238E27FC236}">
                      <a16:creationId xmlns:a16="http://schemas.microsoft.com/office/drawing/2014/main" id="{242EB795-7C6E-40FE-A792-B604ADDC4D6F}"/>
                    </a:ext>
                  </a:extLst>
                </p:cNvPr>
                <p:cNvPicPr/>
                <p:nvPr/>
              </p:nvPicPr>
              <p:blipFill>
                <a:blip r:embed="rId63"/>
                <a:stretch>
                  <a:fillRect/>
                </a:stretch>
              </p:blipFill>
              <p:spPr>
                <a:xfrm>
                  <a:off x="2940777" y="2458718"/>
                  <a:ext cx="1837080" cy="93240"/>
                </a:xfrm>
                <a:prstGeom prst="rect">
                  <a:avLst/>
                </a:prstGeom>
              </p:spPr>
            </p:pic>
          </mc:Fallback>
        </mc:AlternateContent>
      </p:grpSp>
      <p:grpSp>
        <p:nvGrpSpPr>
          <p:cNvPr id="87" name="Group 86">
            <a:extLst>
              <a:ext uri="{FF2B5EF4-FFF2-40B4-BE49-F238E27FC236}">
                <a16:creationId xmlns:a16="http://schemas.microsoft.com/office/drawing/2014/main" id="{AF082C2C-E264-4EDF-91E8-19018BEA3604}"/>
              </a:ext>
            </a:extLst>
          </p:cNvPr>
          <p:cNvGrpSpPr/>
          <p:nvPr/>
        </p:nvGrpSpPr>
        <p:grpSpPr>
          <a:xfrm>
            <a:off x="3920556" y="3554771"/>
            <a:ext cx="1663200" cy="228960"/>
            <a:chOff x="2940417" y="2666078"/>
            <a:chExt cx="1247400" cy="171720"/>
          </a:xfrm>
        </p:grpSpPr>
        <mc:AlternateContent xmlns:mc="http://schemas.openxmlformats.org/markup-compatibility/2006" xmlns:p14="http://schemas.microsoft.com/office/powerpoint/2010/main">
          <mc:Choice Requires="p14">
            <p:contentPart p14:bwMode="auto" r:id="rId64">
              <p14:nvContentPartPr>
                <p14:cNvPr id="74" name="Ink 73">
                  <a:extLst>
                    <a:ext uri="{FF2B5EF4-FFF2-40B4-BE49-F238E27FC236}">
                      <a16:creationId xmlns:a16="http://schemas.microsoft.com/office/drawing/2014/main" id="{E2DC2372-3F00-4641-A310-766F79B8828F}"/>
                    </a:ext>
                  </a:extLst>
                </p14:cNvPr>
                <p14:cNvContentPartPr/>
                <p14:nvPr/>
              </p14:nvContentPartPr>
              <p14:xfrm>
                <a:off x="2940417" y="2749598"/>
                <a:ext cx="68040" cy="88200"/>
              </p14:xfrm>
            </p:contentPart>
          </mc:Choice>
          <mc:Fallback xmlns="">
            <p:pic>
              <p:nvPicPr>
                <p:cNvPr id="74" name="Ink 73">
                  <a:extLst>
                    <a:ext uri="{FF2B5EF4-FFF2-40B4-BE49-F238E27FC236}">
                      <a16:creationId xmlns:a16="http://schemas.microsoft.com/office/drawing/2014/main" id="{E2DC2372-3F00-4641-A310-766F79B8828F}"/>
                    </a:ext>
                  </a:extLst>
                </p:cNvPr>
                <p:cNvPicPr/>
                <p:nvPr/>
              </p:nvPicPr>
              <p:blipFill>
                <a:blip r:embed="rId65"/>
                <a:stretch>
                  <a:fillRect/>
                </a:stretch>
              </p:blipFill>
              <p:spPr>
                <a:xfrm>
                  <a:off x="2936097" y="2745278"/>
                  <a:ext cx="76680" cy="9684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75" name="Ink 74">
                  <a:extLst>
                    <a:ext uri="{FF2B5EF4-FFF2-40B4-BE49-F238E27FC236}">
                      <a16:creationId xmlns:a16="http://schemas.microsoft.com/office/drawing/2014/main" id="{82CD5D70-D9AD-439F-ABA1-74AD526D5D66}"/>
                    </a:ext>
                  </a:extLst>
                </p14:cNvPr>
                <p14:cNvContentPartPr/>
                <p14:nvPr/>
              </p14:nvContentPartPr>
              <p14:xfrm>
                <a:off x="3082257" y="2784878"/>
                <a:ext cx="3240" cy="360"/>
              </p14:xfrm>
            </p:contentPart>
          </mc:Choice>
          <mc:Fallback xmlns="">
            <p:pic>
              <p:nvPicPr>
                <p:cNvPr id="75" name="Ink 74">
                  <a:extLst>
                    <a:ext uri="{FF2B5EF4-FFF2-40B4-BE49-F238E27FC236}">
                      <a16:creationId xmlns:a16="http://schemas.microsoft.com/office/drawing/2014/main" id="{82CD5D70-D9AD-439F-ABA1-74AD526D5D66}"/>
                    </a:ext>
                  </a:extLst>
                </p:cNvPr>
                <p:cNvPicPr/>
                <p:nvPr/>
              </p:nvPicPr>
              <p:blipFill>
                <a:blip r:embed="rId67"/>
                <a:stretch>
                  <a:fillRect/>
                </a:stretch>
              </p:blipFill>
              <p:spPr>
                <a:xfrm>
                  <a:off x="3077937" y="2780558"/>
                  <a:ext cx="118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76" name="Ink 75">
                  <a:extLst>
                    <a:ext uri="{FF2B5EF4-FFF2-40B4-BE49-F238E27FC236}">
                      <a16:creationId xmlns:a16="http://schemas.microsoft.com/office/drawing/2014/main" id="{A96F12AE-A523-459C-AFEE-917B9CDF547F}"/>
                    </a:ext>
                  </a:extLst>
                </p14:cNvPr>
                <p14:cNvContentPartPr/>
                <p14:nvPr/>
              </p14:nvContentPartPr>
              <p14:xfrm>
                <a:off x="3121857" y="2721518"/>
                <a:ext cx="56520" cy="106200"/>
              </p14:xfrm>
            </p:contentPart>
          </mc:Choice>
          <mc:Fallback xmlns="">
            <p:pic>
              <p:nvPicPr>
                <p:cNvPr id="76" name="Ink 75">
                  <a:extLst>
                    <a:ext uri="{FF2B5EF4-FFF2-40B4-BE49-F238E27FC236}">
                      <a16:creationId xmlns:a16="http://schemas.microsoft.com/office/drawing/2014/main" id="{A96F12AE-A523-459C-AFEE-917B9CDF547F}"/>
                    </a:ext>
                  </a:extLst>
                </p:cNvPr>
                <p:cNvPicPr/>
                <p:nvPr/>
              </p:nvPicPr>
              <p:blipFill>
                <a:blip r:embed="rId69"/>
                <a:stretch>
                  <a:fillRect/>
                </a:stretch>
              </p:blipFill>
              <p:spPr>
                <a:xfrm>
                  <a:off x="3117537" y="2717198"/>
                  <a:ext cx="65160" cy="11484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77" name="Ink 76">
                  <a:extLst>
                    <a:ext uri="{FF2B5EF4-FFF2-40B4-BE49-F238E27FC236}">
                      <a16:creationId xmlns:a16="http://schemas.microsoft.com/office/drawing/2014/main" id="{61C33078-B810-4587-A6A4-42D84EE583FB}"/>
                    </a:ext>
                  </a:extLst>
                </p14:cNvPr>
                <p14:cNvContentPartPr/>
                <p14:nvPr/>
              </p14:nvContentPartPr>
              <p14:xfrm>
                <a:off x="3133737" y="2721518"/>
                <a:ext cx="73800" cy="7920"/>
              </p14:xfrm>
            </p:contentPart>
          </mc:Choice>
          <mc:Fallback xmlns="">
            <p:pic>
              <p:nvPicPr>
                <p:cNvPr id="77" name="Ink 76">
                  <a:extLst>
                    <a:ext uri="{FF2B5EF4-FFF2-40B4-BE49-F238E27FC236}">
                      <a16:creationId xmlns:a16="http://schemas.microsoft.com/office/drawing/2014/main" id="{61C33078-B810-4587-A6A4-42D84EE583FB}"/>
                    </a:ext>
                  </a:extLst>
                </p:cNvPr>
                <p:cNvPicPr/>
                <p:nvPr/>
              </p:nvPicPr>
              <p:blipFill>
                <a:blip r:embed="rId71"/>
                <a:stretch>
                  <a:fillRect/>
                </a:stretch>
              </p:blipFill>
              <p:spPr>
                <a:xfrm>
                  <a:off x="3129417" y="2717198"/>
                  <a:ext cx="82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79" name="Ink 78">
                  <a:extLst>
                    <a:ext uri="{FF2B5EF4-FFF2-40B4-BE49-F238E27FC236}">
                      <a16:creationId xmlns:a16="http://schemas.microsoft.com/office/drawing/2014/main" id="{5C9CABE6-4E9B-4141-83E3-87F86B150E5B}"/>
                    </a:ext>
                  </a:extLst>
                </p14:cNvPr>
                <p14:cNvContentPartPr/>
                <p14:nvPr/>
              </p14:nvContentPartPr>
              <p14:xfrm>
                <a:off x="3392217" y="2693798"/>
                <a:ext cx="28080" cy="104040"/>
              </p14:xfrm>
            </p:contentPart>
          </mc:Choice>
          <mc:Fallback xmlns="">
            <p:pic>
              <p:nvPicPr>
                <p:cNvPr id="79" name="Ink 78">
                  <a:extLst>
                    <a:ext uri="{FF2B5EF4-FFF2-40B4-BE49-F238E27FC236}">
                      <a16:creationId xmlns:a16="http://schemas.microsoft.com/office/drawing/2014/main" id="{5C9CABE6-4E9B-4141-83E3-87F86B150E5B}"/>
                    </a:ext>
                  </a:extLst>
                </p:cNvPr>
                <p:cNvPicPr/>
                <p:nvPr/>
              </p:nvPicPr>
              <p:blipFill>
                <a:blip r:embed="rId73"/>
                <a:stretch>
                  <a:fillRect/>
                </a:stretch>
              </p:blipFill>
              <p:spPr>
                <a:xfrm>
                  <a:off x="3387897" y="2689478"/>
                  <a:ext cx="3672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80" name="Ink 79">
                  <a:extLst>
                    <a:ext uri="{FF2B5EF4-FFF2-40B4-BE49-F238E27FC236}">
                      <a16:creationId xmlns:a16="http://schemas.microsoft.com/office/drawing/2014/main" id="{B58D5708-C6CE-436E-992C-2154E0E86019}"/>
                    </a:ext>
                  </a:extLst>
                </p14:cNvPr>
                <p14:cNvContentPartPr/>
                <p14:nvPr/>
              </p14:nvContentPartPr>
              <p14:xfrm>
                <a:off x="3350097" y="2749598"/>
                <a:ext cx="83520" cy="360"/>
              </p14:xfrm>
            </p:contentPart>
          </mc:Choice>
          <mc:Fallback xmlns="">
            <p:pic>
              <p:nvPicPr>
                <p:cNvPr id="80" name="Ink 79">
                  <a:extLst>
                    <a:ext uri="{FF2B5EF4-FFF2-40B4-BE49-F238E27FC236}">
                      <a16:creationId xmlns:a16="http://schemas.microsoft.com/office/drawing/2014/main" id="{B58D5708-C6CE-436E-992C-2154E0E86019}"/>
                    </a:ext>
                  </a:extLst>
                </p:cNvPr>
                <p:cNvPicPr/>
                <p:nvPr/>
              </p:nvPicPr>
              <p:blipFill>
                <a:blip r:embed="rId75"/>
                <a:stretch>
                  <a:fillRect/>
                </a:stretch>
              </p:blipFill>
              <p:spPr>
                <a:xfrm>
                  <a:off x="3345777" y="2745278"/>
                  <a:ext cx="9216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81" name="Ink 80">
                  <a:extLst>
                    <a:ext uri="{FF2B5EF4-FFF2-40B4-BE49-F238E27FC236}">
                      <a16:creationId xmlns:a16="http://schemas.microsoft.com/office/drawing/2014/main" id="{766E1BF5-C8AF-47F3-A2CC-CF96E0B3DCBC}"/>
                    </a:ext>
                  </a:extLst>
                </p14:cNvPr>
                <p14:cNvContentPartPr/>
                <p14:nvPr/>
              </p14:nvContentPartPr>
              <p14:xfrm>
                <a:off x="3566817" y="2704598"/>
                <a:ext cx="85320" cy="97920"/>
              </p14:xfrm>
            </p:contentPart>
          </mc:Choice>
          <mc:Fallback xmlns="">
            <p:pic>
              <p:nvPicPr>
                <p:cNvPr id="81" name="Ink 80">
                  <a:extLst>
                    <a:ext uri="{FF2B5EF4-FFF2-40B4-BE49-F238E27FC236}">
                      <a16:creationId xmlns:a16="http://schemas.microsoft.com/office/drawing/2014/main" id="{766E1BF5-C8AF-47F3-A2CC-CF96E0B3DCBC}"/>
                    </a:ext>
                  </a:extLst>
                </p:cNvPr>
                <p:cNvPicPr/>
                <p:nvPr/>
              </p:nvPicPr>
              <p:blipFill>
                <a:blip r:embed="rId77"/>
                <a:stretch>
                  <a:fillRect/>
                </a:stretch>
              </p:blipFill>
              <p:spPr>
                <a:xfrm>
                  <a:off x="3562497" y="2700278"/>
                  <a:ext cx="93960" cy="10656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82" name="Ink 81">
                  <a:extLst>
                    <a:ext uri="{FF2B5EF4-FFF2-40B4-BE49-F238E27FC236}">
                      <a16:creationId xmlns:a16="http://schemas.microsoft.com/office/drawing/2014/main" id="{8493DB77-04CA-44B7-A3CF-5B2B78681B2F}"/>
                    </a:ext>
                  </a:extLst>
                </p14:cNvPr>
                <p14:cNvContentPartPr/>
                <p14:nvPr/>
              </p14:nvContentPartPr>
              <p14:xfrm>
                <a:off x="3733857" y="2742758"/>
                <a:ext cx="360" cy="360"/>
              </p14:xfrm>
            </p:contentPart>
          </mc:Choice>
          <mc:Fallback xmlns="">
            <p:pic>
              <p:nvPicPr>
                <p:cNvPr id="82" name="Ink 81">
                  <a:extLst>
                    <a:ext uri="{FF2B5EF4-FFF2-40B4-BE49-F238E27FC236}">
                      <a16:creationId xmlns:a16="http://schemas.microsoft.com/office/drawing/2014/main" id="{8493DB77-04CA-44B7-A3CF-5B2B78681B2F}"/>
                    </a:ext>
                  </a:extLst>
                </p:cNvPr>
                <p:cNvPicPr/>
                <p:nvPr/>
              </p:nvPicPr>
              <p:blipFill>
                <a:blip r:embed="rId79"/>
                <a:stretch>
                  <a:fillRect/>
                </a:stretch>
              </p:blipFill>
              <p:spPr>
                <a:xfrm>
                  <a:off x="3729537" y="27384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83" name="Ink 82">
                  <a:extLst>
                    <a:ext uri="{FF2B5EF4-FFF2-40B4-BE49-F238E27FC236}">
                      <a16:creationId xmlns:a16="http://schemas.microsoft.com/office/drawing/2014/main" id="{7717E4D3-1A14-4BD6-BB56-CC41BA460A6B}"/>
                    </a:ext>
                  </a:extLst>
                </p14:cNvPr>
                <p14:cNvContentPartPr/>
                <p14:nvPr/>
              </p14:nvContentPartPr>
              <p14:xfrm>
                <a:off x="3808737" y="2676878"/>
                <a:ext cx="92160" cy="114480"/>
              </p14:xfrm>
            </p:contentPart>
          </mc:Choice>
          <mc:Fallback xmlns="">
            <p:pic>
              <p:nvPicPr>
                <p:cNvPr id="83" name="Ink 82">
                  <a:extLst>
                    <a:ext uri="{FF2B5EF4-FFF2-40B4-BE49-F238E27FC236}">
                      <a16:creationId xmlns:a16="http://schemas.microsoft.com/office/drawing/2014/main" id="{7717E4D3-1A14-4BD6-BB56-CC41BA460A6B}"/>
                    </a:ext>
                  </a:extLst>
                </p:cNvPr>
                <p:cNvPicPr/>
                <p:nvPr/>
              </p:nvPicPr>
              <p:blipFill>
                <a:blip r:embed="rId81"/>
                <a:stretch>
                  <a:fillRect/>
                </a:stretch>
              </p:blipFill>
              <p:spPr>
                <a:xfrm>
                  <a:off x="3804417" y="2672558"/>
                  <a:ext cx="1008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84" name="Ink 83">
                  <a:extLst>
                    <a:ext uri="{FF2B5EF4-FFF2-40B4-BE49-F238E27FC236}">
                      <a16:creationId xmlns:a16="http://schemas.microsoft.com/office/drawing/2014/main" id="{2305226F-A32F-4E0D-BEB4-09C8163BBC31}"/>
                    </a:ext>
                  </a:extLst>
                </p14:cNvPr>
                <p14:cNvContentPartPr/>
                <p14:nvPr/>
              </p14:nvContentPartPr>
              <p14:xfrm>
                <a:off x="3888657" y="2666078"/>
                <a:ext cx="103320" cy="112680"/>
              </p14:xfrm>
            </p:contentPart>
          </mc:Choice>
          <mc:Fallback xmlns="">
            <p:pic>
              <p:nvPicPr>
                <p:cNvPr id="84" name="Ink 83">
                  <a:extLst>
                    <a:ext uri="{FF2B5EF4-FFF2-40B4-BE49-F238E27FC236}">
                      <a16:creationId xmlns:a16="http://schemas.microsoft.com/office/drawing/2014/main" id="{2305226F-A32F-4E0D-BEB4-09C8163BBC31}"/>
                    </a:ext>
                  </a:extLst>
                </p:cNvPr>
                <p:cNvPicPr/>
                <p:nvPr/>
              </p:nvPicPr>
              <p:blipFill>
                <a:blip r:embed="rId83"/>
                <a:stretch>
                  <a:fillRect/>
                </a:stretch>
              </p:blipFill>
              <p:spPr>
                <a:xfrm>
                  <a:off x="3884337" y="2661758"/>
                  <a:ext cx="111960" cy="1213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85" name="Ink 84">
                  <a:extLst>
                    <a:ext uri="{FF2B5EF4-FFF2-40B4-BE49-F238E27FC236}">
                      <a16:creationId xmlns:a16="http://schemas.microsoft.com/office/drawing/2014/main" id="{D5EE0536-0E3B-4A6B-81D1-EB3FFB91D185}"/>
                    </a:ext>
                  </a:extLst>
                </p14:cNvPr>
                <p14:cNvContentPartPr/>
                <p14:nvPr/>
              </p14:nvContentPartPr>
              <p14:xfrm>
                <a:off x="4105017" y="2686958"/>
                <a:ext cx="20160" cy="82800"/>
              </p14:xfrm>
            </p:contentPart>
          </mc:Choice>
          <mc:Fallback xmlns="">
            <p:pic>
              <p:nvPicPr>
                <p:cNvPr id="85" name="Ink 84">
                  <a:extLst>
                    <a:ext uri="{FF2B5EF4-FFF2-40B4-BE49-F238E27FC236}">
                      <a16:creationId xmlns:a16="http://schemas.microsoft.com/office/drawing/2014/main" id="{D5EE0536-0E3B-4A6B-81D1-EB3FFB91D185}"/>
                    </a:ext>
                  </a:extLst>
                </p:cNvPr>
                <p:cNvPicPr/>
                <p:nvPr/>
              </p:nvPicPr>
              <p:blipFill>
                <a:blip r:embed="rId29"/>
                <a:stretch>
                  <a:fillRect/>
                </a:stretch>
              </p:blipFill>
              <p:spPr>
                <a:xfrm>
                  <a:off x="4100697" y="2682638"/>
                  <a:ext cx="28800" cy="91440"/>
                </a:xfrm>
                <a:prstGeom prst="rect">
                  <a:avLst/>
                </a:prstGeom>
              </p:spPr>
            </p:pic>
          </mc:Fallback>
        </mc:AlternateContent>
        <mc:AlternateContent xmlns:mc="http://schemas.openxmlformats.org/markup-compatibility/2006" xmlns:p14="http://schemas.microsoft.com/office/powerpoint/2010/main">
          <mc:Choice Requires="p14">
            <p:contentPart p14:bwMode="auto" r:id="rId85">
              <p14:nvContentPartPr>
                <p14:cNvPr id="86" name="Ink 85">
                  <a:extLst>
                    <a:ext uri="{FF2B5EF4-FFF2-40B4-BE49-F238E27FC236}">
                      <a16:creationId xmlns:a16="http://schemas.microsoft.com/office/drawing/2014/main" id="{EFD931F9-B7D6-4A0C-ADF2-48A294C2F01D}"/>
                    </a:ext>
                  </a:extLst>
                </p14:cNvPr>
                <p14:cNvContentPartPr/>
                <p14:nvPr/>
              </p14:nvContentPartPr>
              <p14:xfrm>
                <a:off x="4062177" y="2716118"/>
                <a:ext cx="125640" cy="12960"/>
              </p14:xfrm>
            </p:contentPart>
          </mc:Choice>
          <mc:Fallback xmlns="">
            <p:pic>
              <p:nvPicPr>
                <p:cNvPr id="86" name="Ink 85">
                  <a:extLst>
                    <a:ext uri="{FF2B5EF4-FFF2-40B4-BE49-F238E27FC236}">
                      <a16:creationId xmlns:a16="http://schemas.microsoft.com/office/drawing/2014/main" id="{EFD931F9-B7D6-4A0C-ADF2-48A294C2F01D}"/>
                    </a:ext>
                  </a:extLst>
                </p:cNvPr>
                <p:cNvPicPr/>
                <p:nvPr/>
              </p:nvPicPr>
              <p:blipFill>
                <a:blip r:embed="rId86"/>
                <a:stretch>
                  <a:fillRect/>
                </a:stretch>
              </p:blipFill>
              <p:spPr>
                <a:xfrm>
                  <a:off x="4057857" y="2711798"/>
                  <a:ext cx="134280" cy="21600"/>
                </a:xfrm>
                <a:prstGeom prst="rect">
                  <a:avLst/>
                </a:prstGeom>
              </p:spPr>
            </p:pic>
          </mc:Fallback>
        </mc:AlternateContent>
      </p:grpSp>
      <p:grpSp>
        <p:nvGrpSpPr>
          <p:cNvPr id="100" name="Group 99">
            <a:extLst>
              <a:ext uri="{FF2B5EF4-FFF2-40B4-BE49-F238E27FC236}">
                <a16:creationId xmlns:a16="http://schemas.microsoft.com/office/drawing/2014/main" id="{A9F4159A-25B1-4432-866A-4E7FB4FD22E7}"/>
              </a:ext>
            </a:extLst>
          </p:cNvPr>
          <p:cNvGrpSpPr/>
          <p:nvPr/>
        </p:nvGrpSpPr>
        <p:grpSpPr>
          <a:xfrm>
            <a:off x="5733516" y="3452531"/>
            <a:ext cx="1320000" cy="215520"/>
            <a:chOff x="4300137" y="2589398"/>
            <a:chExt cx="990000" cy="161640"/>
          </a:xfrm>
        </p:grpSpPr>
        <mc:AlternateContent xmlns:mc="http://schemas.openxmlformats.org/markup-compatibility/2006" xmlns:p14="http://schemas.microsoft.com/office/powerpoint/2010/main">
          <mc:Choice Requires="p14">
            <p:contentPart p14:bwMode="auto" r:id="rId87">
              <p14:nvContentPartPr>
                <p14:cNvPr id="88" name="Ink 87">
                  <a:extLst>
                    <a:ext uri="{FF2B5EF4-FFF2-40B4-BE49-F238E27FC236}">
                      <a16:creationId xmlns:a16="http://schemas.microsoft.com/office/drawing/2014/main" id="{7150333E-B932-465E-BDB6-198191C88484}"/>
                    </a:ext>
                  </a:extLst>
                </p14:cNvPr>
                <p14:cNvContentPartPr/>
                <p14:nvPr/>
              </p14:nvContentPartPr>
              <p14:xfrm>
                <a:off x="4300137" y="2671838"/>
                <a:ext cx="68400" cy="79200"/>
              </p14:xfrm>
            </p:contentPart>
          </mc:Choice>
          <mc:Fallback xmlns="">
            <p:pic>
              <p:nvPicPr>
                <p:cNvPr id="88" name="Ink 87">
                  <a:extLst>
                    <a:ext uri="{FF2B5EF4-FFF2-40B4-BE49-F238E27FC236}">
                      <a16:creationId xmlns:a16="http://schemas.microsoft.com/office/drawing/2014/main" id="{7150333E-B932-465E-BDB6-198191C88484}"/>
                    </a:ext>
                  </a:extLst>
                </p:cNvPr>
                <p:cNvPicPr/>
                <p:nvPr/>
              </p:nvPicPr>
              <p:blipFill>
                <a:blip r:embed="rId88"/>
                <a:stretch>
                  <a:fillRect/>
                </a:stretch>
              </p:blipFill>
              <p:spPr>
                <a:xfrm>
                  <a:off x="4295817" y="2667518"/>
                  <a:ext cx="7704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89">
              <p14:nvContentPartPr>
                <p14:cNvPr id="89" name="Ink 88">
                  <a:extLst>
                    <a:ext uri="{FF2B5EF4-FFF2-40B4-BE49-F238E27FC236}">
                      <a16:creationId xmlns:a16="http://schemas.microsoft.com/office/drawing/2014/main" id="{903AD705-D9ED-4493-9168-511B1DDDD9F4}"/>
                    </a:ext>
                  </a:extLst>
                </p14:cNvPr>
                <p14:cNvContentPartPr/>
                <p14:nvPr/>
              </p14:nvContentPartPr>
              <p14:xfrm>
                <a:off x="4411017" y="2729078"/>
                <a:ext cx="360" cy="2880"/>
              </p14:xfrm>
            </p:contentPart>
          </mc:Choice>
          <mc:Fallback xmlns="">
            <p:pic>
              <p:nvPicPr>
                <p:cNvPr id="89" name="Ink 88">
                  <a:extLst>
                    <a:ext uri="{FF2B5EF4-FFF2-40B4-BE49-F238E27FC236}">
                      <a16:creationId xmlns:a16="http://schemas.microsoft.com/office/drawing/2014/main" id="{903AD705-D9ED-4493-9168-511B1DDDD9F4}"/>
                    </a:ext>
                  </a:extLst>
                </p:cNvPr>
                <p:cNvPicPr/>
                <p:nvPr/>
              </p:nvPicPr>
              <p:blipFill>
                <a:blip r:embed="rId90"/>
                <a:stretch>
                  <a:fillRect/>
                </a:stretch>
              </p:blipFill>
              <p:spPr>
                <a:xfrm>
                  <a:off x="4406697" y="2724758"/>
                  <a:ext cx="9000" cy="11520"/>
                </a:xfrm>
                <a:prstGeom prst="rect">
                  <a:avLst/>
                </a:prstGeom>
              </p:spPr>
            </p:pic>
          </mc:Fallback>
        </mc:AlternateContent>
        <mc:AlternateContent xmlns:mc="http://schemas.openxmlformats.org/markup-compatibility/2006" xmlns:p14="http://schemas.microsoft.com/office/powerpoint/2010/main">
          <mc:Choice Requires="p14">
            <p:contentPart p14:bwMode="auto" r:id="rId91">
              <p14:nvContentPartPr>
                <p14:cNvPr id="90" name="Ink 89">
                  <a:extLst>
                    <a:ext uri="{FF2B5EF4-FFF2-40B4-BE49-F238E27FC236}">
                      <a16:creationId xmlns:a16="http://schemas.microsoft.com/office/drawing/2014/main" id="{864DAD99-776D-47A1-A649-B066EA8886B1}"/>
                    </a:ext>
                  </a:extLst>
                </p14:cNvPr>
                <p14:cNvContentPartPr/>
                <p14:nvPr/>
              </p14:nvContentPartPr>
              <p14:xfrm>
                <a:off x="4452777" y="2652398"/>
                <a:ext cx="7920" cy="90000"/>
              </p14:xfrm>
            </p:contentPart>
          </mc:Choice>
          <mc:Fallback xmlns="">
            <p:pic>
              <p:nvPicPr>
                <p:cNvPr id="90" name="Ink 89">
                  <a:extLst>
                    <a:ext uri="{FF2B5EF4-FFF2-40B4-BE49-F238E27FC236}">
                      <a16:creationId xmlns:a16="http://schemas.microsoft.com/office/drawing/2014/main" id="{864DAD99-776D-47A1-A649-B066EA8886B1}"/>
                    </a:ext>
                  </a:extLst>
                </p:cNvPr>
                <p:cNvPicPr/>
                <p:nvPr/>
              </p:nvPicPr>
              <p:blipFill>
                <a:blip r:embed="rId92"/>
                <a:stretch>
                  <a:fillRect/>
                </a:stretch>
              </p:blipFill>
              <p:spPr>
                <a:xfrm>
                  <a:off x="4448457" y="2648078"/>
                  <a:ext cx="1656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93">
              <p14:nvContentPartPr>
                <p14:cNvPr id="91" name="Ink 90">
                  <a:extLst>
                    <a:ext uri="{FF2B5EF4-FFF2-40B4-BE49-F238E27FC236}">
                      <a16:creationId xmlns:a16="http://schemas.microsoft.com/office/drawing/2014/main" id="{6322F807-6C41-42E6-A1B0-4C5F248B647A}"/>
                    </a:ext>
                  </a:extLst>
                </p14:cNvPr>
                <p14:cNvContentPartPr/>
                <p14:nvPr/>
              </p14:nvContentPartPr>
              <p14:xfrm>
                <a:off x="4506417" y="2652038"/>
                <a:ext cx="65160" cy="78480"/>
              </p14:xfrm>
            </p:contentPart>
          </mc:Choice>
          <mc:Fallback xmlns="">
            <p:pic>
              <p:nvPicPr>
                <p:cNvPr id="91" name="Ink 90">
                  <a:extLst>
                    <a:ext uri="{FF2B5EF4-FFF2-40B4-BE49-F238E27FC236}">
                      <a16:creationId xmlns:a16="http://schemas.microsoft.com/office/drawing/2014/main" id="{6322F807-6C41-42E6-A1B0-4C5F248B647A}"/>
                    </a:ext>
                  </a:extLst>
                </p:cNvPr>
                <p:cNvPicPr/>
                <p:nvPr/>
              </p:nvPicPr>
              <p:blipFill>
                <a:blip r:embed="rId94"/>
                <a:stretch>
                  <a:fillRect/>
                </a:stretch>
              </p:blipFill>
              <p:spPr>
                <a:xfrm>
                  <a:off x="4502097" y="2647718"/>
                  <a:ext cx="7380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95">
              <p14:nvContentPartPr>
                <p14:cNvPr id="92" name="Ink 91">
                  <a:extLst>
                    <a:ext uri="{FF2B5EF4-FFF2-40B4-BE49-F238E27FC236}">
                      <a16:creationId xmlns:a16="http://schemas.microsoft.com/office/drawing/2014/main" id="{570943C6-E320-44AB-8D76-5609F373ABED}"/>
                    </a:ext>
                  </a:extLst>
                </p14:cNvPr>
                <p14:cNvContentPartPr/>
                <p14:nvPr/>
              </p14:nvContentPartPr>
              <p14:xfrm>
                <a:off x="4612257" y="2642678"/>
                <a:ext cx="58320" cy="104040"/>
              </p14:xfrm>
            </p:contentPart>
          </mc:Choice>
          <mc:Fallback xmlns="">
            <p:pic>
              <p:nvPicPr>
                <p:cNvPr id="92" name="Ink 91">
                  <a:extLst>
                    <a:ext uri="{FF2B5EF4-FFF2-40B4-BE49-F238E27FC236}">
                      <a16:creationId xmlns:a16="http://schemas.microsoft.com/office/drawing/2014/main" id="{570943C6-E320-44AB-8D76-5609F373ABED}"/>
                    </a:ext>
                  </a:extLst>
                </p:cNvPr>
                <p:cNvPicPr/>
                <p:nvPr/>
              </p:nvPicPr>
              <p:blipFill>
                <a:blip r:embed="rId96"/>
                <a:stretch>
                  <a:fillRect/>
                </a:stretch>
              </p:blipFill>
              <p:spPr>
                <a:xfrm>
                  <a:off x="4607937" y="2638358"/>
                  <a:ext cx="6696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97">
              <p14:nvContentPartPr>
                <p14:cNvPr id="93" name="Ink 92">
                  <a:extLst>
                    <a:ext uri="{FF2B5EF4-FFF2-40B4-BE49-F238E27FC236}">
                      <a16:creationId xmlns:a16="http://schemas.microsoft.com/office/drawing/2014/main" id="{9D44812A-A5A3-42E5-AF55-F1205B0D3AEA}"/>
                    </a:ext>
                  </a:extLst>
                </p14:cNvPr>
                <p14:cNvContentPartPr/>
                <p14:nvPr/>
              </p14:nvContentPartPr>
              <p14:xfrm>
                <a:off x="4767057" y="2624318"/>
                <a:ext cx="7920" cy="90360"/>
              </p14:xfrm>
            </p:contentPart>
          </mc:Choice>
          <mc:Fallback xmlns="">
            <p:pic>
              <p:nvPicPr>
                <p:cNvPr id="93" name="Ink 92">
                  <a:extLst>
                    <a:ext uri="{FF2B5EF4-FFF2-40B4-BE49-F238E27FC236}">
                      <a16:creationId xmlns:a16="http://schemas.microsoft.com/office/drawing/2014/main" id="{9D44812A-A5A3-42E5-AF55-F1205B0D3AEA}"/>
                    </a:ext>
                  </a:extLst>
                </p:cNvPr>
                <p:cNvPicPr/>
                <p:nvPr/>
              </p:nvPicPr>
              <p:blipFill>
                <a:blip r:embed="rId98"/>
                <a:stretch>
                  <a:fillRect/>
                </a:stretch>
              </p:blipFill>
              <p:spPr>
                <a:xfrm>
                  <a:off x="4762737" y="2619998"/>
                  <a:ext cx="1656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99">
              <p14:nvContentPartPr>
                <p14:cNvPr id="94" name="Ink 93">
                  <a:extLst>
                    <a:ext uri="{FF2B5EF4-FFF2-40B4-BE49-F238E27FC236}">
                      <a16:creationId xmlns:a16="http://schemas.microsoft.com/office/drawing/2014/main" id="{3E07791C-A239-417F-BCCC-C715632EBAC4}"/>
                    </a:ext>
                  </a:extLst>
                </p14:cNvPr>
                <p14:cNvContentPartPr/>
                <p14:nvPr/>
              </p14:nvContentPartPr>
              <p14:xfrm>
                <a:off x="4725297" y="2673278"/>
                <a:ext cx="76320" cy="14040"/>
              </p14:xfrm>
            </p:contentPart>
          </mc:Choice>
          <mc:Fallback xmlns="">
            <p:pic>
              <p:nvPicPr>
                <p:cNvPr id="94" name="Ink 93">
                  <a:extLst>
                    <a:ext uri="{FF2B5EF4-FFF2-40B4-BE49-F238E27FC236}">
                      <a16:creationId xmlns:a16="http://schemas.microsoft.com/office/drawing/2014/main" id="{3E07791C-A239-417F-BCCC-C715632EBAC4}"/>
                    </a:ext>
                  </a:extLst>
                </p:cNvPr>
                <p:cNvPicPr/>
                <p:nvPr/>
              </p:nvPicPr>
              <p:blipFill>
                <a:blip r:embed="rId100"/>
                <a:stretch>
                  <a:fillRect/>
                </a:stretch>
              </p:blipFill>
              <p:spPr>
                <a:xfrm>
                  <a:off x="4720977" y="2668958"/>
                  <a:ext cx="8496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1">
              <p14:nvContentPartPr>
                <p14:cNvPr id="96" name="Ink 95">
                  <a:extLst>
                    <a:ext uri="{FF2B5EF4-FFF2-40B4-BE49-F238E27FC236}">
                      <a16:creationId xmlns:a16="http://schemas.microsoft.com/office/drawing/2014/main" id="{45EEE506-88A2-4193-9C54-8C8449DFE730}"/>
                    </a:ext>
                  </a:extLst>
                </p14:cNvPr>
                <p14:cNvContentPartPr/>
                <p14:nvPr/>
              </p14:nvContentPartPr>
              <p14:xfrm>
                <a:off x="4936617" y="2603798"/>
                <a:ext cx="95760" cy="85320"/>
              </p14:xfrm>
            </p:contentPart>
          </mc:Choice>
          <mc:Fallback xmlns="">
            <p:pic>
              <p:nvPicPr>
                <p:cNvPr id="96" name="Ink 95">
                  <a:extLst>
                    <a:ext uri="{FF2B5EF4-FFF2-40B4-BE49-F238E27FC236}">
                      <a16:creationId xmlns:a16="http://schemas.microsoft.com/office/drawing/2014/main" id="{45EEE506-88A2-4193-9C54-8C8449DFE730}"/>
                    </a:ext>
                  </a:extLst>
                </p:cNvPr>
                <p:cNvPicPr/>
                <p:nvPr/>
              </p:nvPicPr>
              <p:blipFill>
                <a:blip r:embed="rId102"/>
                <a:stretch>
                  <a:fillRect/>
                </a:stretch>
              </p:blipFill>
              <p:spPr>
                <a:xfrm>
                  <a:off x="4932297" y="2599478"/>
                  <a:ext cx="10440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97" name="Ink 96">
                  <a:extLst>
                    <a:ext uri="{FF2B5EF4-FFF2-40B4-BE49-F238E27FC236}">
                      <a16:creationId xmlns:a16="http://schemas.microsoft.com/office/drawing/2014/main" id="{B715EBB9-3E3F-4D08-ACA5-9DC3F8F6B292}"/>
                    </a:ext>
                  </a:extLst>
                </p14:cNvPr>
                <p14:cNvContentPartPr/>
                <p14:nvPr/>
              </p14:nvContentPartPr>
              <p14:xfrm>
                <a:off x="5088177" y="2666078"/>
                <a:ext cx="360" cy="360"/>
              </p14:xfrm>
            </p:contentPart>
          </mc:Choice>
          <mc:Fallback xmlns="">
            <p:pic>
              <p:nvPicPr>
                <p:cNvPr id="97" name="Ink 96">
                  <a:extLst>
                    <a:ext uri="{FF2B5EF4-FFF2-40B4-BE49-F238E27FC236}">
                      <a16:creationId xmlns:a16="http://schemas.microsoft.com/office/drawing/2014/main" id="{B715EBB9-3E3F-4D08-ACA5-9DC3F8F6B292}"/>
                    </a:ext>
                  </a:extLst>
                </p:cNvPr>
                <p:cNvPicPr/>
                <p:nvPr/>
              </p:nvPicPr>
              <p:blipFill>
                <a:blip r:embed="rId79"/>
                <a:stretch>
                  <a:fillRect/>
                </a:stretch>
              </p:blipFill>
              <p:spPr>
                <a:xfrm>
                  <a:off x="5083857" y="2661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98" name="Ink 97">
                  <a:extLst>
                    <a:ext uri="{FF2B5EF4-FFF2-40B4-BE49-F238E27FC236}">
                      <a16:creationId xmlns:a16="http://schemas.microsoft.com/office/drawing/2014/main" id="{D3A830D0-F0D6-44F5-B9F2-36FF45C191DB}"/>
                    </a:ext>
                  </a:extLst>
                </p14:cNvPr>
                <p14:cNvContentPartPr/>
                <p14:nvPr/>
              </p14:nvContentPartPr>
              <p14:xfrm>
                <a:off x="5131737" y="2589398"/>
                <a:ext cx="61920" cy="89280"/>
              </p14:xfrm>
            </p:contentPart>
          </mc:Choice>
          <mc:Fallback xmlns="">
            <p:pic>
              <p:nvPicPr>
                <p:cNvPr id="98" name="Ink 97">
                  <a:extLst>
                    <a:ext uri="{FF2B5EF4-FFF2-40B4-BE49-F238E27FC236}">
                      <a16:creationId xmlns:a16="http://schemas.microsoft.com/office/drawing/2014/main" id="{D3A830D0-F0D6-44F5-B9F2-36FF45C191DB}"/>
                    </a:ext>
                  </a:extLst>
                </p:cNvPr>
                <p:cNvPicPr/>
                <p:nvPr/>
              </p:nvPicPr>
              <p:blipFill>
                <a:blip r:embed="rId105"/>
                <a:stretch>
                  <a:fillRect/>
                </a:stretch>
              </p:blipFill>
              <p:spPr>
                <a:xfrm>
                  <a:off x="5127417" y="2585078"/>
                  <a:ext cx="7056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99" name="Ink 98">
                  <a:extLst>
                    <a:ext uri="{FF2B5EF4-FFF2-40B4-BE49-F238E27FC236}">
                      <a16:creationId xmlns:a16="http://schemas.microsoft.com/office/drawing/2014/main" id="{20F5E6BA-171F-4F0C-A1E4-124FE3399DBA}"/>
                    </a:ext>
                  </a:extLst>
                </p14:cNvPr>
                <p14:cNvContentPartPr/>
                <p14:nvPr/>
              </p14:nvContentPartPr>
              <p14:xfrm>
                <a:off x="5229297" y="2595518"/>
                <a:ext cx="60840" cy="72360"/>
              </p14:xfrm>
            </p:contentPart>
          </mc:Choice>
          <mc:Fallback xmlns="">
            <p:pic>
              <p:nvPicPr>
                <p:cNvPr id="99" name="Ink 98">
                  <a:extLst>
                    <a:ext uri="{FF2B5EF4-FFF2-40B4-BE49-F238E27FC236}">
                      <a16:creationId xmlns:a16="http://schemas.microsoft.com/office/drawing/2014/main" id="{20F5E6BA-171F-4F0C-A1E4-124FE3399DBA}"/>
                    </a:ext>
                  </a:extLst>
                </p:cNvPr>
                <p:cNvPicPr/>
                <p:nvPr/>
              </p:nvPicPr>
              <p:blipFill>
                <a:blip r:embed="rId107"/>
                <a:stretch>
                  <a:fillRect/>
                </a:stretch>
              </p:blipFill>
              <p:spPr>
                <a:xfrm>
                  <a:off x="5224977" y="2591198"/>
                  <a:ext cx="69480" cy="81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8">
            <p14:nvContentPartPr>
              <p14:cNvPr id="101" name="Ink 100">
                <a:extLst>
                  <a:ext uri="{FF2B5EF4-FFF2-40B4-BE49-F238E27FC236}">
                    <a16:creationId xmlns:a16="http://schemas.microsoft.com/office/drawing/2014/main" id="{D9CAB537-CA15-47F7-898B-A67370E7504E}"/>
                  </a:ext>
                </a:extLst>
              </p14:cNvPr>
              <p14:cNvContentPartPr/>
              <p14:nvPr/>
            </p14:nvContentPartPr>
            <p14:xfrm>
              <a:off x="7435596" y="3135731"/>
              <a:ext cx="118560" cy="480"/>
            </p14:xfrm>
          </p:contentPart>
        </mc:Choice>
        <mc:Fallback>
          <p:pic>
            <p:nvPicPr>
              <p:cNvPr id="101" name="Ink 100">
                <a:extLst>
                  <a:ext uri="{FF2B5EF4-FFF2-40B4-BE49-F238E27FC236}">
                    <a16:creationId xmlns:a16="http://schemas.microsoft.com/office/drawing/2014/main" id="{D9CAB537-CA15-47F7-898B-A67370E7504E}"/>
                  </a:ext>
                </a:extLst>
              </p:cNvPr>
              <p:cNvPicPr/>
              <p:nvPr/>
            </p:nvPicPr>
            <p:blipFill>
              <a:blip r:embed="rId109"/>
              <a:stretch>
                <a:fillRect/>
              </a:stretch>
            </p:blipFill>
            <p:spPr>
              <a:xfrm>
                <a:off x="7431272" y="3129971"/>
                <a:ext cx="127209" cy="12000"/>
              </a:xfrm>
              <a:prstGeom prst="rect">
                <a:avLst/>
              </a:prstGeom>
            </p:spPr>
          </p:pic>
        </mc:Fallback>
      </mc:AlternateContent>
      <p:grpSp>
        <p:nvGrpSpPr>
          <p:cNvPr id="104" name="Group 103">
            <a:extLst>
              <a:ext uri="{FF2B5EF4-FFF2-40B4-BE49-F238E27FC236}">
                <a16:creationId xmlns:a16="http://schemas.microsoft.com/office/drawing/2014/main" id="{673549E1-D675-42AA-BE35-08B353582A17}"/>
              </a:ext>
            </a:extLst>
          </p:cNvPr>
          <p:cNvGrpSpPr/>
          <p:nvPr/>
        </p:nvGrpSpPr>
        <p:grpSpPr>
          <a:xfrm>
            <a:off x="7445196" y="3221651"/>
            <a:ext cx="148800" cy="7680"/>
            <a:chOff x="5583897" y="2416238"/>
            <a:chExt cx="111600" cy="5760"/>
          </a:xfrm>
        </p:grpSpPr>
        <mc:AlternateContent xmlns:mc="http://schemas.openxmlformats.org/markup-compatibility/2006" xmlns:p14="http://schemas.microsoft.com/office/powerpoint/2010/main">
          <mc:Choice Requires="p14">
            <p:contentPart p14:bwMode="auto" r:id="rId110">
              <p14:nvContentPartPr>
                <p14:cNvPr id="102" name="Ink 101">
                  <a:extLst>
                    <a:ext uri="{FF2B5EF4-FFF2-40B4-BE49-F238E27FC236}">
                      <a16:creationId xmlns:a16="http://schemas.microsoft.com/office/drawing/2014/main" id="{385105F5-29F1-4053-8C51-F613A2E39263}"/>
                    </a:ext>
                  </a:extLst>
                </p14:cNvPr>
                <p14:cNvContentPartPr/>
                <p14:nvPr/>
              </p14:nvContentPartPr>
              <p14:xfrm>
                <a:off x="5583897" y="2416238"/>
                <a:ext cx="37440" cy="5760"/>
              </p14:xfrm>
            </p:contentPart>
          </mc:Choice>
          <mc:Fallback xmlns="">
            <p:pic>
              <p:nvPicPr>
                <p:cNvPr id="102" name="Ink 101">
                  <a:extLst>
                    <a:ext uri="{FF2B5EF4-FFF2-40B4-BE49-F238E27FC236}">
                      <a16:creationId xmlns:a16="http://schemas.microsoft.com/office/drawing/2014/main" id="{385105F5-29F1-4053-8C51-F613A2E39263}"/>
                    </a:ext>
                  </a:extLst>
                </p:cNvPr>
                <p:cNvPicPr/>
                <p:nvPr/>
              </p:nvPicPr>
              <p:blipFill>
                <a:blip r:embed="rId111"/>
                <a:stretch>
                  <a:fillRect/>
                </a:stretch>
              </p:blipFill>
              <p:spPr>
                <a:xfrm>
                  <a:off x="5579577" y="2411918"/>
                  <a:ext cx="46080"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103" name="Ink 102">
                  <a:extLst>
                    <a:ext uri="{FF2B5EF4-FFF2-40B4-BE49-F238E27FC236}">
                      <a16:creationId xmlns:a16="http://schemas.microsoft.com/office/drawing/2014/main" id="{397FCE79-ED80-4ED5-A468-FF0165DA9002}"/>
                    </a:ext>
                  </a:extLst>
                </p14:cNvPr>
                <p14:cNvContentPartPr/>
                <p14:nvPr/>
              </p14:nvContentPartPr>
              <p14:xfrm>
                <a:off x="5597937" y="2421638"/>
                <a:ext cx="97560" cy="360"/>
              </p14:xfrm>
            </p:contentPart>
          </mc:Choice>
          <mc:Fallback xmlns="">
            <p:pic>
              <p:nvPicPr>
                <p:cNvPr id="103" name="Ink 102">
                  <a:extLst>
                    <a:ext uri="{FF2B5EF4-FFF2-40B4-BE49-F238E27FC236}">
                      <a16:creationId xmlns:a16="http://schemas.microsoft.com/office/drawing/2014/main" id="{397FCE79-ED80-4ED5-A468-FF0165DA9002}"/>
                    </a:ext>
                  </a:extLst>
                </p:cNvPr>
                <p:cNvPicPr/>
                <p:nvPr/>
              </p:nvPicPr>
              <p:blipFill>
                <a:blip r:embed="rId113"/>
                <a:stretch>
                  <a:fillRect/>
                </a:stretch>
              </p:blipFill>
              <p:spPr>
                <a:xfrm>
                  <a:off x="5593617" y="2417318"/>
                  <a:ext cx="106200" cy="9000"/>
                </a:xfrm>
                <a:prstGeom prst="rect">
                  <a:avLst/>
                </a:prstGeom>
              </p:spPr>
            </p:pic>
          </mc:Fallback>
        </mc:AlternateContent>
      </p:grpSp>
    </p:spTree>
    <p:extLst>
      <p:ext uri="{BB962C8B-B14F-4D97-AF65-F5344CB8AC3E}">
        <p14:creationId xmlns:p14="http://schemas.microsoft.com/office/powerpoint/2010/main" val="1236711108"/>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ECB27-EAA2-4EE0-A357-855C3ABB6A5B}"/>
              </a:ext>
            </a:extLst>
          </p:cNvPr>
          <p:cNvSpPr>
            <a:spLocks noGrp="1"/>
          </p:cNvSpPr>
          <p:nvPr>
            <p:ph type="title"/>
          </p:nvPr>
        </p:nvSpPr>
        <p:spPr>
          <a:xfrm>
            <a:off x="0" y="0"/>
            <a:ext cx="10607040" cy="853440"/>
          </a:xfrm>
        </p:spPr>
        <p:txBody>
          <a:bodyPr/>
          <a:lstStyle/>
          <a:p>
            <a:r>
              <a:rPr lang="en-US" dirty="0"/>
              <a:t>Harmonic Mean - </a:t>
            </a:r>
            <a:r>
              <a:rPr lang="en-US" sz="3200" dirty="0">
                <a:solidFill>
                  <a:schemeClr val="bg2">
                    <a:lumMod val="50000"/>
                    <a:lumOff val="50000"/>
                  </a:schemeClr>
                </a:solidFill>
              </a:rPr>
              <a:t>Continued</a:t>
            </a:r>
            <a:endParaRPr lang="en-US" dirty="0">
              <a:solidFill>
                <a:schemeClr val="bg2">
                  <a:lumMod val="50000"/>
                  <a:lumOff val="50000"/>
                </a:schemeClr>
              </a:solidFill>
            </a:endParaRPr>
          </a:p>
        </p:txBody>
      </p:sp>
      <p:sp>
        <p:nvSpPr>
          <p:cNvPr id="4" name="Content Placeholder 3">
            <a:extLst>
              <a:ext uri="{FF2B5EF4-FFF2-40B4-BE49-F238E27FC236}">
                <a16:creationId xmlns:a16="http://schemas.microsoft.com/office/drawing/2014/main" id="{B5302A69-3D48-4326-8584-D4306A30249E}"/>
              </a:ext>
            </a:extLst>
          </p:cNvPr>
          <p:cNvSpPr>
            <a:spLocks noGrp="1"/>
          </p:cNvSpPr>
          <p:nvPr>
            <p:ph sz="half" idx="1"/>
          </p:nvPr>
        </p:nvSpPr>
        <p:spPr>
          <a:xfrm>
            <a:off x="235464" y="1139510"/>
            <a:ext cx="10607040" cy="5081551"/>
          </a:xfrm>
        </p:spPr>
        <p:txBody>
          <a:bodyPr/>
          <a:lstStyle/>
          <a:p>
            <a:r>
              <a:rPr lang="en-US" dirty="0">
                <a:solidFill>
                  <a:schemeClr val="bg2">
                    <a:lumMod val="50000"/>
                    <a:lumOff val="50000"/>
                  </a:schemeClr>
                </a:solidFill>
                <a:latin typeface="Inter"/>
              </a:rPr>
              <a:t>The Harmonic mean is the reciprocal of the average of the reciprocals</a:t>
            </a:r>
          </a:p>
          <a:p>
            <a:r>
              <a:rPr lang="en-US" dirty="0">
                <a:solidFill>
                  <a:schemeClr val="bg2">
                    <a:lumMod val="50000"/>
                    <a:lumOff val="50000"/>
                  </a:schemeClr>
                </a:solidFill>
                <a:latin typeface="Inter"/>
              </a:rPr>
              <a:t>The formula is : </a:t>
            </a:r>
          </a:p>
          <a:p>
            <a:pPr lvl="1"/>
            <a:endParaRPr lang="en-US" dirty="0"/>
          </a:p>
        </p:txBody>
      </p:sp>
      <p:pic>
        <p:nvPicPr>
          <p:cNvPr id="6" name="Picture 5">
            <a:extLst>
              <a:ext uri="{FF2B5EF4-FFF2-40B4-BE49-F238E27FC236}">
                <a16:creationId xmlns:a16="http://schemas.microsoft.com/office/drawing/2014/main" id="{1E1A9138-205F-4B7A-8E4D-495313CAAA7C}"/>
              </a:ext>
            </a:extLst>
          </p:cNvPr>
          <p:cNvPicPr>
            <a:picLocks noChangeAspect="1"/>
          </p:cNvPicPr>
          <p:nvPr/>
        </p:nvPicPr>
        <p:blipFill>
          <a:blip r:embed="rId2"/>
          <a:stretch>
            <a:fillRect/>
          </a:stretch>
        </p:blipFill>
        <p:spPr>
          <a:xfrm>
            <a:off x="1263408" y="2094094"/>
            <a:ext cx="7721529" cy="716581"/>
          </a:xfrm>
          <a:prstGeom prst="rect">
            <a:avLst/>
          </a:prstGeom>
        </p:spPr>
      </p:pic>
      <p:sp>
        <p:nvSpPr>
          <p:cNvPr id="7" name="TextBox 6">
            <a:extLst>
              <a:ext uri="{FF2B5EF4-FFF2-40B4-BE49-F238E27FC236}">
                <a16:creationId xmlns:a16="http://schemas.microsoft.com/office/drawing/2014/main" id="{DDA14BC5-E68B-44F9-AF61-3F4A96899004}"/>
              </a:ext>
            </a:extLst>
          </p:cNvPr>
          <p:cNvSpPr txBox="1"/>
          <p:nvPr/>
        </p:nvSpPr>
        <p:spPr>
          <a:xfrm>
            <a:off x="2842823" y="2686375"/>
            <a:ext cx="6670701" cy="379656"/>
          </a:xfrm>
          <a:prstGeom prst="rect">
            <a:avLst/>
          </a:prstGeom>
          <a:noFill/>
        </p:spPr>
        <p:txBody>
          <a:bodyPr wrap="square" rtlCol="0">
            <a:spAutoFit/>
          </a:bodyPr>
          <a:lstStyle/>
          <a:p>
            <a:pPr marL="380990" indent="-380990">
              <a:buClr>
                <a:schemeClr val="bg1"/>
              </a:buClr>
              <a:buFont typeface="Wingdings" panose="05000000000000000000" pitchFamily="2" charset="2"/>
              <a:buChar char="q"/>
            </a:pPr>
            <a:r>
              <a:rPr lang="en-US" sz="1867" i="1" dirty="0">
                <a:solidFill>
                  <a:schemeClr val="bg2"/>
                </a:solidFill>
              </a:rPr>
              <a:t>a1, a2,a3,.. are the values and n being how many values</a:t>
            </a:r>
          </a:p>
        </p:txBody>
      </p:sp>
      <p:sp>
        <p:nvSpPr>
          <p:cNvPr id="9" name="TextBox 8">
            <a:extLst>
              <a:ext uri="{FF2B5EF4-FFF2-40B4-BE49-F238E27FC236}">
                <a16:creationId xmlns:a16="http://schemas.microsoft.com/office/drawing/2014/main" id="{E971881A-FAFB-4FE7-9BFB-69C4060B8AA2}"/>
              </a:ext>
            </a:extLst>
          </p:cNvPr>
          <p:cNvSpPr txBox="1"/>
          <p:nvPr/>
        </p:nvSpPr>
        <p:spPr>
          <a:xfrm>
            <a:off x="93067" y="3405151"/>
            <a:ext cx="11559135" cy="1569660"/>
          </a:xfrm>
          <a:prstGeom prst="rect">
            <a:avLst/>
          </a:prstGeom>
          <a:noFill/>
        </p:spPr>
        <p:txBody>
          <a:bodyPr wrap="square" rtlCol="0">
            <a:spAutoFit/>
          </a:bodyPr>
          <a:lstStyle/>
          <a:p>
            <a:pPr>
              <a:buClr>
                <a:schemeClr val="bg1"/>
              </a:buClr>
            </a:pPr>
            <a:r>
              <a:rPr lang="en-US" sz="2400" b="1" dirty="0">
                <a:solidFill>
                  <a:schemeClr val="bg2">
                    <a:lumMod val="50000"/>
                    <a:lumOff val="50000"/>
                  </a:schemeClr>
                </a:solidFill>
                <a:latin typeface="Inter"/>
                <a:cs typeface="Arial" panose="020B0604020202020204" pitchFamily="34" charset="0"/>
              </a:rPr>
              <a:t>Why Harmonic Mean ?</a:t>
            </a:r>
          </a:p>
          <a:p>
            <a:pPr>
              <a:buClr>
                <a:schemeClr val="bg1"/>
              </a:buClr>
            </a:pPr>
            <a:endParaRPr lang="en-US" sz="2400" dirty="0">
              <a:solidFill>
                <a:schemeClr val="bg2">
                  <a:lumMod val="50000"/>
                  <a:lumOff val="50000"/>
                </a:schemeClr>
              </a:solidFill>
              <a:latin typeface="Inter"/>
              <a:cs typeface="Arial" panose="020B0604020202020204" pitchFamily="34" charset="0"/>
            </a:endParaRPr>
          </a:p>
          <a:p>
            <a:pPr marL="380990" indent="-380990">
              <a:buClr>
                <a:schemeClr val="bg1"/>
              </a:buClr>
              <a:buFont typeface="Wingdings" panose="05000000000000000000" pitchFamily="2" charset="2"/>
              <a:buChar char="q"/>
            </a:pPr>
            <a:r>
              <a:rPr lang="en-US" sz="2400" dirty="0">
                <a:solidFill>
                  <a:schemeClr val="bg2">
                    <a:lumMod val="50000"/>
                    <a:lumOff val="50000"/>
                  </a:schemeClr>
                </a:solidFill>
                <a:latin typeface="Inter"/>
                <a:cs typeface="Arial" panose="020B0604020202020204" pitchFamily="34" charset="0"/>
              </a:rPr>
              <a:t>Ex : Example : A car is travelling at 80 km/</a:t>
            </a:r>
            <a:r>
              <a:rPr lang="en-US" sz="2400" dirty="0" err="1">
                <a:solidFill>
                  <a:schemeClr val="bg2">
                    <a:lumMod val="50000"/>
                    <a:lumOff val="50000"/>
                  </a:schemeClr>
                </a:solidFill>
                <a:latin typeface="Inter"/>
                <a:cs typeface="Arial" panose="020B0604020202020204" pitchFamily="34" charset="0"/>
              </a:rPr>
              <a:t>hr</a:t>
            </a:r>
            <a:r>
              <a:rPr lang="en-US" sz="2400" dirty="0">
                <a:solidFill>
                  <a:schemeClr val="bg2">
                    <a:lumMod val="50000"/>
                    <a:lumOff val="50000"/>
                  </a:schemeClr>
                </a:solidFill>
                <a:latin typeface="Inter"/>
                <a:cs typeface="Arial" panose="020B0604020202020204" pitchFamily="34" charset="0"/>
              </a:rPr>
              <a:t> for 20km and then a another 20km at 50 km/</a:t>
            </a:r>
            <a:r>
              <a:rPr lang="en-US" sz="2400" dirty="0" err="1">
                <a:solidFill>
                  <a:schemeClr val="bg2">
                    <a:lumMod val="50000"/>
                    <a:lumOff val="50000"/>
                  </a:schemeClr>
                </a:solidFill>
                <a:latin typeface="Inter"/>
                <a:cs typeface="Arial" panose="020B0604020202020204" pitchFamily="34" charset="0"/>
              </a:rPr>
              <a:t>hr</a:t>
            </a:r>
            <a:r>
              <a:rPr lang="en-US" sz="2400" dirty="0">
                <a:solidFill>
                  <a:schemeClr val="bg2">
                    <a:lumMod val="50000"/>
                    <a:lumOff val="50000"/>
                  </a:schemeClr>
                </a:solidFill>
                <a:latin typeface="Inter"/>
                <a:cs typeface="Arial" panose="020B0604020202020204" pitchFamily="34" charset="0"/>
              </a:rPr>
              <a:t>, what is cars average speed? </a:t>
            </a:r>
          </a:p>
        </p:txBody>
      </p:sp>
    </p:spTree>
    <p:extLst>
      <p:ext uri="{BB962C8B-B14F-4D97-AF65-F5344CB8AC3E}">
        <p14:creationId xmlns:p14="http://schemas.microsoft.com/office/powerpoint/2010/main" val="3158841867"/>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CFC01E-EA6B-43E8-BBC9-193147DFA0CA}"/>
              </a:ext>
            </a:extLst>
          </p:cNvPr>
          <p:cNvSpPr>
            <a:spLocks noGrp="1"/>
          </p:cNvSpPr>
          <p:nvPr>
            <p:ph type="title"/>
          </p:nvPr>
        </p:nvSpPr>
        <p:spPr>
          <a:xfrm>
            <a:off x="133088" y="37308"/>
            <a:ext cx="10607040" cy="853440"/>
          </a:xfrm>
        </p:spPr>
        <p:txBody>
          <a:bodyPr/>
          <a:lstStyle/>
          <a:p>
            <a:r>
              <a:rPr lang="en-US" dirty="0"/>
              <a:t>Harmonic Mean</a:t>
            </a:r>
          </a:p>
        </p:txBody>
      </p:sp>
      <p:sp>
        <p:nvSpPr>
          <p:cNvPr id="4" name="Content Placeholder 3">
            <a:extLst>
              <a:ext uri="{FF2B5EF4-FFF2-40B4-BE49-F238E27FC236}">
                <a16:creationId xmlns:a16="http://schemas.microsoft.com/office/drawing/2014/main" id="{E713E63C-EBD1-4963-862B-4E27D9C33808}"/>
              </a:ext>
            </a:extLst>
          </p:cNvPr>
          <p:cNvSpPr>
            <a:spLocks noGrp="1"/>
          </p:cNvSpPr>
          <p:nvPr>
            <p:ph sz="half" idx="1"/>
          </p:nvPr>
        </p:nvSpPr>
        <p:spPr>
          <a:xfrm>
            <a:off x="133088" y="854255"/>
            <a:ext cx="11956536" cy="5149491"/>
          </a:xfrm>
        </p:spPr>
        <p:txBody>
          <a:bodyPr/>
          <a:lstStyle/>
          <a:p>
            <a:pPr>
              <a:buFont typeface="Wingdings" panose="05000000000000000000" pitchFamily="2" charset="2"/>
              <a:buChar char="q"/>
            </a:pPr>
            <a:r>
              <a:rPr lang="en-US" sz="2667" b="1" dirty="0">
                <a:solidFill>
                  <a:schemeClr val="bg2">
                    <a:lumMod val="50000"/>
                    <a:lumOff val="50000"/>
                  </a:schemeClr>
                </a:solidFill>
                <a:latin typeface="Inter"/>
              </a:rPr>
              <a:t>Find harmonic mean of 4, 6, 8, 100  </a:t>
            </a:r>
          </a:p>
          <a:p>
            <a:endParaRPr lang="en-US" dirty="0">
              <a:solidFill>
                <a:schemeClr val="bg2">
                  <a:lumMod val="50000"/>
                  <a:lumOff val="50000"/>
                </a:schemeClr>
              </a:solidFill>
              <a:latin typeface="Inter"/>
            </a:endParaRPr>
          </a:p>
        </p:txBody>
      </p:sp>
    </p:spTree>
    <p:extLst>
      <p:ext uri="{BB962C8B-B14F-4D97-AF65-F5344CB8AC3E}">
        <p14:creationId xmlns:p14="http://schemas.microsoft.com/office/powerpoint/2010/main" val="3983213857"/>
      </p:ext>
    </p:extLst>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BCE88-F32A-46E6-B441-39E55F5DE739}"/>
              </a:ext>
            </a:extLst>
          </p:cNvPr>
          <p:cNvSpPr>
            <a:spLocks noGrp="1"/>
          </p:cNvSpPr>
          <p:nvPr>
            <p:ph type="title"/>
          </p:nvPr>
        </p:nvSpPr>
        <p:spPr>
          <a:xfrm>
            <a:off x="0" y="0"/>
            <a:ext cx="10607040" cy="853440"/>
          </a:xfrm>
        </p:spPr>
        <p:txBody>
          <a:bodyPr/>
          <a:lstStyle/>
          <a:p>
            <a:r>
              <a:rPr lang="en-US" dirty="0"/>
              <a:t>Conclusion : Mean, Median, Mode</a:t>
            </a:r>
          </a:p>
        </p:txBody>
      </p:sp>
      <p:sp>
        <p:nvSpPr>
          <p:cNvPr id="4" name="Content Placeholder 3">
            <a:extLst>
              <a:ext uri="{FF2B5EF4-FFF2-40B4-BE49-F238E27FC236}">
                <a16:creationId xmlns:a16="http://schemas.microsoft.com/office/drawing/2014/main" id="{0A4320CA-59D2-4476-A3FC-D912E3A0EBDE}"/>
              </a:ext>
            </a:extLst>
          </p:cNvPr>
          <p:cNvSpPr>
            <a:spLocks noGrp="1"/>
          </p:cNvSpPr>
          <p:nvPr>
            <p:ph sz="half" idx="1"/>
          </p:nvPr>
        </p:nvSpPr>
        <p:spPr>
          <a:xfrm>
            <a:off x="207543" y="993041"/>
            <a:ext cx="10607040" cy="4023360"/>
          </a:xfrm>
        </p:spPr>
        <p:txBody>
          <a:bodyPr>
            <a:normAutofit lnSpcReduction="10000"/>
          </a:bodyPr>
          <a:lstStyle/>
          <a:p>
            <a:r>
              <a:rPr lang="en-US" sz="3733" b="1" dirty="0">
                <a:solidFill>
                  <a:schemeClr val="bg2">
                    <a:lumMod val="50000"/>
                    <a:lumOff val="50000"/>
                  </a:schemeClr>
                </a:solidFill>
              </a:rPr>
              <a:t>A measure of central tendency is a measure that tells us where the middle of a bunch of data lies. The three most common measures of central tendency are the mean, the median, and the mode.</a:t>
            </a:r>
          </a:p>
          <a:p>
            <a:r>
              <a:rPr lang="en-US" sz="3733" b="1" dirty="0">
                <a:solidFill>
                  <a:schemeClr val="bg2">
                    <a:lumMod val="50000"/>
                    <a:lumOff val="50000"/>
                  </a:schemeClr>
                </a:solidFill>
              </a:rPr>
              <a:t>Use the one that best suits your data. Or better still use all three !</a:t>
            </a:r>
          </a:p>
        </p:txBody>
      </p:sp>
    </p:spTree>
    <p:extLst>
      <p:ext uri="{BB962C8B-B14F-4D97-AF65-F5344CB8AC3E}">
        <p14:creationId xmlns:p14="http://schemas.microsoft.com/office/powerpoint/2010/main" val="142900990"/>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C462B2-9098-4F9E-B15A-40E3AA3A6352}"/>
              </a:ext>
            </a:extLst>
          </p:cNvPr>
          <p:cNvSpPr>
            <a:spLocks noGrp="1"/>
          </p:cNvSpPr>
          <p:nvPr>
            <p:ph type="title"/>
          </p:nvPr>
        </p:nvSpPr>
        <p:spPr>
          <a:xfrm>
            <a:off x="0" y="37308"/>
            <a:ext cx="10607040" cy="853440"/>
          </a:xfrm>
        </p:spPr>
        <p:txBody>
          <a:bodyPr/>
          <a:lstStyle/>
          <a:p>
            <a:r>
              <a:rPr lang="en-US" dirty="0"/>
              <a:t>The Mean from a Frequency Table</a:t>
            </a:r>
          </a:p>
        </p:txBody>
      </p:sp>
      <p:sp>
        <p:nvSpPr>
          <p:cNvPr id="4" name="Content Placeholder 3">
            <a:extLst>
              <a:ext uri="{FF2B5EF4-FFF2-40B4-BE49-F238E27FC236}">
                <a16:creationId xmlns:a16="http://schemas.microsoft.com/office/drawing/2014/main" id="{71B3E98E-0974-4A9D-8EB5-A9CB714EE14D}"/>
              </a:ext>
            </a:extLst>
          </p:cNvPr>
          <p:cNvSpPr>
            <a:spLocks noGrp="1"/>
          </p:cNvSpPr>
          <p:nvPr>
            <p:ph sz="half" idx="1"/>
          </p:nvPr>
        </p:nvSpPr>
        <p:spPr>
          <a:xfrm>
            <a:off x="65149" y="1021045"/>
            <a:ext cx="8971823" cy="1668641"/>
          </a:xfrm>
        </p:spPr>
        <p:txBody>
          <a:bodyPr/>
          <a:lstStyle/>
          <a:p>
            <a:r>
              <a:rPr lang="en-US" dirty="0">
                <a:solidFill>
                  <a:schemeClr val="bg2">
                    <a:lumMod val="50000"/>
                    <a:lumOff val="50000"/>
                  </a:schemeClr>
                </a:solidFill>
                <a:latin typeface="Inter"/>
              </a:rPr>
              <a:t>It is easy to calculate Mean : Add up all the numbers, then divide by how many numbers there are. </a:t>
            </a:r>
          </a:p>
          <a:p>
            <a:pPr lvl="1"/>
            <a:r>
              <a:rPr lang="en-US" sz="1867" dirty="0">
                <a:solidFill>
                  <a:schemeClr val="bg2">
                    <a:lumMod val="50000"/>
                    <a:lumOff val="50000"/>
                  </a:schemeClr>
                </a:solidFill>
                <a:latin typeface="Inter"/>
              </a:rPr>
              <a:t>Ex : What is the Mean of these numbers?</a:t>
            </a:r>
          </a:p>
          <a:p>
            <a:pPr lvl="2"/>
            <a:r>
              <a:rPr lang="en-US" sz="1867" dirty="0">
                <a:solidFill>
                  <a:schemeClr val="bg2">
                    <a:lumMod val="50000"/>
                    <a:lumOff val="50000"/>
                  </a:schemeClr>
                </a:solidFill>
                <a:latin typeface="Inter"/>
              </a:rPr>
              <a:t>6, 11, 7</a:t>
            </a:r>
          </a:p>
          <a:p>
            <a:pPr lvl="2"/>
            <a:r>
              <a:rPr lang="en-US" sz="1867" dirty="0">
                <a:solidFill>
                  <a:schemeClr val="bg2">
                    <a:lumMod val="50000"/>
                    <a:lumOff val="50000"/>
                  </a:schemeClr>
                </a:solidFill>
                <a:latin typeface="Inter"/>
              </a:rPr>
              <a:t>Add the numbers &amp; Divide by 3 : (6 + 11 + 7) / 3. </a:t>
            </a:r>
            <a:r>
              <a:rPr lang="en-US" sz="1867" b="1" i="1" dirty="0">
                <a:solidFill>
                  <a:schemeClr val="bg2">
                    <a:lumMod val="50000"/>
                    <a:lumOff val="50000"/>
                  </a:schemeClr>
                </a:solidFill>
                <a:latin typeface="Inter"/>
              </a:rPr>
              <a:t>Mean is 8 </a:t>
            </a:r>
          </a:p>
          <a:p>
            <a:pPr lvl="2"/>
            <a:endParaRPr lang="en-US" sz="1867" b="1" i="1" dirty="0">
              <a:solidFill>
                <a:schemeClr val="bg2">
                  <a:lumMod val="50000"/>
                  <a:lumOff val="50000"/>
                </a:schemeClr>
              </a:solidFill>
              <a:latin typeface="Inter"/>
            </a:endParaRPr>
          </a:p>
          <a:p>
            <a:pPr lvl="2"/>
            <a:endParaRPr lang="en-US" sz="1867" b="1" i="1" dirty="0">
              <a:solidFill>
                <a:schemeClr val="bg2">
                  <a:lumMod val="50000"/>
                  <a:lumOff val="50000"/>
                </a:schemeClr>
              </a:solidFill>
              <a:latin typeface="Inter"/>
            </a:endParaRPr>
          </a:p>
        </p:txBody>
      </p:sp>
      <p:sp>
        <p:nvSpPr>
          <p:cNvPr id="7" name="TextBox 6">
            <a:extLst>
              <a:ext uri="{FF2B5EF4-FFF2-40B4-BE49-F238E27FC236}">
                <a16:creationId xmlns:a16="http://schemas.microsoft.com/office/drawing/2014/main" id="{CBFD15FC-B763-4689-A555-569FEEEBA5DC}"/>
              </a:ext>
            </a:extLst>
          </p:cNvPr>
          <p:cNvSpPr txBox="1"/>
          <p:nvPr/>
        </p:nvSpPr>
        <p:spPr>
          <a:xfrm>
            <a:off x="65148" y="2940683"/>
            <a:ext cx="9267705" cy="666977"/>
          </a:xfrm>
          <a:prstGeom prst="rect">
            <a:avLst/>
          </a:prstGeom>
          <a:noFill/>
        </p:spPr>
        <p:txBody>
          <a:bodyPr wrap="square" rtlCol="0">
            <a:spAutoFit/>
          </a:bodyPr>
          <a:lstStyle/>
          <a:p>
            <a:pPr>
              <a:buClr>
                <a:schemeClr val="bg1"/>
              </a:buClr>
            </a:pPr>
            <a:r>
              <a:rPr lang="en-US" sz="1867" dirty="0">
                <a:solidFill>
                  <a:schemeClr val="bg2">
                    <a:lumMod val="50000"/>
                    <a:lumOff val="50000"/>
                  </a:schemeClr>
                </a:solidFill>
                <a:latin typeface="Inter"/>
                <a:cs typeface="Arial" panose="020B0604020202020204" pitchFamily="34" charset="0"/>
              </a:rPr>
              <a:t>But sometimes we don't have a simple list of numbers, it might be a </a:t>
            </a:r>
            <a:r>
              <a:rPr lang="en-US" sz="1867" b="1" dirty="0">
                <a:solidFill>
                  <a:schemeClr val="bg2">
                    <a:lumMod val="50000"/>
                    <a:lumOff val="50000"/>
                  </a:schemeClr>
                </a:solidFill>
                <a:latin typeface="Inter"/>
                <a:cs typeface="Arial" panose="020B0604020202020204" pitchFamily="34" charset="0"/>
              </a:rPr>
              <a:t>frequency table </a:t>
            </a:r>
            <a:r>
              <a:rPr lang="en-US" sz="1867" dirty="0">
                <a:solidFill>
                  <a:schemeClr val="bg2">
                    <a:lumMod val="50000"/>
                    <a:lumOff val="50000"/>
                  </a:schemeClr>
                </a:solidFill>
                <a:latin typeface="Inter"/>
                <a:cs typeface="Arial" panose="020B0604020202020204" pitchFamily="34" charset="0"/>
              </a:rPr>
              <a:t>like this (the "frequency" says how often they occur):</a:t>
            </a:r>
            <a:endParaRPr lang="en-US" sz="1867" dirty="0">
              <a:solidFill>
                <a:schemeClr val="bg2"/>
              </a:solidFill>
            </a:endParaRPr>
          </a:p>
        </p:txBody>
      </p:sp>
      <p:pic>
        <p:nvPicPr>
          <p:cNvPr id="9" name="Picture 8">
            <a:extLst>
              <a:ext uri="{FF2B5EF4-FFF2-40B4-BE49-F238E27FC236}">
                <a16:creationId xmlns:a16="http://schemas.microsoft.com/office/drawing/2014/main" id="{05C3B33C-63E7-4CA8-AE9F-A05162C62A6E}"/>
              </a:ext>
            </a:extLst>
          </p:cNvPr>
          <p:cNvPicPr>
            <a:picLocks noChangeAspect="1"/>
          </p:cNvPicPr>
          <p:nvPr/>
        </p:nvPicPr>
        <p:blipFill>
          <a:blip r:embed="rId2"/>
          <a:stretch>
            <a:fillRect/>
          </a:stretch>
        </p:blipFill>
        <p:spPr>
          <a:xfrm>
            <a:off x="9232416" y="2252483"/>
            <a:ext cx="2959585" cy="2504951"/>
          </a:xfrm>
          <a:prstGeom prst="rect">
            <a:avLst/>
          </a:prstGeom>
        </p:spPr>
      </p:pic>
      <p:sp>
        <p:nvSpPr>
          <p:cNvPr id="13" name="TextBox 12">
            <a:extLst>
              <a:ext uri="{FF2B5EF4-FFF2-40B4-BE49-F238E27FC236}">
                <a16:creationId xmlns:a16="http://schemas.microsoft.com/office/drawing/2014/main" id="{0A0536CE-DB43-41F4-904B-13D49F0C36A6}"/>
              </a:ext>
            </a:extLst>
          </p:cNvPr>
          <p:cNvSpPr txBox="1"/>
          <p:nvPr/>
        </p:nvSpPr>
        <p:spPr>
          <a:xfrm>
            <a:off x="214058" y="3889308"/>
            <a:ext cx="9418553" cy="461665"/>
          </a:xfrm>
          <a:prstGeom prst="rect">
            <a:avLst/>
          </a:prstGeom>
          <a:noFill/>
        </p:spPr>
        <p:txBody>
          <a:bodyPr wrap="square" rtlCol="0">
            <a:spAutoFit/>
          </a:bodyPr>
          <a:lstStyle/>
          <a:p>
            <a:pPr>
              <a:buClr>
                <a:schemeClr val="bg1"/>
              </a:buClr>
            </a:pPr>
            <a:r>
              <a:rPr lang="en-US" sz="2400" b="1" dirty="0">
                <a:solidFill>
                  <a:srgbClr val="007DB8"/>
                </a:solidFill>
                <a:latin typeface="Arial" panose="020B0604020202020204" pitchFamily="34" charset="0"/>
                <a:cs typeface="Arial" panose="020B0604020202020204" pitchFamily="34" charset="0"/>
              </a:rPr>
              <a:t>Method 1 : </a:t>
            </a:r>
            <a:r>
              <a:rPr lang="en-US" sz="2400" b="1" dirty="0">
                <a:solidFill>
                  <a:schemeClr val="bg2">
                    <a:lumMod val="50000"/>
                    <a:lumOff val="50000"/>
                  </a:schemeClr>
                </a:solidFill>
                <a:latin typeface="Arial" panose="020B0604020202020204" pitchFamily="34" charset="0"/>
                <a:cs typeface="Arial" panose="020B0604020202020204" pitchFamily="34" charset="0"/>
              </a:rPr>
              <a:t>We can list all the numbers</a:t>
            </a:r>
          </a:p>
        </p:txBody>
      </p:sp>
    </p:spTree>
    <p:extLst>
      <p:ext uri="{BB962C8B-B14F-4D97-AF65-F5344CB8AC3E}">
        <p14:creationId xmlns:p14="http://schemas.microsoft.com/office/powerpoint/2010/main" val="4077311094"/>
      </p:ext>
    </p:extLst>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47FCC-648D-405D-B74C-DC5AA1A2FA39}"/>
              </a:ext>
            </a:extLst>
          </p:cNvPr>
          <p:cNvSpPr>
            <a:spLocks noGrp="1"/>
          </p:cNvSpPr>
          <p:nvPr>
            <p:ph type="title"/>
          </p:nvPr>
        </p:nvSpPr>
        <p:spPr>
          <a:xfrm>
            <a:off x="0" y="0"/>
            <a:ext cx="10607040" cy="853440"/>
          </a:xfrm>
        </p:spPr>
        <p:txBody>
          <a:bodyPr>
            <a:normAutofit fontScale="90000"/>
          </a:bodyPr>
          <a:lstStyle/>
          <a:p>
            <a:r>
              <a:rPr lang="en-US" dirty="0"/>
              <a:t>The Mean from a Frequency Table - </a:t>
            </a:r>
            <a:r>
              <a:rPr lang="en-US" b="1" dirty="0">
                <a:solidFill>
                  <a:schemeClr val="bg2">
                    <a:lumMod val="50000"/>
                    <a:lumOff val="50000"/>
                  </a:schemeClr>
                </a:solidFill>
              </a:rPr>
              <a:t>Continued</a:t>
            </a:r>
          </a:p>
        </p:txBody>
      </p:sp>
      <p:sp>
        <p:nvSpPr>
          <p:cNvPr id="5" name="Content Placeholder 4">
            <a:extLst>
              <a:ext uri="{FF2B5EF4-FFF2-40B4-BE49-F238E27FC236}">
                <a16:creationId xmlns:a16="http://schemas.microsoft.com/office/drawing/2014/main" id="{CF1C8607-03FF-4056-8357-79E38FF403FC}"/>
              </a:ext>
            </a:extLst>
          </p:cNvPr>
          <p:cNvSpPr txBox="1">
            <a:spLocks noGrp="1"/>
          </p:cNvSpPr>
          <p:nvPr>
            <p:ph sz="half" idx="1"/>
          </p:nvPr>
        </p:nvSpPr>
        <p:spPr>
          <a:xfrm>
            <a:off x="161741" y="930364"/>
            <a:ext cx="10606617" cy="369332"/>
          </a:xfrm>
          <a:prstGeom prst="rect">
            <a:avLst/>
          </a:prstGeom>
          <a:noFill/>
        </p:spPr>
        <p:txBody>
          <a:bodyPr wrap="square" rtlCol="0">
            <a:spAutoFit/>
          </a:bodyPr>
          <a:lstStyle/>
          <a:p>
            <a:pPr marL="0" indent="0">
              <a:spcBef>
                <a:spcPts val="0"/>
              </a:spcBef>
              <a:buClr>
                <a:schemeClr val="bg1"/>
              </a:buClr>
              <a:buNone/>
            </a:pPr>
            <a:r>
              <a:rPr lang="en-US" sz="2400" b="1" dirty="0">
                <a:solidFill>
                  <a:srgbClr val="007DB8"/>
                </a:solidFill>
              </a:rPr>
              <a:t>Method 2 : </a:t>
            </a:r>
            <a:r>
              <a:rPr lang="en-US" sz="2400" b="1" dirty="0">
                <a:solidFill>
                  <a:schemeClr val="bg2">
                    <a:lumMod val="50000"/>
                    <a:lumOff val="50000"/>
                  </a:schemeClr>
                </a:solidFill>
              </a:rPr>
              <a:t>It is easier to use multiplication: </a:t>
            </a:r>
          </a:p>
        </p:txBody>
      </p:sp>
      <p:pic>
        <p:nvPicPr>
          <p:cNvPr id="6" name="Picture 5">
            <a:extLst>
              <a:ext uri="{FF2B5EF4-FFF2-40B4-BE49-F238E27FC236}">
                <a16:creationId xmlns:a16="http://schemas.microsoft.com/office/drawing/2014/main" id="{D12F7D83-572C-4B8E-B64D-C75A5FADBC65}"/>
              </a:ext>
            </a:extLst>
          </p:cNvPr>
          <p:cNvPicPr>
            <a:picLocks noChangeAspect="1"/>
          </p:cNvPicPr>
          <p:nvPr/>
        </p:nvPicPr>
        <p:blipFill>
          <a:blip r:embed="rId2"/>
          <a:stretch>
            <a:fillRect/>
          </a:stretch>
        </p:blipFill>
        <p:spPr>
          <a:xfrm>
            <a:off x="9127248" y="1002430"/>
            <a:ext cx="2959585" cy="2504951"/>
          </a:xfrm>
          <a:prstGeom prst="rect">
            <a:avLst/>
          </a:prstGeom>
        </p:spPr>
      </p:pic>
      <p:pic>
        <p:nvPicPr>
          <p:cNvPr id="8" name="Picture 7">
            <a:extLst>
              <a:ext uri="{FF2B5EF4-FFF2-40B4-BE49-F238E27FC236}">
                <a16:creationId xmlns:a16="http://schemas.microsoft.com/office/drawing/2014/main" id="{C513CFDB-808F-4A44-B1A6-71130FF08E65}"/>
              </a:ext>
            </a:extLst>
          </p:cNvPr>
          <p:cNvPicPr>
            <a:picLocks noChangeAspect="1"/>
          </p:cNvPicPr>
          <p:nvPr/>
        </p:nvPicPr>
        <p:blipFill>
          <a:blip r:embed="rId3"/>
          <a:stretch>
            <a:fillRect/>
          </a:stretch>
        </p:blipFill>
        <p:spPr>
          <a:xfrm>
            <a:off x="2292350" y="5110083"/>
            <a:ext cx="4575175" cy="1385965"/>
          </a:xfrm>
          <a:prstGeom prst="rect">
            <a:avLst/>
          </a:prstGeom>
        </p:spPr>
      </p:pic>
      <p:sp>
        <p:nvSpPr>
          <p:cNvPr id="9" name="TextBox 8">
            <a:extLst>
              <a:ext uri="{FF2B5EF4-FFF2-40B4-BE49-F238E27FC236}">
                <a16:creationId xmlns:a16="http://schemas.microsoft.com/office/drawing/2014/main" id="{45E930DC-77C7-4B7D-8DBE-B633640ED210}"/>
              </a:ext>
            </a:extLst>
          </p:cNvPr>
          <p:cNvSpPr txBox="1"/>
          <p:nvPr/>
        </p:nvSpPr>
        <p:spPr>
          <a:xfrm>
            <a:off x="413025" y="5556845"/>
            <a:ext cx="1781360" cy="461665"/>
          </a:xfrm>
          <a:prstGeom prst="rect">
            <a:avLst/>
          </a:prstGeom>
          <a:noFill/>
        </p:spPr>
        <p:txBody>
          <a:bodyPr wrap="square" rtlCol="0">
            <a:spAutoFit/>
          </a:bodyPr>
          <a:lstStyle/>
          <a:p>
            <a:pPr>
              <a:buClr>
                <a:schemeClr val="bg1"/>
              </a:buClr>
            </a:pPr>
            <a:r>
              <a:rPr lang="en-US" sz="2400" b="1" dirty="0">
                <a:solidFill>
                  <a:schemeClr val="accent1"/>
                </a:solidFill>
              </a:rPr>
              <a:t>Notation : </a:t>
            </a:r>
            <a:endParaRPr lang="en-US" sz="1867" b="1" dirty="0">
              <a:solidFill>
                <a:schemeClr val="accent1"/>
              </a:solidFill>
            </a:endParaRPr>
          </a:p>
        </p:txBody>
      </p:sp>
    </p:spTree>
    <p:extLst>
      <p:ext uri="{BB962C8B-B14F-4D97-AF65-F5344CB8AC3E}">
        <p14:creationId xmlns:p14="http://schemas.microsoft.com/office/powerpoint/2010/main" val="1490276767"/>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F4E04-8B25-441E-9B3E-D8CC37F76D72}"/>
              </a:ext>
            </a:extLst>
          </p:cNvPr>
          <p:cNvSpPr>
            <a:spLocks noGrp="1"/>
          </p:cNvSpPr>
          <p:nvPr>
            <p:ph type="title"/>
          </p:nvPr>
        </p:nvSpPr>
        <p:spPr>
          <a:xfrm>
            <a:off x="0" y="83307"/>
            <a:ext cx="10607040" cy="853440"/>
          </a:xfrm>
        </p:spPr>
        <p:txBody>
          <a:bodyPr>
            <a:normAutofit fontScale="90000"/>
          </a:bodyPr>
          <a:lstStyle/>
          <a:p>
            <a:r>
              <a:rPr lang="en-US" dirty="0"/>
              <a:t>Another example of Mean from a Freq Table</a:t>
            </a:r>
          </a:p>
        </p:txBody>
      </p:sp>
      <p:sp>
        <p:nvSpPr>
          <p:cNvPr id="4" name="Content Placeholder 3">
            <a:extLst>
              <a:ext uri="{FF2B5EF4-FFF2-40B4-BE49-F238E27FC236}">
                <a16:creationId xmlns:a16="http://schemas.microsoft.com/office/drawing/2014/main" id="{29F6A6DF-D96F-4002-BBEA-EFA3FFF52633}"/>
              </a:ext>
            </a:extLst>
          </p:cNvPr>
          <p:cNvSpPr>
            <a:spLocks noGrp="1"/>
          </p:cNvSpPr>
          <p:nvPr>
            <p:ph sz="half" idx="1"/>
          </p:nvPr>
        </p:nvSpPr>
        <p:spPr>
          <a:xfrm>
            <a:off x="114475" y="1095419"/>
            <a:ext cx="10607040" cy="4023360"/>
          </a:xfrm>
        </p:spPr>
        <p:txBody>
          <a:bodyPr/>
          <a:lstStyle/>
          <a:p>
            <a:pPr marL="0" indent="0">
              <a:buNone/>
            </a:pPr>
            <a:r>
              <a:rPr lang="en-US" dirty="0">
                <a:solidFill>
                  <a:schemeClr val="bg2">
                    <a:lumMod val="50000"/>
                    <a:lumOff val="50000"/>
                  </a:schemeClr>
                </a:solidFill>
                <a:latin typeface="Inter"/>
              </a:rPr>
              <a:t>Isabella went up and down the street to find out how many parking spaces each house has. Here are her results:</a:t>
            </a:r>
          </a:p>
          <a:p>
            <a:endParaRPr lang="en-US" dirty="0">
              <a:solidFill>
                <a:srgbClr val="333333"/>
              </a:solidFill>
              <a:latin typeface="Verdana" panose="020B0604030504040204" pitchFamily="34" charset="0"/>
            </a:endParaRPr>
          </a:p>
          <a:p>
            <a:pPr marL="0" indent="0">
              <a:buNone/>
            </a:pPr>
            <a:r>
              <a:rPr lang="en-US" dirty="0">
                <a:solidFill>
                  <a:schemeClr val="bg2">
                    <a:lumMod val="50000"/>
                    <a:lumOff val="50000"/>
                  </a:schemeClr>
                </a:solidFill>
                <a:latin typeface="Inter"/>
              </a:rPr>
              <a:t>What is the mean number of Parking Spaces?</a:t>
            </a:r>
          </a:p>
        </p:txBody>
      </p:sp>
      <p:pic>
        <p:nvPicPr>
          <p:cNvPr id="6" name="Picture 5">
            <a:extLst>
              <a:ext uri="{FF2B5EF4-FFF2-40B4-BE49-F238E27FC236}">
                <a16:creationId xmlns:a16="http://schemas.microsoft.com/office/drawing/2014/main" id="{56085063-4095-4C3B-B988-BF3C9872C324}"/>
              </a:ext>
            </a:extLst>
          </p:cNvPr>
          <p:cNvPicPr>
            <a:picLocks noChangeAspect="1"/>
          </p:cNvPicPr>
          <p:nvPr/>
        </p:nvPicPr>
        <p:blipFill>
          <a:blip r:embed="rId2"/>
          <a:stretch>
            <a:fillRect/>
          </a:stretch>
        </p:blipFill>
        <p:spPr>
          <a:xfrm>
            <a:off x="9171692" y="1486541"/>
            <a:ext cx="2905833" cy="2310663"/>
          </a:xfrm>
          <a:prstGeom prst="rect">
            <a:avLst/>
          </a:prstGeom>
        </p:spPr>
      </p:pic>
    </p:spTree>
    <p:extLst>
      <p:ext uri="{BB962C8B-B14F-4D97-AF65-F5344CB8AC3E}">
        <p14:creationId xmlns:p14="http://schemas.microsoft.com/office/powerpoint/2010/main" val="832144514"/>
      </p:ext>
    </p:extLst>
  </p:cSld>
  <p:clrMapOvr>
    <a:masterClrMapping/>
  </p:clrMapOvr>
  <p:transition spd="med">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8465CC-6FD4-40D5-ABD5-0BE485707A80}"/>
              </a:ext>
            </a:extLst>
          </p:cNvPr>
          <p:cNvSpPr>
            <a:spLocks noGrp="1"/>
          </p:cNvSpPr>
          <p:nvPr>
            <p:ph type="title"/>
          </p:nvPr>
        </p:nvSpPr>
        <p:spPr>
          <a:xfrm>
            <a:off x="0" y="37308"/>
            <a:ext cx="10607040" cy="853440"/>
          </a:xfrm>
        </p:spPr>
        <p:txBody>
          <a:bodyPr/>
          <a:lstStyle/>
          <a:p>
            <a:r>
              <a:rPr lang="en-US" dirty="0"/>
              <a:t>Weighted Mean</a:t>
            </a:r>
          </a:p>
        </p:txBody>
      </p:sp>
      <p:sp>
        <p:nvSpPr>
          <p:cNvPr id="4" name="Content Placeholder 3">
            <a:extLst>
              <a:ext uri="{FF2B5EF4-FFF2-40B4-BE49-F238E27FC236}">
                <a16:creationId xmlns:a16="http://schemas.microsoft.com/office/drawing/2014/main" id="{51F75A8C-3E42-4490-9BF3-6D0824C8CED9}"/>
              </a:ext>
            </a:extLst>
          </p:cNvPr>
          <p:cNvSpPr>
            <a:spLocks noGrp="1"/>
          </p:cNvSpPr>
          <p:nvPr>
            <p:ph sz="half" idx="1"/>
          </p:nvPr>
        </p:nvSpPr>
        <p:spPr>
          <a:xfrm>
            <a:off x="0" y="1038782"/>
            <a:ext cx="10339933" cy="5028503"/>
          </a:xfrm>
        </p:spPr>
        <p:txBody>
          <a:bodyPr/>
          <a:lstStyle/>
          <a:p>
            <a:pPr algn="l"/>
            <a:r>
              <a:rPr lang="en-US" dirty="0">
                <a:solidFill>
                  <a:schemeClr val="bg2">
                    <a:lumMod val="50000"/>
                    <a:lumOff val="50000"/>
                  </a:schemeClr>
                </a:solidFill>
                <a:latin typeface="Inter"/>
              </a:rPr>
              <a:t>When we do a simple </a:t>
            </a:r>
            <a:r>
              <a:rPr lang="en-US" dirty="0">
                <a:solidFill>
                  <a:schemeClr val="bg2">
                    <a:lumMod val="50000"/>
                    <a:lumOff val="50000"/>
                  </a:schemeClr>
                </a:solidFill>
                <a:latin typeface="Inter"/>
                <a:hlinkClick r:id="rId2">
                  <a:extLst>
                    <a:ext uri="{A12FA001-AC4F-418D-AE19-62706E023703}">
                      <ahyp:hlinkClr xmlns:ahyp="http://schemas.microsoft.com/office/drawing/2018/hyperlinkcolor" val="tx"/>
                    </a:ext>
                  </a:extLst>
                </a:hlinkClick>
              </a:rPr>
              <a:t>mean</a:t>
            </a:r>
            <a:r>
              <a:rPr lang="en-US" dirty="0">
                <a:solidFill>
                  <a:schemeClr val="bg2">
                    <a:lumMod val="50000"/>
                    <a:lumOff val="50000"/>
                  </a:schemeClr>
                </a:solidFill>
                <a:latin typeface="Inter"/>
              </a:rPr>
              <a:t> (or average), we give equal weight to each number.</a:t>
            </a:r>
          </a:p>
          <a:p>
            <a:pPr algn="l"/>
            <a:r>
              <a:rPr lang="en-US" dirty="0">
                <a:solidFill>
                  <a:schemeClr val="bg2">
                    <a:lumMod val="50000"/>
                    <a:lumOff val="50000"/>
                  </a:schemeClr>
                </a:solidFill>
                <a:latin typeface="Inter"/>
              </a:rPr>
              <a:t>What is the mean of 1, 2, 3 and 4 ? </a:t>
            </a:r>
          </a:p>
          <a:p>
            <a:endParaRPr lang="en-US" dirty="0"/>
          </a:p>
        </p:txBody>
      </p:sp>
      <p:pic>
        <p:nvPicPr>
          <p:cNvPr id="6" name="Picture 5">
            <a:extLst>
              <a:ext uri="{FF2B5EF4-FFF2-40B4-BE49-F238E27FC236}">
                <a16:creationId xmlns:a16="http://schemas.microsoft.com/office/drawing/2014/main" id="{37AAEF72-07AA-4AF0-B6D5-AC806A1EAAEA}"/>
              </a:ext>
            </a:extLst>
          </p:cNvPr>
          <p:cNvPicPr>
            <a:picLocks noChangeAspect="1"/>
          </p:cNvPicPr>
          <p:nvPr/>
        </p:nvPicPr>
        <p:blipFill>
          <a:blip r:embed="rId3"/>
          <a:stretch>
            <a:fillRect/>
          </a:stretch>
        </p:blipFill>
        <p:spPr>
          <a:xfrm>
            <a:off x="10114976" y="1038782"/>
            <a:ext cx="2077025" cy="1436847"/>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5E3902C2-407B-4E3B-A0AE-0326C7AAF021}"/>
                  </a:ext>
                </a:extLst>
              </p14:cNvPr>
              <p14:cNvContentPartPr/>
              <p14:nvPr/>
            </p14:nvContentPartPr>
            <p14:xfrm>
              <a:off x="2825760" y="2698560"/>
              <a:ext cx="7074240" cy="731040"/>
            </p14:xfrm>
          </p:contentPart>
        </mc:Choice>
        <mc:Fallback>
          <p:pic>
            <p:nvPicPr>
              <p:cNvPr id="2" name="Ink 1">
                <a:extLst>
                  <a:ext uri="{FF2B5EF4-FFF2-40B4-BE49-F238E27FC236}">
                    <a16:creationId xmlns:a16="http://schemas.microsoft.com/office/drawing/2014/main" id="{5E3902C2-407B-4E3B-A0AE-0326C7AAF021}"/>
                  </a:ext>
                </a:extLst>
              </p:cNvPr>
              <p:cNvPicPr/>
              <p:nvPr/>
            </p:nvPicPr>
            <p:blipFill>
              <a:blip r:embed="rId5"/>
              <a:stretch>
                <a:fillRect/>
              </a:stretch>
            </p:blipFill>
            <p:spPr>
              <a:xfrm>
                <a:off x="2816400" y="2689197"/>
                <a:ext cx="7092961" cy="749766"/>
              </a:xfrm>
              <a:prstGeom prst="rect">
                <a:avLst/>
              </a:prstGeom>
            </p:spPr>
          </p:pic>
        </mc:Fallback>
      </mc:AlternateContent>
    </p:spTree>
    <p:extLst>
      <p:ext uri="{BB962C8B-B14F-4D97-AF65-F5344CB8AC3E}">
        <p14:creationId xmlns:p14="http://schemas.microsoft.com/office/powerpoint/2010/main" val="42168664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07897-F972-49B5-A559-CC66DAECA555}"/>
              </a:ext>
            </a:extLst>
          </p:cNvPr>
          <p:cNvSpPr>
            <a:spLocks noGrp="1"/>
          </p:cNvSpPr>
          <p:nvPr>
            <p:ph type="title"/>
          </p:nvPr>
        </p:nvSpPr>
        <p:spPr>
          <a:xfrm>
            <a:off x="95859" y="37308"/>
            <a:ext cx="10607040" cy="853440"/>
          </a:xfrm>
        </p:spPr>
        <p:txBody>
          <a:bodyPr/>
          <a:lstStyle/>
          <a:p>
            <a:r>
              <a:rPr lang="en-US" dirty="0"/>
              <a:t>Weighted Mean</a:t>
            </a:r>
          </a:p>
        </p:txBody>
      </p:sp>
      <p:sp>
        <p:nvSpPr>
          <p:cNvPr id="4" name="Content Placeholder 3">
            <a:extLst>
              <a:ext uri="{FF2B5EF4-FFF2-40B4-BE49-F238E27FC236}">
                <a16:creationId xmlns:a16="http://schemas.microsoft.com/office/drawing/2014/main" id="{8B99626D-700C-462B-8E1D-46027AF50B0A}"/>
              </a:ext>
            </a:extLst>
          </p:cNvPr>
          <p:cNvSpPr>
            <a:spLocks noGrp="1"/>
          </p:cNvSpPr>
          <p:nvPr>
            <p:ph sz="half" idx="1"/>
          </p:nvPr>
        </p:nvSpPr>
        <p:spPr>
          <a:xfrm>
            <a:off x="95859" y="1011656"/>
            <a:ext cx="11007237" cy="4023360"/>
          </a:xfrm>
        </p:spPr>
        <p:txBody>
          <a:bodyPr/>
          <a:lstStyle/>
          <a:p>
            <a:r>
              <a:rPr lang="en-US" dirty="0">
                <a:solidFill>
                  <a:schemeClr val="bg2">
                    <a:lumMod val="50000"/>
                    <a:lumOff val="50000"/>
                  </a:schemeClr>
                </a:solidFill>
                <a:latin typeface="Inter"/>
              </a:rPr>
              <a:t>Now let's change the weight of 3 to 0.7, and the weights of the other numbers to 0.1 </a:t>
            </a:r>
            <a:r>
              <a:rPr lang="en-US" sz="2400" b="1" dirty="0">
                <a:solidFill>
                  <a:schemeClr val="bg2">
                    <a:lumMod val="50000"/>
                    <a:lumOff val="50000"/>
                  </a:schemeClr>
                </a:solidFill>
                <a:latin typeface="Inter"/>
              </a:rPr>
              <a:t>so the total of the weights is still 1:</a:t>
            </a:r>
            <a:endParaRPr lang="en-US" b="1" dirty="0">
              <a:solidFill>
                <a:schemeClr val="bg2">
                  <a:lumMod val="50000"/>
                  <a:lumOff val="50000"/>
                </a:schemeClr>
              </a:solidFill>
              <a:latin typeface="Inter"/>
            </a:endParaRPr>
          </a:p>
        </p:txBody>
      </p:sp>
      <p:pic>
        <p:nvPicPr>
          <p:cNvPr id="6" name="Picture 5">
            <a:extLst>
              <a:ext uri="{FF2B5EF4-FFF2-40B4-BE49-F238E27FC236}">
                <a16:creationId xmlns:a16="http://schemas.microsoft.com/office/drawing/2014/main" id="{0A5A856D-0F57-43ED-9EC3-EAA12B3858F9}"/>
              </a:ext>
            </a:extLst>
          </p:cNvPr>
          <p:cNvPicPr>
            <a:picLocks noChangeAspect="1"/>
          </p:cNvPicPr>
          <p:nvPr/>
        </p:nvPicPr>
        <p:blipFill>
          <a:blip r:embed="rId2"/>
          <a:stretch>
            <a:fillRect/>
          </a:stretch>
        </p:blipFill>
        <p:spPr>
          <a:xfrm>
            <a:off x="9622773" y="1808103"/>
            <a:ext cx="2569228" cy="2119397"/>
          </a:xfrm>
          <a:prstGeom prst="rect">
            <a:avLst/>
          </a:prstGeom>
        </p:spPr>
      </p:pic>
      <p:sp>
        <p:nvSpPr>
          <p:cNvPr id="7" name="TextBox 6">
            <a:extLst>
              <a:ext uri="{FF2B5EF4-FFF2-40B4-BE49-F238E27FC236}">
                <a16:creationId xmlns:a16="http://schemas.microsoft.com/office/drawing/2014/main" id="{586C4650-B4D2-4078-9665-6627666C6CB4}"/>
              </a:ext>
            </a:extLst>
          </p:cNvPr>
          <p:cNvSpPr txBox="1"/>
          <p:nvPr/>
        </p:nvSpPr>
        <p:spPr>
          <a:xfrm>
            <a:off x="1844154" y="5975012"/>
            <a:ext cx="7110449" cy="461665"/>
          </a:xfrm>
          <a:prstGeom prst="rect">
            <a:avLst/>
          </a:prstGeom>
          <a:noFill/>
        </p:spPr>
        <p:txBody>
          <a:bodyPr wrap="square" rtlCol="0">
            <a:spAutoFit/>
          </a:bodyPr>
          <a:lstStyle/>
          <a:p>
            <a:pPr>
              <a:buClr>
                <a:schemeClr val="bg1"/>
              </a:buClr>
            </a:pPr>
            <a:r>
              <a:rPr lang="en-US" sz="2400" b="1" dirty="0">
                <a:solidFill>
                  <a:schemeClr val="accent1"/>
                </a:solidFill>
              </a:rPr>
              <a:t>When should I use Weighted mean ? </a:t>
            </a:r>
          </a:p>
        </p:txBody>
      </p:sp>
      <p:pic>
        <p:nvPicPr>
          <p:cNvPr id="9" name="Picture 8">
            <a:extLst>
              <a:ext uri="{FF2B5EF4-FFF2-40B4-BE49-F238E27FC236}">
                <a16:creationId xmlns:a16="http://schemas.microsoft.com/office/drawing/2014/main" id="{515CA4EC-C0A9-4FF0-B09F-3C87F72A000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333812" y="5405716"/>
            <a:ext cx="2288960" cy="1353347"/>
          </a:xfrm>
          <a:prstGeom prst="rect">
            <a:avLst/>
          </a:prstGeom>
        </p:spPr>
      </p:pic>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44122854-9ECC-4BA5-9FB4-48BA0937D0C1}"/>
                  </a:ext>
                </a:extLst>
              </p14:cNvPr>
              <p14:cNvContentPartPr/>
              <p14:nvPr/>
            </p14:nvContentPartPr>
            <p14:xfrm>
              <a:off x="3321120" y="1365120"/>
              <a:ext cx="5156640" cy="1600800"/>
            </p14:xfrm>
          </p:contentPart>
        </mc:Choice>
        <mc:Fallback>
          <p:pic>
            <p:nvPicPr>
              <p:cNvPr id="2" name="Ink 1">
                <a:extLst>
                  <a:ext uri="{FF2B5EF4-FFF2-40B4-BE49-F238E27FC236}">
                    <a16:creationId xmlns:a16="http://schemas.microsoft.com/office/drawing/2014/main" id="{44122854-9ECC-4BA5-9FB4-48BA0937D0C1}"/>
                  </a:ext>
                </a:extLst>
              </p:cNvPr>
              <p:cNvPicPr/>
              <p:nvPr/>
            </p:nvPicPr>
            <p:blipFill>
              <a:blip r:embed="rId6"/>
              <a:stretch>
                <a:fillRect/>
              </a:stretch>
            </p:blipFill>
            <p:spPr>
              <a:xfrm>
                <a:off x="3311760" y="1355759"/>
                <a:ext cx="5175360" cy="1619523"/>
              </a:xfrm>
              <a:prstGeom prst="rect">
                <a:avLst/>
              </a:prstGeom>
            </p:spPr>
          </p:pic>
        </mc:Fallback>
      </mc:AlternateContent>
    </p:spTree>
    <p:extLst>
      <p:ext uri="{BB962C8B-B14F-4D97-AF65-F5344CB8AC3E}">
        <p14:creationId xmlns:p14="http://schemas.microsoft.com/office/powerpoint/2010/main" val="3603259149"/>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2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2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029215" y="232566"/>
            <a:ext cx="1954064" cy="1302709"/>
          </a:xfrm>
          <a:prstGeom prst="rect">
            <a:avLst/>
          </a:prstGeom>
        </p:spPr>
      </p:pic>
    </p:spTree>
    <p:extLst>
      <p:ext uri="{BB962C8B-B14F-4D97-AF65-F5344CB8AC3E}">
        <p14:creationId xmlns:p14="http://schemas.microsoft.com/office/powerpoint/2010/main" val="2976966562"/>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8170F-5441-4F00-8D1A-03BC63DB25FC}"/>
              </a:ext>
            </a:extLst>
          </p:cNvPr>
          <p:cNvSpPr>
            <a:spLocks noGrp="1"/>
          </p:cNvSpPr>
          <p:nvPr>
            <p:ph type="title"/>
          </p:nvPr>
        </p:nvSpPr>
        <p:spPr>
          <a:xfrm>
            <a:off x="0" y="0"/>
            <a:ext cx="10607040" cy="853440"/>
          </a:xfrm>
        </p:spPr>
        <p:txBody>
          <a:bodyPr/>
          <a:lstStyle/>
          <a:p>
            <a:r>
              <a:rPr lang="en-US" dirty="0"/>
              <a:t>Weighted Mean – Example </a:t>
            </a:r>
          </a:p>
        </p:txBody>
      </p:sp>
      <p:pic>
        <p:nvPicPr>
          <p:cNvPr id="6" name="Content Placeholder 5" descr="A camera on a tripod&#10;&#10;Description automatically generated">
            <a:extLst>
              <a:ext uri="{FF2B5EF4-FFF2-40B4-BE49-F238E27FC236}">
                <a16:creationId xmlns:a16="http://schemas.microsoft.com/office/drawing/2014/main" id="{5FA604C4-BA58-4823-9F14-A808A90C361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571459" y="1709249"/>
            <a:ext cx="3508860" cy="2702207"/>
          </a:xfrm>
        </p:spPr>
      </p:pic>
      <p:sp>
        <p:nvSpPr>
          <p:cNvPr id="7" name="TextBox 6">
            <a:extLst>
              <a:ext uri="{FF2B5EF4-FFF2-40B4-BE49-F238E27FC236}">
                <a16:creationId xmlns:a16="http://schemas.microsoft.com/office/drawing/2014/main" id="{9BE58714-D8FF-4A6D-B0FC-0DB2E076BB69}"/>
              </a:ext>
            </a:extLst>
          </p:cNvPr>
          <p:cNvSpPr txBox="1"/>
          <p:nvPr/>
        </p:nvSpPr>
        <p:spPr>
          <a:xfrm>
            <a:off x="0" y="853441"/>
            <a:ext cx="8571459" cy="2842445"/>
          </a:xfrm>
          <a:prstGeom prst="rect">
            <a:avLst/>
          </a:prstGeom>
          <a:noFill/>
        </p:spPr>
        <p:txBody>
          <a:bodyPr wrap="square" rtlCol="0">
            <a:spAutoFit/>
          </a:bodyPr>
          <a:lstStyle/>
          <a:p>
            <a:pPr>
              <a:buClr>
                <a:schemeClr val="bg1"/>
              </a:buClr>
            </a:pPr>
            <a:r>
              <a:rPr lang="en-US" sz="1867" dirty="0">
                <a:solidFill>
                  <a:schemeClr val="bg2">
                    <a:lumMod val="50000"/>
                    <a:lumOff val="50000"/>
                  </a:schemeClr>
                </a:solidFill>
                <a:latin typeface="Inter"/>
                <a:cs typeface="Arial" panose="020B0604020202020204" pitchFamily="34" charset="0"/>
              </a:rPr>
              <a:t>Weighted means can help with decisions where some things are more important than others:</a:t>
            </a:r>
          </a:p>
          <a:p>
            <a:pPr>
              <a:buClr>
                <a:schemeClr val="bg1"/>
              </a:buClr>
            </a:pPr>
            <a:endParaRPr lang="en-US" sz="1467" dirty="0">
              <a:solidFill>
                <a:srgbClr val="333333"/>
              </a:solidFill>
              <a:latin typeface="Verdana" panose="020B0604030504040204" pitchFamily="34" charset="0"/>
            </a:endParaRPr>
          </a:p>
          <a:p>
            <a:pPr>
              <a:buClr>
                <a:schemeClr val="bg1"/>
              </a:buClr>
            </a:pPr>
            <a:r>
              <a:rPr lang="en-US" sz="1867" b="1" dirty="0">
                <a:solidFill>
                  <a:schemeClr val="bg2">
                    <a:lumMod val="50000"/>
                    <a:lumOff val="50000"/>
                  </a:schemeClr>
                </a:solidFill>
                <a:latin typeface="Inter"/>
                <a:cs typeface="Arial" panose="020B0604020202020204" pitchFamily="34" charset="0"/>
              </a:rPr>
              <a:t>Question : </a:t>
            </a:r>
            <a:r>
              <a:rPr lang="en-US" sz="1867" dirty="0">
                <a:solidFill>
                  <a:schemeClr val="bg2">
                    <a:lumMod val="50000"/>
                    <a:lumOff val="50000"/>
                  </a:schemeClr>
                </a:solidFill>
                <a:latin typeface="Inter"/>
                <a:cs typeface="Arial" panose="020B0604020202020204" pitchFamily="34" charset="0"/>
              </a:rPr>
              <a:t>Mike wants to buy a new camera, and decides on the following rating system:</a:t>
            </a:r>
          </a:p>
          <a:p>
            <a:pPr>
              <a:buClr>
                <a:schemeClr val="bg1"/>
              </a:buClr>
            </a:pPr>
            <a:endParaRPr lang="en-US" sz="1467" dirty="0">
              <a:solidFill>
                <a:srgbClr val="333333"/>
              </a:solidFill>
              <a:latin typeface="Verdana" panose="020B0604030504040204" pitchFamily="34" charset="0"/>
            </a:endParaRPr>
          </a:p>
          <a:p>
            <a:pPr>
              <a:buClr>
                <a:schemeClr val="bg1"/>
              </a:buClr>
            </a:pPr>
            <a:r>
              <a:rPr lang="en-US" sz="1867" dirty="0">
                <a:solidFill>
                  <a:schemeClr val="bg2">
                    <a:lumMod val="50000"/>
                    <a:lumOff val="50000"/>
                  </a:schemeClr>
                </a:solidFill>
                <a:latin typeface="Inter"/>
                <a:cs typeface="Arial" panose="020B0604020202020204" pitchFamily="34" charset="0"/>
              </a:rPr>
              <a:t>Image Quality </a:t>
            </a:r>
            <a:r>
              <a:rPr lang="en-US" sz="1867" b="1" dirty="0">
                <a:solidFill>
                  <a:schemeClr val="bg2">
                    <a:lumMod val="50000"/>
                    <a:lumOff val="50000"/>
                  </a:schemeClr>
                </a:solidFill>
                <a:latin typeface="Inter"/>
                <a:cs typeface="Arial" panose="020B0604020202020204" pitchFamily="34" charset="0"/>
              </a:rPr>
              <a:t>50%</a:t>
            </a:r>
          </a:p>
          <a:p>
            <a:pPr>
              <a:buClr>
                <a:schemeClr val="bg1"/>
              </a:buClr>
            </a:pPr>
            <a:r>
              <a:rPr lang="en-US" sz="1867" dirty="0">
                <a:solidFill>
                  <a:schemeClr val="bg2">
                    <a:lumMod val="50000"/>
                    <a:lumOff val="50000"/>
                  </a:schemeClr>
                </a:solidFill>
                <a:latin typeface="Inter"/>
                <a:cs typeface="Arial" panose="020B0604020202020204" pitchFamily="34" charset="0"/>
              </a:rPr>
              <a:t>Battery Life     </a:t>
            </a:r>
            <a:r>
              <a:rPr lang="en-US" sz="1867" b="1" dirty="0">
                <a:solidFill>
                  <a:schemeClr val="bg2">
                    <a:lumMod val="50000"/>
                    <a:lumOff val="50000"/>
                  </a:schemeClr>
                </a:solidFill>
                <a:latin typeface="Inter"/>
                <a:cs typeface="Arial" panose="020B0604020202020204" pitchFamily="34" charset="0"/>
              </a:rPr>
              <a:t>30%</a:t>
            </a:r>
          </a:p>
          <a:p>
            <a:pPr>
              <a:buClr>
                <a:schemeClr val="bg1"/>
              </a:buClr>
            </a:pPr>
            <a:r>
              <a:rPr lang="en-US" sz="1867" dirty="0">
                <a:solidFill>
                  <a:schemeClr val="bg2">
                    <a:lumMod val="50000"/>
                    <a:lumOff val="50000"/>
                  </a:schemeClr>
                </a:solidFill>
                <a:latin typeface="Inter"/>
                <a:cs typeface="Arial" panose="020B0604020202020204" pitchFamily="34" charset="0"/>
              </a:rPr>
              <a:t>Zoom Range   </a:t>
            </a:r>
            <a:r>
              <a:rPr lang="en-US" sz="1867" b="1" dirty="0">
                <a:solidFill>
                  <a:schemeClr val="bg2">
                    <a:lumMod val="50000"/>
                    <a:lumOff val="50000"/>
                  </a:schemeClr>
                </a:solidFill>
                <a:latin typeface="Inter"/>
                <a:cs typeface="Arial" panose="020B0604020202020204" pitchFamily="34" charset="0"/>
              </a:rPr>
              <a:t>20%</a:t>
            </a:r>
          </a:p>
          <a:p>
            <a:pPr>
              <a:buClr>
                <a:schemeClr val="bg1"/>
              </a:buClr>
            </a:pPr>
            <a:endParaRPr lang="en-US" sz="1867" dirty="0">
              <a:solidFill>
                <a:schemeClr val="bg2"/>
              </a:solidFill>
            </a:endParaRPr>
          </a:p>
        </p:txBody>
      </p:sp>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C682BA41-6088-4806-85C3-686DBCD0E783}"/>
                  </a:ext>
                </a:extLst>
              </p14:cNvPr>
              <p14:cNvContentPartPr/>
              <p14:nvPr/>
            </p14:nvContentPartPr>
            <p14:xfrm>
              <a:off x="368160" y="2546400"/>
              <a:ext cx="7989120" cy="3810240"/>
            </p14:xfrm>
          </p:contentPart>
        </mc:Choice>
        <mc:Fallback>
          <p:pic>
            <p:nvPicPr>
              <p:cNvPr id="2" name="Ink 1">
                <a:extLst>
                  <a:ext uri="{FF2B5EF4-FFF2-40B4-BE49-F238E27FC236}">
                    <a16:creationId xmlns:a16="http://schemas.microsoft.com/office/drawing/2014/main" id="{C682BA41-6088-4806-85C3-686DBCD0E783}"/>
                  </a:ext>
                </a:extLst>
              </p:cNvPr>
              <p:cNvPicPr/>
              <p:nvPr/>
            </p:nvPicPr>
            <p:blipFill>
              <a:blip r:embed="rId5"/>
              <a:stretch>
                <a:fillRect/>
              </a:stretch>
            </p:blipFill>
            <p:spPr>
              <a:xfrm>
                <a:off x="358800" y="2537040"/>
                <a:ext cx="8007840" cy="3828960"/>
              </a:xfrm>
              <a:prstGeom prst="rect">
                <a:avLst/>
              </a:prstGeom>
            </p:spPr>
          </p:pic>
        </mc:Fallback>
      </mc:AlternateContent>
    </p:spTree>
    <p:extLst>
      <p:ext uri="{BB962C8B-B14F-4D97-AF65-F5344CB8AC3E}">
        <p14:creationId xmlns:p14="http://schemas.microsoft.com/office/powerpoint/2010/main" val="2701245991"/>
      </p:ext>
    </p:extLst>
  </p:cSld>
  <p:clrMapOvr>
    <a:masterClrMapping/>
  </p:clrMapOvr>
  <p:transition spd="med">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78E4DC-81E1-4BC8-9DB3-611736E8964A}"/>
              </a:ext>
            </a:extLst>
          </p:cNvPr>
          <p:cNvSpPr>
            <a:spLocks noGrp="1"/>
          </p:cNvSpPr>
          <p:nvPr>
            <p:ph type="title"/>
          </p:nvPr>
        </p:nvSpPr>
        <p:spPr>
          <a:xfrm>
            <a:off x="402987" y="310557"/>
            <a:ext cx="10607040" cy="853440"/>
          </a:xfrm>
        </p:spPr>
        <p:txBody>
          <a:bodyPr/>
          <a:lstStyle/>
          <a:p>
            <a:r>
              <a:rPr lang="en-US" dirty="0"/>
              <a:t>What if the weights don’t add to 1 ?</a:t>
            </a:r>
          </a:p>
        </p:txBody>
      </p:sp>
      <p:pic>
        <p:nvPicPr>
          <p:cNvPr id="6" name="Content Placeholder 5" descr="A yellow hat with black text&#10;&#10;Description automatically generated with low confidence">
            <a:extLst>
              <a:ext uri="{FF2B5EF4-FFF2-40B4-BE49-F238E27FC236}">
                <a16:creationId xmlns:a16="http://schemas.microsoft.com/office/drawing/2014/main" id="{B1B54872-4DCF-42B3-BC9A-C2750AC2AF5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208231" y="120535"/>
            <a:ext cx="1228935" cy="1233487"/>
          </a:xfrm>
        </p:spPr>
      </p:pic>
      <p:sp>
        <p:nvSpPr>
          <p:cNvPr id="2" name="TextBox 1">
            <a:extLst>
              <a:ext uri="{FF2B5EF4-FFF2-40B4-BE49-F238E27FC236}">
                <a16:creationId xmlns:a16="http://schemas.microsoft.com/office/drawing/2014/main" id="{AE6428D7-E78E-45E0-A9C6-6B3B8B9B4A7E}"/>
              </a:ext>
            </a:extLst>
          </p:cNvPr>
          <p:cNvSpPr txBox="1"/>
          <p:nvPr/>
        </p:nvSpPr>
        <p:spPr>
          <a:xfrm>
            <a:off x="241979" y="1354021"/>
            <a:ext cx="8971823" cy="4053289"/>
          </a:xfrm>
          <a:prstGeom prst="rect">
            <a:avLst/>
          </a:prstGeom>
          <a:noFill/>
        </p:spPr>
        <p:txBody>
          <a:bodyPr wrap="square" rtlCol="0">
            <a:spAutoFit/>
          </a:bodyPr>
          <a:lstStyle/>
          <a:p>
            <a:pPr>
              <a:buClr>
                <a:schemeClr val="bg1"/>
              </a:buClr>
            </a:pPr>
            <a:r>
              <a:rPr lang="en-US" sz="1867" dirty="0">
                <a:solidFill>
                  <a:schemeClr val="bg2">
                    <a:lumMod val="50000"/>
                    <a:lumOff val="50000"/>
                  </a:schemeClr>
                </a:solidFill>
                <a:latin typeface="Inter"/>
                <a:cs typeface="Arial" panose="020B0604020202020204" pitchFamily="34" charset="0"/>
              </a:rPr>
              <a:t>When the weights don't add to 1, divide by the sum of weights.</a:t>
            </a:r>
          </a:p>
          <a:p>
            <a:pPr>
              <a:buClr>
                <a:schemeClr val="bg1"/>
              </a:buClr>
            </a:pPr>
            <a:endParaRPr lang="en-US" sz="1867" dirty="0">
              <a:solidFill>
                <a:schemeClr val="bg2">
                  <a:lumMod val="50000"/>
                  <a:lumOff val="50000"/>
                </a:schemeClr>
              </a:solidFill>
              <a:latin typeface="Inter"/>
              <a:cs typeface="Arial" panose="020B0604020202020204" pitchFamily="34" charset="0"/>
            </a:endParaRPr>
          </a:p>
          <a:p>
            <a:pPr>
              <a:buClr>
                <a:schemeClr val="bg1"/>
              </a:buClr>
            </a:pPr>
            <a:r>
              <a:rPr lang="en-US" sz="1867" dirty="0">
                <a:solidFill>
                  <a:schemeClr val="bg2">
                    <a:lumMod val="50000"/>
                    <a:lumOff val="50000"/>
                  </a:schemeClr>
                </a:solidFill>
                <a:latin typeface="Inter"/>
                <a:cs typeface="Arial" panose="020B0604020202020204" pitchFamily="34" charset="0"/>
              </a:rPr>
              <a:t>Example: Adrian usually eats lunch 7 times a week, but some weeks only gets 1, 2, or 5 lunches.</a:t>
            </a:r>
          </a:p>
          <a:p>
            <a:pPr>
              <a:buClr>
                <a:schemeClr val="bg1"/>
              </a:buClr>
            </a:pPr>
            <a:endParaRPr lang="en-US" sz="1467" dirty="0">
              <a:solidFill>
                <a:srgbClr val="333333"/>
              </a:solidFill>
              <a:latin typeface="Verdana" panose="020B0604030504040204" pitchFamily="34" charset="0"/>
            </a:endParaRPr>
          </a:p>
          <a:p>
            <a:pPr algn="l"/>
            <a:r>
              <a:rPr lang="en-US" sz="1867" dirty="0">
                <a:solidFill>
                  <a:schemeClr val="bg2">
                    <a:lumMod val="50000"/>
                    <a:lumOff val="50000"/>
                  </a:schemeClr>
                </a:solidFill>
                <a:latin typeface="Inter"/>
                <a:cs typeface="Arial" panose="020B0604020202020204" pitchFamily="34" charset="0"/>
              </a:rPr>
              <a:t>Alex had lunch:</a:t>
            </a:r>
          </a:p>
          <a:p>
            <a:pPr marL="380990" indent="-380990">
              <a:buFont typeface="Arial" panose="020B0604020202020204" pitchFamily="34" charset="0"/>
              <a:buChar char="•"/>
            </a:pPr>
            <a:r>
              <a:rPr lang="en-US" sz="1867" dirty="0">
                <a:solidFill>
                  <a:schemeClr val="bg2">
                    <a:lumMod val="50000"/>
                    <a:lumOff val="50000"/>
                  </a:schemeClr>
                </a:solidFill>
                <a:latin typeface="Inter"/>
                <a:cs typeface="Arial" panose="020B0604020202020204" pitchFamily="34" charset="0"/>
              </a:rPr>
              <a:t>on 2 weeks: only one lunch for the whole week</a:t>
            </a:r>
          </a:p>
          <a:p>
            <a:pPr marL="380990" indent="-380990">
              <a:buFont typeface="Arial" panose="020B0604020202020204" pitchFamily="34" charset="0"/>
              <a:buChar char="•"/>
            </a:pPr>
            <a:r>
              <a:rPr lang="en-US" sz="1867" dirty="0">
                <a:solidFill>
                  <a:schemeClr val="bg2">
                    <a:lumMod val="50000"/>
                    <a:lumOff val="50000"/>
                  </a:schemeClr>
                </a:solidFill>
                <a:latin typeface="Inter"/>
                <a:cs typeface="Arial" panose="020B0604020202020204" pitchFamily="34" charset="0"/>
              </a:rPr>
              <a:t>on 14 weeks: 2 lunches each week</a:t>
            </a:r>
          </a:p>
          <a:p>
            <a:pPr marL="380990" indent="-380990">
              <a:buFont typeface="Arial" panose="020B0604020202020204" pitchFamily="34" charset="0"/>
              <a:buChar char="•"/>
            </a:pPr>
            <a:r>
              <a:rPr lang="en-US" sz="1867" dirty="0">
                <a:solidFill>
                  <a:schemeClr val="bg2">
                    <a:lumMod val="50000"/>
                    <a:lumOff val="50000"/>
                  </a:schemeClr>
                </a:solidFill>
                <a:latin typeface="Inter"/>
                <a:cs typeface="Arial" panose="020B0604020202020204" pitchFamily="34" charset="0"/>
              </a:rPr>
              <a:t>on 8 weeks: 5 lunches each week</a:t>
            </a:r>
          </a:p>
          <a:p>
            <a:pPr marL="380990" indent="-380990">
              <a:buFont typeface="Arial" panose="020B0604020202020204" pitchFamily="34" charset="0"/>
              <a:buChar char="•"/>
            </a:pPr>
            <a:r>
              <a:rPr lang="en-US" sz="1867" dirty="0">
                <a:solidFill>
                  <a:schemeClr val="bg2">
                    <a:lumMod val="50000"/>
                    <a:lumOff val="50000"/>
                  </a:schemeClr>
                </a:solidFill>
                <a:latin typeface="Inter"/>
                <a:cs typeface="Arial" panose="020B0604020202020204" pitchFamily="34" charset="0"/>
              </a:rPr>
              <a:t>on 32 weeks: 7 lunches each week</a:t>
            </a:r>
          </a:p>
          <a:p>
            <a:pPr>
              <a:buClr>
                <a:schemeClr val="bg1"/>
              </a:buClr>
            </a:pPr>
            <a:endParaRPr lang="en-US" sz="1867" dirty="0">
              <a:solidFill>
                <a:schemeClr val="bg2">
                  <a:lumMod val="50000"/>
                  <a:lumOff val="50000"/>
                </a:schemeClr>
              </a:solidFill>
              <a:latin typeface="Inter"/>
              <a:cs typeface="Arial" panose="020B0604020202020204" pitchFamily="34" charset="0"/>
            </a:endParaRPr>
          </a:p>
          <a:p>
            <a:pPr>
              <a:buClr>
                <a:schemeClr val="bg1"/>
              </a:buClr>
            </a:pPr>
            <a:endParaRPr lang="en-US" sz="1867" dirty="0">
              <a:solidFill>
                <a:schemeClr val="bg2">
                  <a:lumMod val="50000"/>
                  <a:lumOff val="50000"/>
                </a:schemeClr>
              </a:solidFill>
              <a:latin typeface="Inter"/>
              <a:cs typeface="Arial" panose="020B0604020202020204" pitchFamily="34" charset="0"/>
            </a:endParaRPr>
          </a:p>
          <a:p>
            <a:pPr>
              <a:buClr>
                <a:schemeClr val="bg1"/>
              </a:buClr>
            </a:pPr>
            <a:r>
              <a:rPr lang="en-US" sz="1867" dirty="0">
                <a:solidFill>
                  <a:schemeClr val="bg2">
                    <a:lumMod val="50000"/>
                    <a:lumOff val="50000"/>
                  </a:schemeClr>
                </a:solidFill>
                <a:latin typeface="Inter"/>
                <a:cs typeface="Arial" panose="020B0604020202020204" pitchFamily="34" charset="0"/>
              </a:rPr>
              <a:t>What is the mean number of lunches Alex having each week?</a:t>
            </a:r>
          </a:p>
          <a:p>
            <a:pPr>
              <a:buClr>
                <a:schemeClr val="bg1"/>
              </a:buClr>
            </a:pPr>
            <a:endParaRPr lang="en-US" sz="1867" dirty="0">
              <a:solidFill>
                <a:schemeClr val="bg2"/>
              </a:solidFill>
            </a:endParaRP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BCB673C4-F81D-4334-9DE5-085A98E80E45}"/>
                  </a:ext>
                </a:extLst>
              </p14:cNvPr>
              <p14:cNvContentPartPr/>
              <p14:nvPr/>
            </p14:nvContentPartPr>
            <p14:xfrm>
              <a:off x="158880" y="2063520"/>
              <a:ext cx="11951040" cy="3328320"/>
            </p14:xfrm>
          </p:contentPart>
        </mc:Choice>
        <mc:Fallback>
          <p:pic>
            <p:nvPicPr>
              <p:cNvPr id="4" name="Ink 3">
                <a:extLst>
                  <a:ext uri="{FF2B5EF4-FFF2-40B4-BE49-F238E27FC236}">
                    <a16:creationId xmlns:a16="http://schemas.microsoft.com/office/drawing/2014/main" id="{BCB673C4-F81D-4334-9DE5-085A98E80E45}"/>
                  </a:ext>
                </a:extLst>
              </p:cNvPr>
              <p:cNvPicPr/>
              <p:nvPr/>
            </p:nvPicPr>
            <p:blipFill>
              <a:blip r:embed="rId5"/>
              <a:stretch>
                <a:fillRect/>
              </a:stretch>
            </p:blipFill>
            <p:spPr>
              <a:xfrm>
                <a:off x="149520" y="2054160"/>
                <a:ext cx="11969760" cy="3347041"/>
              </a:xfrm>
              <a:prstGeom prst="rect">
                <a:avLst/>
              </a:prstGeom>
            </p:spPr>
          </p:pic>
        </mc:Fallback>
      </mc:AlternateContent>
    </p:spTree>
    <p:extLst>
      <p:ext uri="{BB962C8B-B14F-4D97-AF65-F5344CB8AC3E}">
        <p14:creationId xmlns:p14="http://schemas.microsoft.com/office/powerpoint/2010/main" val="1541171692"/>
      </p:ext>
    </p:extLst>
  </p:cSld>
  <p:clrMapOvr>
    <a:masterClrMapping/>
  </p:clrMapOvr>
  <p:transition spd="med">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463494-2B80-433F-975F-08D7A84349CD}"/>
              </a:ext>
            </a:extLst>
          </p:cNvPr>
          <p:cNvSpPr>
            <a:spLocks noGrp="1"/>
          </p:cNvSpPr>
          <p:nvPr>
            <p:ph type="title"/>
          </p:nvPr>
        </p:nvSpPr>
        <p:spPr>
          <a:xfrm>
            <a:off x="0" y="111228"/>
            <a:ext cx="10607040" cy="85344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4EB52728-6157-4065-A402-BCEDE421A612}"/>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788359" y="0"/>
            <a:ext cx="2250964" cy="1330883"/>
          </a:xfrm>
        </p:spPr>
      </p:pic>
      <p:sp>
        <p:nvSpPr>
          <p:cNvPr id="8" name="TextBox 7">
            <a:extLst>
              <a:ext uri="{FF2B5EF4-FFF2-40B4-BE49-F238E27FC236}">
                <a16:creationId xmlns:a16="http://schemas.microsoft.com/office/drawing/2014/main" id="{9B2D573D-0295-44A9-AEDB-1A984B1AD36C}"/>
              </a:ext>
            </a:extLst>
          </p:cNvPr>
          <p:cNvSpPr txBox="1"/>
          <p:nvPr/>
        </p:nvSpPr>
        <p:spPr>
          <a:xfrm>
            <a:off x="139603" y="1442111"/>
            <a:ext cx="8571459" cy="1754711"/>
          </a:xfrm>
          <a:prstGeom prst="rect">
            <a:avLst/>
          </a:prstGeom>
          <a:noFill/>
        </p:spPr>
        <p:txBody>
          <a:bodyPr wrap="square" rtlCol="0">
            <a:spAutoFit/>
          </a:bodyPr>
          <a:lstStyle/>
          <a:p>
            <a:pPr marL="380990" indent="-380990">
              <a:buClr>
                <a:schemeClr val="bg1"/>
              </a:buClr>
              <a:buFont typeface="Wingdings" panose="05000000000000000000" pitchFamily="2" charset="2"/>
              <a:buChar char="q"/>
            </a:pPr>
            <a:r>
              <a:rPr lang="en-US" sz="1867" dirty="0">
                <a:solidFill>
                  <a:schemeClr val="bg2">
                    <a:lumMod val="50000"/>
                    <a:lumOff val="50000"/>
                  </a:schemeClr>
                </a:solidFill>
                <a:latin typeface="Inter"/>
                <a:cs typeface="Arial" panose="020B0604020202020204" pitchFamily="34" charset="0"/>
              </a:rPr>
              <a:t>Use “Weeks” as the weighting</a:t>
            </a:r>
          </a:p>
          <a:p>
            <a:pPr marL="380990" indent="-380990">
              <a:buClr>
                <a:schemeClr val="bg1"/>
              </a:buClr>
              <a:buFont typeface="Wingdings" panose="05000000000000000000" pitchFamily="2" charset="2"/>
              <a:buChar char="q"/>
            </a:pPr>
            <a:endParaRPr lang="en-US" sz="1867" dirty="0">
              <a:solidFill>
                <a:schemeClr val="bg2">
                  <a:lumMod val="50000"/>
                  <a:lumOff val="50000"/>
                </a:schemeClr>
              </a:solidFill>
              <a:latin typeface="Inter"/>
              <a:cs typeface="Arial" panose="020B0604020202020204" pitchFamily="34" charset="0"/>
            </a:endParaRPr>
          </a:p>
          <a:p>
            <a:pPr marL="380990" indent="-380990">
              <a:buClr>
                <a:schemeClr val="bg1"/>
              </a:buClr>
              <a:buFont typeface="Wingdings" panose="05000000000000000000" pitchFamily="2" charset="2"/>
              <a:buChar char="q"/>
            </a:pPr>
            <a:endParaRPr lang="en-US" sz="1867" dirty="0">
              <a:solidFill>
                <a:schemeClr val="bg2">
                  <a:lumMod val="50000"/>
                  <a:lumOff val="50000"/>
                </a:schemeClr>
              </a:solidFill>
              <a:latin typeface="Inter"/>
              <a:cs typeface="Arial" panose="020B0604020202020204" pitchFamily="34" charset="0"/>
            </a:endParaRPr>
          </a:p>
          <a:p>
            <a:pPr>
              <a:buClr>
                <a:schemeClr val="bg1"/>
              </a:buClr>
            </a:pPr>
            <a:r>
              <a:rPr lang="en-US" sz="1867" b="1" dirty="0">
                <a:solidFill>
                  <a:schemeClr val="bg2">
                    <a:lumMod val="50000"/>
                    <a:lumOff val="50000"/>
                  </a:schemeClr>
                </a:solidFill>
                <a:latin typeface="Inter"/>
                <a:cs typeface="Arial" panose="020B0604020202020204" pitchFamily="34" charset="0"/>
              </a:rPr>
              <a:t>Solution : </a:t>
            </a:r>
          </a:p>
          <a:p>
            <a:pPr>
              <a:buClr>
                <a:schemeClr val="bg1"/>
              </a:buClr>
            </a:pPr>
            <a:endParaRPr lang="en-US" sz="1467" dirty="0">
              <a:solidFill>
                <a:srgbClr val="333333"/>
              </a:solidFill>
              <a:latin typeface="Verdana" panose="020B0604030504040204" pitchFamily="34" charset="0"/>
            </a:endParaRPr>
          </a:p>
          <a:p>
            <a:pPr>
              <a:buClr>
                <a:schemeClr val="bg1"/>
              </a:buClr>
            </a:pPr>
            <a:endParaRPr lang="en-US" sz="1867" dirty="0">
              <a:solidFill>
                <a:schemeClr val="bg2"/>
              </a:solidFill>
            </a:endParaRPr>
          </a:p>
        </p:txBody>
      </p:sp>
      <p:pic>
        <p:nvPicPr>
          <p:cNvPr id="10" name="Picture 9">
            <a:extLst>
              <a:ext uri="{FF2B5EF4-FFF2-40B4-BE49-F238E27FC236}">
                <a16:creationId xmlns:a16="http://schemas.microsoft.com/office/drawing/2014/main" id="{4E664255-7746-4696-9615-CC824F9301BD}"/>
              </a:ext>
            </a:extLst>
          </p:cNvPr>
          <p:cNvPicPr>
            <a:picLocks noChangeAspect="1"/>
          </p:cNvPicPr>
          <p:nvPr/>
        </p:nvPicPr>
        <p:blipFill>
          <a:blip r:embed="rId4"/>
          <a:stretch>
            <a:fillRect/>
          </a:stretch>
        </p:blipFill>
        <p:spPr>
          <a:xfrm>
            <a:off x="7669466" y="4094539"/>
            <a:ext cx="4311239" cy="2159679"/>
          </a:xfrm>
          <a:prstGeom prst="rect">
            <a:avLst/>
          </a:prstGeom>
        </p:spPr>
      </p:pic>
    </p:spTree>
    <p:extLst>
      <p:ext uri="{BB962C8B-B14F-4D97-AF65-F5344CB8AC3E}">
        <p14:creationId xmlns:p14="http://schemas.microsoft.com/office/powerpoint/2010/main" val="2216126519"/>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D7890-7B45-4CAF-9C2B-2740282A16C3}"/>
              </a:ext>
            </a:extLst>
          </p:cNvPr>
          <p:cNvSpPr>
            <a:spLocks noGrp="1"/>
          </p:cNvSpPr>
          <p:nvPr>
            <p:ph type="title"/>
          </p:nvPr>
        </p:nvSpPr>
        <p:spPr>
          <a:xfrm>
            <a:off x="0" y="37308"/>
            <a:ext cx="10607040" cy="853440"/>
          </a:xfrm>
        </p:spPr>
        <p:txBody>
          <a:bodyPr/>
          <a:lstStyle/>
          <a:p>
            <a:r>
              <a:rPr lang="en-US" dirty="0"/>
              <a:t>What if the weights don’t add to 1 ?</a:t>
            </a:r>
          </a:p>
        </p:txBody>
      </p:sp>
      <p:sp>
        <p:nvSpPr>
          <p:cNvPr id="4" name="Content Placeholder 3">
            <a:extLst>
              <a:ext uri="{FF2B5EF4-FFF2-40B4-BE49-F238E27FC236}">
                <a16:creationId xmlns:a16="http://schemas.microsoft.com/office/drawing/2014/main" id="{C00C7600-583F-4D5F-8694-F5771CA467EA}"/>
              </a:ext>
            </a:extLst>
          </p:cNvPr>
          <p:cNvSpPr>
            <a:spLocks noGrp="1"/>
          </p:cNvSpPr>
          <p:nvPr>
            <p:ph sz="half" idx="1"/>
          </p:nvPr>
        </p:nvSpPr>
        <p:spPr>
          <a:xfrm>
            <a:off x="133088" y="1141953"/>
            <a:ext cx="10607040" cy="4023360"/>
          </a:xfrm>
        </p:spPr>
        <p:txBody>
          <a:bodyPr/>
          <a:lstStyle/>
          <a:p>
            <a:r>
              <a:rPr lang="en-US" sz="2667" dirty="0">
                <a:solidFill>
                  <a:schemeClr val="bg2">
                    <a:lumMod val="50000"/>
                    <a:lumOff val="50000"/>
                  </a:schemeClr>
                </a:solidFill>
                <a:latin typeface="Inter"/>
              </a:rPr>
              <a:t>But it is often better to use a table to make sure you have all the numbers correct:</a:t>
            </a:r>
          </a:p>
          <a:p>
            <a:pPr marL="0" indent="0">
              <a:buNone/>
            </a:pPr>
            <a:r>
              <a:rPr lang="en-US" sz="2667" b="1" dirty="0">
                <a:solidFill>
                  <a:schemeClr val="bg2">
                    <a:lumMod val="50000"/>
                    <a:lumOff val="50000"/>
                  </a:schemeClr>
                </a:solidFill>
                <a:latin typeface="Inter"/>
              </a:rPr>
              <a:t>Example (continued):</a:t>
            </a:r>
          </a:p>
          <a:p>
            <a:pPr algn="l"/>
            <a:r>
              <a:rPr lang="en-US" sz="2667" dirty="0">
                <a:solidFill>
                  <a:schemeClr val="bg2">
                    <a:lumMod val="50000"/>
                    <a:lumOff val="50000"/>
                  </a:schemeClr>
                </a:solidFill>
                <a:latin typeface="Inter"/>
              </a:rPr>
              <a:t>Let's use:</a:t>
            </a:r>
          </a:p>
          <a:p>
            <a:pPr algn="l">
              <a:buFont typeface="Arial" panose="020B0604020202020204" pitchFamily="34" charset="0"/>
              <a:buChar char="•"/>
            </a:pPr>
            <a:r>
              <a:rPr lang="en-US" sz="2667" b="1" dirty="0">
                <a:solidFill>
                  <a:schemeClr val="bg2">
                    <a:lumMod val="50000"/>
                    <a:lumOff val="50000"/>
                  </a:schemeClr>
                </a:solidFill>
                <a:latin typeface="Inter"/>
              </a:rPr>
              <a:t>w</a:t>
            </a:r>
            <a:r>
              <a:rPr lang="en-US" sz="2667" dirty="0">
                <a:solidFill>
                  <a:schemeClr val="bg2">
                    <a:lumMod val="50000"/>
                    <a:lumOff val="50000"/>
                  </a:schemeClr>
                </a:solidFill>
                <a:latin typeface="Inter"/>
              </a:rPr>
              <a:t> for the number of weeks (the weight)</a:t>
            </a:r>
          </a:p>
          <a:p>
            <a:pPr algn="l">
              <a:buFont typeface="Arial" panose="020B0604020202020204" pitchFamily="34" charset="0"/>
              <a:buChar char="•"/>
            </a:pPr>
            <a:r>
              <a:rPr lang="en-US" sz="2667" b="1" dirty="0">
                <a:solidFill>
                  <a:schemeClr val="bg2">
                    <a:lumMod val="50000"/>
                    <a:lumOff val="50000"/>
                  </a:schemeClr>
                </a:solidFill>
                <a:latin typeface="Inter"/>
              </a:rPr>
              <a:t>x</a:t>
            </a:r>
            <a:r>
              <a:rPr lang="en-US" sz="2667" dirty="0">
                <a:solidFill>
                  <a:schemeClr val="bg2">
                    <a:lumMod val="50000"/>
                    <a:lumOff val="50000"/>
                  </a:schemeClr>
                </a:solidFill>
                <a:latin typeface="Inter"/>
              </a:rPr>
              <a:t> for lunches (the value we want the mean of)</a:t>
            </a:r>
          </a:p>
          <a:p>
            <a:pPr algn="l"/>
            <a:r>
              <a:rPr lang="en-US" sz="2667" dirty="0">
                <a:solidFill>
                  <a:schemeClr val="bg2">
                    <a:lumMod val="50000"/>
                    <a:lumOff val="50000"/>
                  </a:schemeClr>
                </a:solidFill>
                <a:latin typeface="Inter"/>
              </a:rPr>
              <a:t>Multiply </a:t>
            </a:r>
            <a:r>
              <a:rPr lang="en-US" sz="2667" b="1" dirty="0">
                <a:solidFill>
                  <a:schemeClr val="bg2">
                    <a:lumMod val="50000"/>
                    <a:lumOff val="50000"/>
                  </a:schemeClr>
                </a:solidFill>
                <a:latin typeface="Inter"/>
              </a:rPr>
              <a:t>w</a:t>
            </a:r>
            <a:r>
              <a:rPr lang="en-US" sz="2667" dirty="0">
                <a:solidFill>
                  <a:schemeClr val="bg2">
                    <a:lumMod val="50000"/>
                    <a:lumOff val="50000"/>
                  </a:schemeClr>
                </a:solidFill>
                <a:latin typeface="Inter"/>
              </a:rPr>
              <a:t> by </a:t>
            </a:r>
            <a:r>
              <a:rPr lang="en-US" sz="2667" b="1" dirty="0">
                <a:solidFill>
                  <a:schemeClr val="bg2">
                    <a:lumMod val="50000"/>
                    <a:lumOff val="50000"/>
                  </a:schemeClr>
                </a:solidFill>
                <a:latin typeface="Inter"/>
              </a:rPr>
              <a:t>x</a:t>
            </a:r>
            <a:r>
              <a:rPr lang="en-US" sz="2667" dirty="0">
                <a:solidFill>
                  <a:schemeClr val="bg2">
                    <a:lumMod val="50000"/>
                    <a:lumOff val="50000"/>
                  </a:schemeClr>
                </a:solidFill>
                <a:latin typeface="Inter"/>
              </a:rPr>
              <a:t>, sum up </a:t>
            </a:r>
            <a:r>
              <a:rPr lang="en-US" sz="2667" b="1" dirty="0">
                <a:solidFill>
                  <a:schemeClr val="bg2">
                    <a:lumMod val="50000"/>
                    <a:lumOff val="50000"/>
                  </a:schemeClr>
                </a:solidFill>
                <a:latin typeface="Inter"/>
              </a:rPr>
              <a:t>w</a:t>
            </a:r>
            <a:r>
              <a:rPr lang="en-US" sz="2667" dirty="0">
                <a:solidFill>
                  <a:schemeClr val="bg2">
                    <a:lumMod val="50000"/>
                    <a:lumOff val="50000"/>
                  </a:schemeClr>
                </a:solidFill>
                <a:latin typeface="Inter"/>
              </a:rPr>
              <a:t> and sum up </a:t>
            </a:r>
            <a:r>
              <a:rPr lang="en-US" sz="2667" b="1" dirty="0" err="1">
                <a:solidFill>
                  <a:schemeClr val="bg2">
                    <a:lumMod val="50000"/>
                    <a:lumOff val="50000"/>
                  </a:schemeClr>
                </a:solidFill>
                <a:latin typeface="Inter"/>
              </a:rPr>
              <a:t>wx</a:t>
            </a:r>
            <a:endParaRPr lang="en-US" sz="2667" dirty="0">
              <a:solidFill>
                <a:schemeClr val="bg2">
                  <a:lumMod val="50000"/>
                  <a:lumOff val="50000"/>
                </a:schemeClr>
              </a:solidFill>
              <a:latin typeface="Inter"/>
            </a:endParaRPr>
          </a:p>
          <a:p>
            <a:pPr marL="0" indent="0">
              <a:buNone/>
            </a:pPr>
            <a:endParaRPr lang="en-US" dirty="0"/>
          </a:p>
        </p:txBody>
      </p:sp>
    </p:spTree>
    <p:extLst>
      <p:ext uri="{BB962C8B-B14F-4D97-AF65-F5344CB8AC3E}">
        <p14:creationId xmlns:p14="http://schemas.microsoft.com/office/powerpoint/2010/main" val="2167338885"/>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02489-34AB-4B78-A9F8-548C875B7302}"/>
              </a:ext>
            </a:extLst>
          </p:cNvPr>
          <p:cNvSpPr>
            <a:spLocks noGrp="1"/>
          </p:cNvSpPr>
          <p:nvPr>
            <p:ph type="title"/>
          </p:nvPr>
        </p:nvSpPr>
        <p:spPr>
          <a:xfrm>
            <a:off x="0" y="0"/>
            <a:ext cx="10607040" cy="85344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D782ECDC-620D-4681-B615-F5287CCEE213}"/>
              </a:ext>
            </a:extLst>
          </p:cNvPr>
          <p:cNvPicPr>
            <a:picLocks noGrp="1" noChangeAspect="1"/>
          </p:cNvPicPr>
          <p:nvPr>
            <p:ph sz="half" idx="1"/>
          </p:nvPr>
        </p:nvPicPr>
        <p:blipFill>
          <a:blip r:embed="rId2"/>
          <a:stretch>
            <a:fillRect/>
          </a:stretch>
        </p:blipFill>
        <p:spPr>
          <a:xfrm>
            <a:off x="493264" y="1006997"/>
            <a:ext cx="4527701" cy="3284804"/>
          </a:xfrm>
        </p:spPr>
      </p:pic>
      <p:sp>
        <p:nvSpPr>
          <p:cNvPr id="7" name="TextBox 6">
            <a:extLst>
              <a:ext uri="{FF2B5EF4-FFF2-40B4-BE49-F238E27FC236}">
                <a16:creationId xmlns:a16="http://schemas.microsoft.com/office/drawing/2014/main" id="{D6C86B2D-9211-4100-BBC8-0EF99C9983B8}"/>
              </a:ext>
            </a:extLst>
          </p:cNvPr>
          <p:cNvSpPr txBox="1"/>
          <p:nvPr/>
        </p:nvSpPr>
        <p:spPr>
          <a:xfrm>
            <a:off x="5617861" y="1078664"/>
            <a:ext cx="5606225" cy="318100"/>
          </a:xfrm>
          <a:prstGeom prst="rect">
            <a:avLst/>
          </a:prstGeom>
          <a:noFill/>
        </p:spPr>
        <p:txBody>
          <a:bodyPr wrap="square" rtlCol="0">
            <a:spAutoFit/>
          </a:bodyPr>
          <a:lstStyle/>
          <a:p>
            <a:pPr>
              <a:buClr>
                <a:schemeClr val="bg1"/>
              </a:buClr>
            </a:pPr>
            <a:r>
              <a:rPr lang="en-US" sz="1467" dirty="0">
                <a:solidFill>
                  <a:srgbClr val="333333"/>
                </a:solidFill>
                <a:latin typeface="Verdana" panose="020B0604030504040204" pitchFamily="34" charset="0"/>
              </a:rPr>
              <a:t>Divide </a:t>
            </a:r>
            <a:r>
              <a:rPr lang="el-GR" sz="1467" b="1" dirty="0">
                <a:solidFill>
                  <a:srgbClr val="333333"/>
                </a:solidFill>
                <a:latin typeface="Verdana" panose="020B0604030504040204" pitchFamily="34" charset="0"/>
              </a:rPr>
              <a:t>Σ</a:t>
            </a:r>
            <a:r>
              <a:rPr lang="en-US" sz="1467" b="1" dirty="0" err="1">
                <a:solidFill>
                  <a:srgbClr val="333333"/>
                </a:solidFill>
                <a:latin typeface="Verdana" panose="020B0604030504040204" pitchFamily="34" charset="0"/>
              </a:rPr>
              <a:t>wx</a:t>
            </a:r>
            <a:r>
              <a:rPr lang="en-US" sz="1467" dirty="0">
                <a:solidFill>
                  <a:srgbClr val="333333"/>
                </a:solidFill>
                <a:latin typeface="Verdana" panose="020B0604030504040204" pitchFamily="34" charset="0"/>
              </a:rPr>
              <a:t> by </a:t>
            </a:r>
            <a:r>
              <a:rPr lang="el-GR" sz="1467" b="1" dirty="0">
                <a:solidFill>
                  <a:srgbClr val="333333"/>
                </a:solidFill>
                <a:latin typeface="Verdana" panose="020B0604030504040204" pitchFamily="34" charset="0"/>
              </a:rPr>
              <a:t>Σ</a:t>
            </a:r>
            <a:r>
              <a:rPr lang="en-US" sz="1467" b="1" dirty="0">
                <a:solidFill>
                  <a:srgbClr val="333333"/>
                </a:solidFill>
                <a:latin typeface="Verdana" panose="020B0604030504040204" pitchFamily="34" charset="0"/>
              </a:rPr>
              <a:t>w</a:t>
            </a:r>
            <a:r>
              <a:rPr lang="en-US" sz="1467" dirty="0">
                <a:solidFill>
                  <a:srgbClr val="333333"/>
                </a:solidFill>
                <a:latin typeface="Verdana" panose="020B0604030504040204" pitchFamily="34" charset="0"/>
              </a:rPr>
              <a:t>:</a:t>
            </a:r>
            <a:endParaRPr lang="en-US" sz="1867" dirty="0">
              <a:solidFill>
                <a:schemeClr val="bg2"/>
              </a:solidFill>
            </a:endParaRPr>
          </a:p>
        </p:txBody>
      </p:sp>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360F3BCD-A1BB-47AE-9CE8-8FF27056963B}"/>
                  </a:ext>
                </a:extLst>
              </p14:cNvPr>
              <p14:cNvContentPartPr/>
              <p14:nvPr/>
            </p14:nvContentPartPr>
            <p14:xfrm>
              <a:off x="819360" y="1371840"/>
              <a:ext cx="9538080" cy="2902080"/>
            </p14:xfrm>
          </p:contentPart>
        </mc:Choice>
        <mc:Fallback>
          <p:pic>
            <p:nvPicPr>
              <p:cNvPr id="2" name="Ink 1">
                <a:extLst>
                  <a:ext uri="{FF2B5EF4-FFF2-40B4-BE49-F238E27FC236}">
                    <a16:creationId xmlns:a16="http://schemas.microsoft.com/office/drawing/2014/main" id="{360F3BCD-A1BB-47AE-9CE8-8FF27056963B}"/>
                  </a:ext>
                </a:extLst>
              </p:cNvPr>
              <p:cNvPicPr/>
              <p:nvPr/>
            </p:nvPicPr>
            <p:blipFill>
              <a:blip r:embed="rId4"/>
              <a:stretch>
                <a:fillRect/>
              </a:stretch>
            </p:blipFill>
            <p:spPr>
              <a:xfrm>
                <a:off x="810360" y="1362480"/>
                <a:ext cx="9556800" cy="2920801"/>
              </a:xfrm>
              <a:prstGeom prst="rect">
                <a:avLst/>
              </a:prstGeom>
            </p:spPr>
          </p:pic>
        </mc:Fallback>
      </mc:AlternateContent>
    </p:spTree>
    <p:extLst>
      <p:ext uri="{BB962C8B-B14F-4D97-AF65-F5344CB8AC3E}">
        <p14:creationId xmlns:p14="http://schemas.microsoft.com/office/powerpoint/2010/main" val="2987937793"/>
      </p:ext>
    </p:extLst>
  </p:cSld>
  <p:clrMapOvr>
    <a:masterClrMapping/>
  </p:clrMapOvr>
  <p:transition spd="med">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8A6EC3-9EEB-4520-A0E7-3537EBC315EA}"/>
              </a:ext>
            </a:extLst>
          </p:cNvPr>
          <p:cNvSpPr>
            <a:spLocks noGrp="1"/>
          </p:cNvSpPr>
          <p:nvPr>
            <p:ph type="title"/>
          </p:nvPr>
        </p:nvSpPr>
        <p:spPr>
          <a:xfrm>
            <a:off x="0" y="0"/>
            <a:ext cx="10607040" cy="853440"/>
          </a:xfrm>
        </p:spPr>
        <p:txBody>
          <a:bodyPr/>
          <a:lstStyle/>
          <a:p>
            <a:r>
              <a:rPr lang="en-US" dirty="0"/>
              <a:t>Weighted Mean : Summary</a:t>
            </a:r>
          </a:p>
        </p:txBody>
      </p:sp>
      <p:sp>
        <p:nvSpPr>
          <p:cNvPr id="4" name="Content Placeholder 3">
            <a:extLst>
              <a:ext uri="{FF2B5EF4-FFF2-40B4-BE49-F238E27FC236}">
                <a16:creationId xmlns:a16="http://schemas.microsoft.com/office/drawing/2014/main" id="{CF701619-2E8D-4182-BCFA-D371984D8E07}"/>
              </a:ext>
            </a:extLst>
          </p:cNvPr>
          <p:cNvSpPr>
            <a:spLocks noGrp="1"/>
          </p:cNvSpPr>
          <p:nvPr>
            <p:ph sz="half" idx="1"/>
          </p:nvPr>
        </p:nvSpPr>
        <p:spPr>
          <a:xfrm>
            <a:off x="83763" y="949302"/>
            <a:ext cx="10972800" cy="5360757"/>
          </a:xfrm>
        </p:spPr>
        <p:txBody>
          <a:bodyPr>
            <a:normAutofit/>
          </a:bodyPr>
          <a:lstStyle/>
          <a:p>
            <a:pPr>
              <a:buFont typeface="Arial" panose="020B0604020202020204" pitchFamily="34" charset="0"/>
              <a:buChar char="•"/>
            </a:pPr>
            <a:r>
              <a:rPr lang="en-US" sz="3200" b="1" dirty="0">
                <a:solidFill>
                  <a:schemeClr val="bg2">
                    <a:lumMod val="50000"/>
                    <a:lumOff val="50000"/>
                  </a:schemeClr>
                </a:solidFill>
                <a:latin typeface="Inter"/>
              </a:rPr>
              <a:t>Weighted Mean: </a:t>
            </a:r>
            <a:r>
              <a:rPr lang="en-US" sz="3200" dirty="0">
                <a:solidFill>
                  <a:schemeClr val="bg2">
                    <a:lumMod val="50000"/>
                    <a:lumOff val="50000"/>
                  </a:schemeClr>
                </a:solidFill>
                <a:latin typeface="Inter"/>
              </a:rPr>
              <a:t>A mean where some values contribute more than others.</a:t>
            </a:r>
          </a:p>
          <a:p>
            <a:pPr>
              <a:buFont typeface="Arial" panose="020B0604020202020204" pitchFamily="34" charset="0"/>
              <a:buChar char="•"/>
            </a:pPr>
            <a:r>
              <a:rPr lang="en-US" sz="3200" dirty="0">
                <a:solidFill>
                  <a:schemeClr val="bg2">
                    <a:lumMod val="50000"/>
                    <a:lumOff val="50000"/>
                  </a:schemeClr>
                </a:solidFill>
                <a:latin typeface="Inter"/>
              </a:rPr>
              <a:t>When the weights add to 1: just multiply each weight by the matching value and sum it all up</a:t>
            </a:r>
          </a:p>
          <a:p>
            <a:pPr>
              <a:buFont typeface="Arial" panose="020B0604020202020204" pitchFamily="34" charset="0"/>
              <a:buChar char="•"/>
            </a:pPr>
            <a:r>
              <a:rPr lang="en-US" sz="3200" dirty="0">
                <a:solidFill>
                  <a:schemeClr val="bg2">
                    <a:lumMod val="50000"/>
                    <a:lumOff val="50000"/>
                  </a:schemeClr>
                </a:solidFill>
                <a:latin typeface="Inter"/>
              </a:rPr>
              <a:t>Otherwise, multiply each weight </a:t>
            </a:r>
            <a:r>
              <a:rPr lang="en-US" sz="3200" b="1" dirty="0">
                <a:solidFill>
                  <a:schemeClr val="bg2">
                    <a:lumMod val="50000"/>
                    <a:lumOff val="50000"/>
                  </a:schemeClr>
                </a:solidFill>
                <a:latin typeface="Inter"/>
              </a:rPr>
              <a:t>w</a:t>
            </a:r>
            <a:r>
              <a:rPr lang="en-US" sz="3200" dirty="0">
                <a:solidFill>
                  <a:schemeClr val="bg2">
                    <a:lumMod val="50000"/>
                    <a:lumOff val="50000"/>
                  </a:schemeClr>
                </a:solidFill>
                <a:latin typeface="Inter"/>
              </a:rPr>
              <a:t> by its matching value </a:t>
            </a:r>
            <a:r>
              <a:rPr lang="en-US" sz="3200" b="1" dirty="0">
                <a:solidFill>
                  <a:schemeClr val="bg2">
                    <a:lumMod val="50000"/>
                    <a:lumOff val="50000"/>
                  </a:schemeClr>
                </a:solidFill>
                <a:latin typeface="Inter"/>
              </a:rPr>
              <a:t>x</a:t>
            </a:r>
            <a:r>
              <a:rPr lang="en-US" sz="3200" dirty="0">
                <a:solidFill>
                  <a:schemeClr val="bg2">
                    <a:lumMod val="50000"/>
                    <a:lumOff val="50000"/>
                  </a:schemeClr>
                </a:solidFill>
                <a:latin typeface="Inter"/>
              </a:rPr>
              <a:t>, sum that all up, and divide by the sum of weights:</a:t>
            </a:r>
          </a:p>
        </p:txBody>
      </p:sp>
      <p:pic>
        <p:nvPicPr>
          <p:cNvPr id="5" name="Picture 4">
            <a:extLst>
              <a:ext uri="{FF2B5EF4-FFF2-40B4-BE49-F238E27FC236}">
                <a16:creationId xmlns:a16="http://schemas.microsoft.com/office/drawing/2014/main" id="{0D4ADD21-A252-44ED-9CF5-2BCC2F3D1F9E}"/>
              </a:ext>
            </a:extLst>
          </p:cNvPr>
          <p:cNvPicPr>
            <a:picLocks noChangeAspect="1"/>
          </p:cNvPicPr>
          <p:nvPr/>
        </p:nvPicPr>
        <p:blipFill>
          <a:blip r:embed="rId2"/>
          <a:stretch>
            <a:fillRect/>
          </a:stretch>
        </p:blipFill>
        <p:spPr>
          <a:xfrm>
            <a:off x="3284163" y="4524399"/>
            <a:ext cx="4572000" cy="1384300"/>
          </a:xfrm>
          <a:prstGeom prst="rect">
            <a:avLst/>
          </a:prstGeom>
        </p:spPr>
      </p:pic>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B6CEB857-E2D2-4AC5-B27E-FEFAF1A3BC3F}"/>
                  </a:ext>
                </a:extLst>
              </p14:cNvPr>
              <p14:cNvContentPartPr/>
              <p14:nvPr/>
            </p14:nvContentPartPr>
            <p14:xfrm>
              <a:off x="3295680" y="444480"/>
              <a:ext cx="7931520" cy="5175840"/>
            </p14:xfrm>
          </p:contentPart>
        </mc:Choice>
        <mc:Fallback>
          <p:pic>
            <p:nvPicPr>
              <p:cNvPr id="2" name="Ink 1">
                <a:extLst>
                  <a:ext uri="{FF2B5EF4-FFF2-40B4-BE49-F238E27FC236}">
                    <a16:creationId xmlns:a16="http://schemas.microsoft.com/office/drawing/2014/main" id="{B6CEB857-E2D2-4AC5-B27E-FEFAF1A3BC3F}"/>
                  </a:ext>
                </a:extLst>
              </p:cNvPr>
              <p:cNvPicPr/>
              <p:nvPr/>
            </p:nvPicPr>
            <p:blipFill>
              <a:blip r:embed="rId4"/>
              <a:stretch>
                <a:fillRect/>
              </a:stretch>
            </p:blipFill>
            <p:spPr>
              <a:xfrm>
                <a:off x="3286320" y="435120"/>
                <a:ext cx="7950240" cy="5194560"/>
              </a:xfrm>
              <a:prstGeom prst="rect">
                <a:avLst/>
              </a:prstGeom>
            </p:spPr>
          </p:pic>
        </mc:Fallback>
      </mc:AlternateContent>
    </p:spTree>
    <p:extLst>
      <p:ext uri="{BB962C8B-B14F-4D97-AF65-F5344CB8AC3E}">
        <p14:creationId xmlns:p14="http://schemas.microsoft.com/office/powerpoint/2010/main" val="2486453715"/>
      </p:ext>
    </p:extLst>
  </p:cSld>
  <p:clrMapOvr>
    <a:masterClrMapping/>
  </p:clrMapOvr>
  <p:transition spd="med">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525589" y="1589"/>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525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524001" y="1"/>
            <a:ext cx="158751" cy="158751"/>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8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12192000" cy="68580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100814" y="1666623"/>
            <a:ext cx="11990372" cy="4047391"/>
          </a:xfrm>
        </p:spPr>
        <p:txBody>
          <a:bodyPr/>
          <a:lstStyle/>
          <a:p>
            <a:r>
              <a:rPr lang="en-US" sz="6400" dirty="0">
                <a:solidFill>
                  <a:schemeClr val="tx2"/>
                </a:solidFill>
              </a:rPr>
              <a:t>Measure of  </a:t>
            </a:r>
            <a:br>
              <a:rPr lang="en-US" sz="6400" dirty="0">
                <a:solidFill>
                  <a:schemeClr val="tx2"/>
                </a:solidFill>
              </a:rPr>
            </a:br>
            <a:r>
              <a:rPr lang="en-US" sz="6400" dirty="0">
                <a:solidFill>
                  <a:schemeClr val="tx2"/>
                </a:solidFill>
              </a:rPr>
              <a:t>Variability</a:t>
            </a:r>
            <a:br>
              <a:rPr lang="en-US" dirty="0"/>
            </a:br>
            <a:br>
              <a:rPr lang="en-US" dirty="0"/>
            </a:br>
            <a:r>
              <a:rPr lang="en-US" dirty="0"/>
              <a:t> </a:t>
            </a:r>
          </a:p>
        </p:txBody>
      </p:sp>
      <mc:AlternateContent xmlns:mc="http://schemas.openxmlformats.org/markup-compatibility/2006">
        <mc:Choice xmlns:p14="http://schemas.microsoft.com/office/powerpoint/2010/main" Requires="p14">
          <p:contentPart p14:bwMode="auto" r:id="rId10">
            <p14:nvContentPartPr>
              <p14:cNvPr id="2" name="Ink 1">
                <a:extLst>
                  <a:ext uri="{FF2B5EF4-FFF2-40B4-BE49-F238E27FC236}">
                    <a16:creationId xmlns:a16="http://schemas.microsoft.com/office/drawing/2014/main" id="{2F22EEE8-AFD4-4C4A-8CC5-E29AAAEFA926}"/>
                  </a:ext>
                </a:extLst>
              </p14:cNvPr>
              <p14:cNvContentPartPr/>
              <p14:nvPr/>
            </p14:nvContentPartPr>
            <p14:xfrm>
              <a:off x="317280" y="399840"/>
              <a:ext cx="5671200" cy="3492960"/>
            </p14:xfrm>
          </p:contentPart>
        </mc:Choice>
        <mc:Fallback>
          <p:pic>
            <p:nvPicPr>
              <p:cNvPr id="2" name="Ink 1">
                <a:extLst>
                  <a:ext uri="{FF2B5EF4-FFF2-40B4-BE49-F238E27FC236}">
                    <a16:creationId xmlns:a16="http://schemas.microsoft.com/office/drawing/2014/main" id="{2F22EEE8-AFD4-4C4A-8CC5-E29AAAEFA926}"/>
                  </a:ext>
                </a:extLst>
              </p:cNvPr>
              <p:cNvPicPr/>
              <p:nvPr/>
            </p:nvPicPr>
            <p:blipFill>
              <a:blip r:embed="rId11"/>
              <a:stretch>
                <a:fillRect/>
              </a:stretch>
            </p:blipFill>
            <p:spPr>
              <a:xfrm>
                <a:off x="307920" y="390479"/>
                <a:ext cx="5689920" cy="3511681"/>
              </a:xfrm>
              <a:prstGeom prst="rect">
                <a:avLst/>
              </a:prstGeom>
            </p:spPr>
          </p:pic>
        </mc:Fallback>
      </mc:AlternateContent>
    </p:spTree>
    <p:extLst>
      <p:ext uri="{BB962C8B-B14F-4D97-AF65-F5344CB8AC3E}">
        <p14:creationId xmlns:p14="http://schemas.microsoft.com/office/powerpoint/2010/main" val="2675433104"/>
      </p:ext>
    </p:extLst>
  </p:cSld>
  <p:clrMapOvr>
    <a:masterClrMapping/>
  </p:clrMapOvr>
  <p:transition spd="med">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3D5C2-409B-4595-BFEF-49120103B5E7}"/>
              </a:ext>
            </a:extLst>
          </p:cNvPr>
          <p:cNvSpPr>
            <a:spLocks noGrp="1"/>
          </p:cNvSpPr>
          <p:nvPr>
            <p:ph type="title"/>
          </p:nvPr>
        </p:nvSpPr>
        <p:spPr>
          <a:xfrm>
            <a:off x="0" y="66119"/>
            <a:ext cx="10972800" cy="850392"/>
          </a:xfrm>
        </p:spPr>
        <p:txBody>
          <a:bodyPr/>
          <a:lstStyle/>
          <a:p>
            <a:r>
              <a:rPr lang="en-US" dirty="0"/>
              <a:t>Measure of Variability </a:t>
            </a:r>
          </a:p>
        </p:txBody>
      </p:sp>
      <p:sp>
        <p:nvSpPr>
          <p:cNvPr id="3" name="TextBox 2">
            <a:extLst>
              <a:ext uri="{FF2B5EF4-FFF2-40B4-BE49-F238E27FC236}">
                <a16:creationId xmlns:a16="http://schemas.microsoft.com/office/drawing/2014/main" id="{8B0A8520-70DC-4944-9F76-6EF1C18E6612}"/>
              </a:ext>
            </a:extLst>
          </p:cNvPr>
          <p:cNvSpPr txBox="1"/>
          <p:nvPr/>
        </p:nvSpPr>
        <p:spPr>
          <a:xfrm>
            <a:off x="139602" y="916511"/>
            <a:ext cx="11642895" cy="5120184"/>
          </a:xfrm>
          <a:prstGeom prst="rect">
            <a:avLst/>
          </a:prstGeom>
          <a:noFill/>
        </p:spPr>
        <p:txBody>
          <a:bodyPr wrap="square" rtlCol="0">
            <a:spAutoFit/>
          </a:bodyPr>
          <a:lstStyle/>
          <a:p>
            <a:pPr>
              <a:buClr>
                <a:schemeClr val="bg1"/>
              </a:buClr>
            </a:pPr>
            <a:r>
              <a:rPr lang="en-US" sz="2667" b="1" dirty="0">
                <a:solidFill>
                  <a:schemeClr val="bg2">
                    <a:lumMod val="50000"/>
                    <a:lumOff val="50000"/>
                  </a:schemeClr>
                </a:solidFill>
                <a:latin typeface="Inter"/>
                <a:cs typeface="Arial" panose="020B0604020202020204" pitchFamily="34" charset="0"/>
              </a:rPr>
              <a:t>Variability</a:t>
            </a:r>
            <a:r>
              <a:rPr lang="en-US" sz="2667" dirty="0">
                <a:solidFill>
                  <a:schemeClr val="bg2">
                    <a:lumMod val="50000"/>
                    <a:lumOff val="50000"/>
                  </a:schemeClr>
                </a:solidFill>
                <a:latin typeface="Inter"/>
                <a:cs typeface="Arial" panose="020B0604020202020204" pitchFamily="34" charset="0"/>
              </a:rPr>
              <a:t> describes how </a:t>
            </a:r>
            <a:r>
              <a:rPr lang="en-US" sz="2667" b="1" i="1" dirty="0">
                <a:solidFill>
                  <a:schemeClr val="bg2">
                    <a:lumMod val="50000"/>
                    <a:lumOff val="50000"/>
                  </a:schemeClr>
                </a:solidFill>
                <a:latin typeface="Inter"/>
                <a:cs typeface="Arial" panose="020B0604020202020204" pitchFamily="34" charset="0"/>
              </a:rPr>
              <a:t>far apart data points lie from each other </a:t>
            </a:r>
            <a:r>
              <a:rPr lang="en-US" sz="2667" dirty="0">
                <a:solidFill>
                  <a:schemeClr val="bg2">
                    <a:lumMod val="50000"/>
                    <a:lumOff val="50000"/>
                  </a:schemeClr>
                </a:solidFill>
                <a:latin typeface="Inter"/>
                <a:cs typeface="Arial" panose="020B0604020202020204" pitchFamily="34" charset="0"/>
              </a:rPr>
              <a:t>and from the center of a distribution. Along with measures of central tendency, measures of variability give you descriptive statistics that summarize your data.</a:t>
            </a:r>
          </a:p>
          <a:p>
            <a:pPr>
              <a:buClr>
                <a:schemeClr val="bg1"/>
              </a:buClr>
            </a:pPr>
            <a:endParaRPr lang="en-US" sz="1467" b="1" dirty="0">
              <a:solidFill>
                <a:srgbClr val="000000"/>
              </a:solidFill>
              <a:latin typeface="Lato" panose="020F0502020204030203" pitchFamily="34" charset="0"/>
            </a:endParaRPr>
          </a:p>
          <a:p>
            <a:pPr>
              <a:buClr>
                <a:schemeClr val="bg1"/>
              </a:buClr>
            </a:pPr>
            <a:r>
              <a:rPr lang="en-US" sz="2667" dirty="0">
                <a:solidFill>
                  <a:schemeClr val="bg2">
                    <a:lumMod val="50000"/>
                    <a:lumOff val="50000"/>
                  </a:schemeClr>
                </a:solidFill>
                <a:latin typeface="Inter"/>
                <a:cs typeface="Arial" panose="020B0604020202020204" pitchFamily="34" charset="0"/>
              </a:rPr>
              <a:t>Variability is also referred to as </a:t>
            </a:r>
            <a:r>
              <a:rPr lang="en-US" sz="2667" b="1" dirty="0">
                <a:solidFill>
                  <a:schemeClr val="bg2">
                    <a:lumMod val="50000"/>
                    <a:lumOff val="50000"/>
                  </a:schemeClr>
                </a:solidFill>
                <a:latin typeface="Inter"/>
                <a:cs typeface="Arial" panose="020B0604020202020204" pitchFamily="34" charset="0"/>
              </a:rPr>
              <a:t>spread</a:t>
            </a:r>
            <a:r>
              <a:rPr lang="en-US" sz="2667" dirty="0">
                <a:solidFill>
                  <a:schemeClr val="bg2">
                    <a:lumMod val="50000"/>
                    <a:lumOff val="50000"/>
                  </a:schemeClr>
                </a:solidFill>
                <a:latin typeface="Inter"/>
                <a:cs typeface="Arial" panose="020B0604020202020204" pitchFamily="34" charset="0"/>
              </a:rPr>
              <a:t>, </a:t>
            </a:r>
            <a:r>
              <a:rPr lang="en-US" sz="2667" b="1" dirty="0">
                <a:solidFill>
                  <a:schemeClr val="bg2">
                    <a:lumMod val="50000"/>
                    <a:lumOff val="50000"/>
                  </a:schemeClr>
                </a:solidFill>
                <a:latin typeface="Inter"/>
                <a:cs typeface="Arial" panose="020B0604020202020204" pitchFamily="34" charset="0"/>
              </a:rPr>
              <a:t>scatter</a:t>
            </a:r>
            <a:r>
              <a:rPr lang="en-US" sz="2667" dirty="0">
                <a:solidFill>
                  <a:schemeClr val="bg2">
                    <a:lumMod val="50000"/>
                    <a:lumOff val="50000"/>
                  </a:schemeClr>
                </a:solidFill>
                <a:latin typeface="Inter"/>
                <a:cs typeface="Arial" panose="020B0604020202020204" pitchFamily="34" charset="0"/>
              </a:rPr>
              <a:t> or </a:t>
            </a:r>
            <a:r>
              <a:rPr lang="en-US" sz="2667" b="1" dirty="0">
                <a:solidFill>
                  <a:schemeClr val="bg2">
                    <a:lumMod val="50000"/>
                    <a:lumOff val="50000"/>
                  </a:schemeClr>
                </a:solidFill>
                <a:latin typeface="Inter"/>
                <a:cs typeface="Arial" panose="020B0604020202020204" pitchFamily="34" charset="0"/>
              </a:rPr>
              <a:t>dispersion</a:t>
            </a:r>
            <a:r>
              <a:rPr lang="en-US" sz="2667" dirty="0">
                <a:solidFill>
                  <a:schemeClr val="bg2">
                    <a:lumMod val="50000"/>
                    <a:lumOff val="50000"/>
                  </a:schemeClr>
                </a:solidFill>
                <a:latin typeface="Inter"/>
                <a:cs typeface="Arial" panose="020B0604020202020204" pitchFamily="34" charset="0"/>
              </a:rPr>
              <a:t>. It is most commonly measured with the following:</a:t>
            </a:r>
          </a:p>
          <a:p>
            <a:pPr>
              <a:buClr>
                <a:schemeClr val="bg1"/>
              </a:buClr>
            </a:pPr>
            <a:endParaRPr lang="en-US" sz="2667" dirty="0">
              <a:solidFill>
                <a:schemeClr val="bg2">
                  <a:lumMod val="50000"/>
                  <a:lumOff val="50000"/>
                </a:schemeClr>
              </a:solidFill>
              <a:latin typeface="Inter"/>
              <a:cs typeface="Arial" panose="020B0604020202020204" pitchFamily="34" charset="0"/>
            </a:endParaRPr>
          </a:p>
          <a:p>
            <a:pPr>
              <a:buClr>
                <a:schemeClr val="bg1"/>
              </a:buClr>
            </a:pPr>
            <a:r>
              <a:rPr lang="en-US" sz="2667" b="1" dirty="0">
                <a:solidFill>
                  <a:schemeClr val="accent1"/>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Range</a:t>
            </a:r>
            <a:r>
              <a:rPr lang="en-US" sz="2667" b="1" dirty="0">
                <a:solidFill>
                  <a:schemeClr val="accent1"/>
                </a:solidFill>
                <a:latin typeface="Inter"/>
                <a:cs typeface="Arial" panose="020B0604020202020204" pitchFamily="34" charset="0"/>
              </a:rPr>
              <a:t>: </a:t>
            </a:r>
            <a:r>
              <a:rPr lang="en-US" sz="2667" b="1" dirty="0">
                <a:solidFill>
                  <a:schemeClr val="bg2">
                    <a:lumMod val="50000"/>
                    <a:lumOff val="50000"/>
                  </a:schemeClr>
                </a:solidFill>
                <a:latin typeface="Inter"/>
                <a:cs typeface="Arial" panose="020B0604020202020204" pitchFamily="34" charset="0"/>
              </a:rPr>
              <a:t>	</a:t>
            </a:r>
            <a:r>
              <a:rPr lang="en-US" sz="2667" dirty="0">
                <a:solidFill>
                  <a:schemeClr val="bg2">
                    <a:lumMod val="50000"/>
                    <a:lumOff val="50000"/>
                  </a:schemeClr>
                </a:solidFill>
                <a:latin typeface="Inter"/>
                <a:cs typeface="Arial" panose="020B0604020202020204" pitchFamily="34" charset="0"/>
              </a:rPr>
              <a:t>		the difference between the highest and lowest values</a:t>
            </a:r>
          </a:p>
          <a:p>
            <a:pPr>
              <a:buClr>
                <a:schemeClr val="bg1"/>
              </a:buClr>
            </a:pPr>
            <a:r>
              <a:rPr lang="en-US" sz="2667" b="1" u="sng" dirty="0">
                <a:solidFill>
                  <a:schemeClr val="accent1"/>
                </a:solidFill>
                <a:latin typeface="Inter"/>
                <a:cs typeface="Arial" panose="020B0604020202020204" pitchFamily="34" charset="0"/>
              </a:rPr>
              <a:t>Quartile:</a:t>
            </a:r>
            <a:r>
              <a:rPr lang="en-US" sz="2667" dirty="0">
                <a:solidFill>
                  <a:schemeClr val="bg2">
                    <a:lumMod val="50000"/>
                    <a:lumOff val="50000"/>
                  </a:schemeClr>
                </a:solidFill>
                <a:latin typeface="Inter"/>
                <a:cs typeface="Arial" panose="020B0604020202020204" pitchFamily="34" charset="0"/>
              </a:rPr>
              <a:t> 		that divide a list of numbers into quarters</a:t>
            </a:r>
            <a:endParaRPr lang="en-US" sz="2667" b="1" u="sng" dirty="0">
              <a:solidFill>
                <a:schemeClr val="accent1"/>
              </a:solidFill>
              <a:latin typeface="Inter"/>
              <a:cs typeface="Arial" panose="020B0604020202020204" pitchFamily="34" charset="0"/>
            </a:endParaRPr>
          </a:p>
          <a:p>
            <a:pPr>
              <a:buClr>
                <a:schemeClr val="bg1"/>
              </a:buClr>
            </a:pPr>
            <a:r>
              <a:rPr lang="en-US" sz="2667" b="1" dirty="0">
                <a:solidFill>
                  <a:schemeClr val="accent1"/>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Interquartile range</a:t>
            </a:r>
            <a:r>
              <a:rPr lang="en-US" sz="2667" b="1" dirty="0">
                <a:solidFill>
                  <a:schemeClr val="accent1"/>
                </a:solidFill>
                <a:latin typeface="Inter"/>
                <a:cs typeface="Arial" panose="020B0604020202020204" pitchFamily="34" charset="0"/>
              </a:rPr>
              <a:t>: </a:t>
            </a:r>
            <a:r>
              <a:rPr lang="en-US" sz="2667" dirty="0">
                <a:solidFill>
                  <a:schemeClr val="bg2">
                    <a:lumMod val="50000"/>
                    <a:lumOff val="50000"/>
                  </a:schemeClr>
                </a:solidFill>
                <a:latin typeface="Inter"/>
                <a:cs typeface="Arial" panose="020B0604020202020204" pitchFamily="34" charset="0"/>
              </a:rPr>
              <a:t>	the range of the middle half of a distribution</a:t>
            </a:r>
          </a:p>
          <a:p>
            <a:pPr>
              <a:buClr>
                <a:schemeClr val="bg1"/>
              </a:buClr>
            </a:pPr>
            <a:r>
              <a:rPr lang="en-US" sz="2667" b="1" dirty="0">
                <a:solidFill>
                  <a:schemeClr val="accent1"/>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Standard deviation</a:t>
            </a:r>
            <a:r>
              <a:rPr lang="en-US" sz="2667" b="1" dirty="0">
                <a:solidFill>
                  <a:schemeClr val="accent1"/>
                </a:solidFill>
                <a:latin typeface="Inter"/>
                <a:cs typeface="Arial" panose="020B0604020202020204" pitchFamily="34" charset="0"/>
              </a:rPr>
              <a:t>: </a:t>
            </a:r>
            <a:r>
              <a:rPr lang="en-US" sz="2667" dirty="0">
                <a:solidFill>
                  <a:schemeClr val="bg2">
                    <a:lumMod val="50000"/>
                    <a:lumOff val="50000"/>
                  </a:schemeClr>
                </a:solidFill>
                <a:latin typeface="Inter"/>
                <a:cs typeface="Arial" panose="020B0604020202020204" pitchFamily="34" charset="0"/>
              </a:rPr>
              <a:t>	average distance from the mean</a:t>
            </a:r>
          </a:p>
          <a:p>
            <a:pPr>
              <a:buClr>
                <a:schemeClr val="bg1"/>
              </a:buClr>
            </a:pPr>
            <a:r>
              <a:rPr lang="en-US" sz="2667" b="1" dirty="0">
                <a:solidFill>
                  <a:schemeClr val="accent1"/>
                </a:solidFill>
                <a:latin typeface="Inter"/>
                <a:cs typeface="Arial" panose="020B0604020202020204" pitchFamily="34" charset="0"/>
                <a:hlinkClick r:id="rId5">
                  <a:extLst>
                    <a:ext uri="{A12FA001-AC4F-418D-AE19-62706E023703}">
                      <ahyp:hlinkClr xmlns:ahyp="http://schemas.microsoft.com/office/drawing/2018/hyperlinkcolor" val="tx"/>
                    </a:ext>
                  </a:extLst>
                </a:hlinkClick>
              </a:rPr>
              <a:t>Variance</a:t>
            </a:r>
            <a:r>
              <a:rPr lang="en-US" sz="2667" b="1" dirty="0">
                <a:solidFill>
                  <a:schemeClr val="accent1"/>
                </a:solidFill>
                <a:latin typeface="Inter"/>
                <a:cs typeface="Arial" panose="020B0604020202020204" pitchFamily="34" charset="0"/>
              </a:rPr>
              <a:t>: </a:t>
            </a:r>
            <a:r>
              <a:rPr lang="en-US" sz="2667" dirty="0">
                <a:solidFill>
                  <a:schemeClr val="bg2">
                    <a:lumMod val="50000"/>
                    <a:lumOff val="50000"/>
                  </a:schemeClr>
                </a:solidFill>
                <a:latin typeface="Inter"/>
                <a:cs typeface="Arial" panose="020B0604020202020204" pitchFamily="34" charset="0"/>
              </a:rPr>
              <a:t>		average of squared distances from the mean</a:t>
            </a:r>
          </a:p>
          <a:p>
            <a:pPr>
              <a:buClr>
                <a:schemeClr val="bg1"/>
              </a:buClr>
            </a:pPr>
            <a:endParaRPr lang="en-US" sz="1867" dirty="0">
              <a:solidFill>
                <a:schemeClr val="bg2"/>
              </a:solidFill>
            </a:endParaRPr>
          </a:p>
        </p:txBody>
      </p:sp>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4CF5456C-90E8-4EB1-B634-7FB217B81000}"/>
                  </a:ext>
                </a:extLst>
              </p14:cNvPr>
              <p14:cNvContentPartPr/>
              <p14:nvPr/>
            </p14:nvContentPartPr>
            <p14:xfrm>
              <a:off x="324000" y="19200"/>
              <a:ext cx="11862240" cy="6642240"/>
            </p14:xfrm>
          </p:contentPart>
        </mc:Choice>
        <mc:Fallback>
          <p:pic>
            <p:nvPicPr>
              <p:cNvPr id="4" name="Ink 3">
                <a:extLst>
                  <a:ext uri="{FF2B5EF4-FFF2-40B4-BE49-F238E27FC236}">
                    <a16:creationId xmlns:a16="http://schemas.microsoft.com/office/drawing/2014/main" id="{4CF5456C-90E8-4EB1-B634-7FB217B81000}"/>
                  </a:ext>
                </a:extLst>
              </p:cNvPr>
              <p:cNvPicPr/>
              <p:nvPr/>
            </p:nvPicPr>
            <p:blipFill>
              <a:blip r:embed="rId7"/>
              <a:stretch>
                <a:fillRect/>
              </a:stretch>
            </p:blipFill>
            <p:spPr>
              <a:xfrm>
                <a:off x="314640" y="9840"/>
                <a:ext cx="11880960" cy="6660961"/>
              </a:xfrm>
              <a:prstGeom prst="rect">
                <a:avLst/>
              </a:prstGeom>
            </p:spPr>
          </p:pic>
        </mc:Fallback>
      </mc:AlternateContent>
    </p:spTree>
    <p:extLst>
      <p:ext uri="{BB962C8B-B14F-4D97-AF65-F5344CB8AC3E}">
        <p14:creationId xmlns:p14="http://schemas.microsoft.com/office/powerpoint/2010/main" val="891461818"/>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D8BA4-EE20-4594-86BE-1831B7FC5366}"/>
              </a:ext>
            </a:extLst>
          </p:cNvPr>
          <p:cNvSpPr>
            <a:spLocks noGrp="1"/>
          </p:cNvSpPr>
          <p:nvPr>
            <p:ph type="title"/>
          </p:nvPr>
        </p:nvSpPr>
        <p:spPr>
          <a:xfrm>
            <a:off x="0" y="0"/>
            <a:ext cx="10972800" cy="850392"/>
          </a:xfrm>
        </p:spPr>
        <p:txBody>
          <a:bodyPr/>
          <a:lstStyle/>
          <a:p>
            <a:r>
              <a:rPr lang="en-US" dirty="0"/>
              <a:t>Why does variability matters? </a:t>
            </a:r>
          </a:p>
        </p:txBody>
      </p:sp>
      <p:pic>
        <p:nvPicPr>
          <p:cNvPr id="4" name="Picture 3">
            <a:extLst>
              <a:ext uri="{FF2B5EF4-FFF2-40B4-BE49-F238E27FC236}">
                <a16:creationId xmlns:a16="http://schemas.microsoft.com/office/drawing/2014/main" id="{B28A3692-9C0A-4265-A9CA-4E9ADB430840}"/>
              </a:ext>
            </a:extLst>
          </p:cNvPr>
          <p:cNvPicPr>
            <a:picLocks noChangeAspect="1"/>
          </p:cNvPicPr>
          <p:nvPr/>
        </p:nvPicPr>
        <p:blipFill>
          <a:blip r:embed="rId2"/>
          <a:stretch>
            <a:fillRect/>
          </a:stretch>
        </p:blipFill>
        <p:spPr>
          <a:xfrm>
            <a:off x="7380348" y="1110017"/>
            <a:ext cx="4374229" cy="3344657"/>
          </a:xfrm>
          <a:prstGeom prst="rect">
            <a:avLst/>
          </a:prstGeom>
        </p:spPr>
      </p:pic>
      <p:sp>
        <p:nvSpPr>
          <p:cNvPr id="5" name="TextBox 4">
            <a:extLst>
              <a:ext uri="{FF2B5EF4-FFF2-40B4-BE49-F238E27FC236}">
                <a16:creationId xmlns:a16="http://schemas.microsoft.com/office/drawing/2014/main" id="{C16DED31-9843-4D58-962A-5B07E801B359}"/>
              </a:ext>
            </a:extLst>
          </p:cNvPr>
          <p:cNvSpPr txBox="1"/>
          <p:nvPr/>
        </p:nvSpPr>
        <p:spPr>
          <a:xfrm>
            <a:off x="-1" y="642175"/>
            <a:ext cx="7132868" cy="4298741"/>
          </a:xfrm>
          <a:prstGeom prst="rect">
            <a:avLst/>
          </a:prstGeom>
          <a:noFill/>
        </p:spPr>
        <p:txBody>
          <a:bodyPr wrap="square" rtlCol="0">
            <a:spAutoFit/>
          </a:bodyPr>
          <a:lstStyle/>
          <a:p>
            <a:pPr>
              <a:buClr>
                <a:schemeClr val="bg1"/>
              </a:buClr>
            </a:pPr>
            <a:r>
              <a:rPr lang="en-US" sz="2400" dirty="0">
                <a:solidFill>
                  <a:schemeClr val="bg2">
                    <a:lumMod val="50000"/>
                    <a:lumOff val="50000"/>
                  </a:schemeClr>
                </a:solidFill>
                <a:latin typeface="Inter"/>
                <a:cs typeface="Arial" panose="020B0604020202020204" pitchFamily="34" charset="0"/>
              </a:rPr>
              <a:t>Ex : Variability in normal distribution </a:t>
            </a:r>
          </a:p>
          <a:p>
            <a:pPr>
              <a:buClr>
                <a:schemeClr val="bg1"/>
              </a:buClr>
            </a:pPr>
            <a:endParaRPr lang="en-US" sz="2400" dirty="0">
              <a:solidFill>
                <a:schemeClr val="bg2">
                  <a:lumMod val="50000"/>
                  <a:lumOff val="50000"/>
                </a:schemeClr>
              </a:solidFill>
              <a:latin typeface="Inter"/>
              <a:cs typeface="Arial" panose="020B0604020202020204" pitchFamily="34" charset="0"/>
            </a:endParaRPr>
          </a:p>
          <a:p>
            <a:pPr algn="l"/>
            <a:r>
              <a:rPr lang="en-US" sz="2400" dirty="0">
                <a:solidFill>
                  <a:schemeClr val="bg2">
                    <a:lumMod val="50000"/>
                    <a:lumOff val="50000"/>
                  </a:schemeClr>
                </a:solidFill>
                <a:latin typeface="Inter"/>
                <a:cs typeface="Arial" panose="020B0604020202020204" pitchFamily="34" charset="0"/>
              </a:rPr>
              <a:t>Using </a:t>
            </a:r>
            <a:r>
              <a:rPr lang="en-US" sz="2400" dirty="0">
                <a:solidFill>
                  <a:schemeClr val="bg2">
                    <a:lumMod val="50000"/>
                    <a:lumOff val="50000"/>
                  </a:schemeClr>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simple random samples</a:t>
            </a:r>
            <a:r>
              <a:rPr lang="en-US" sz="2400" dirty="0">
                <a:solidFill>
                  <a:schemeClr val="bg2">
                    <a:lumMod val="50000"/>
                    <a:lumOff val="50000"/>
                  </a:schemeClr>
                </a:solidFill>
                <a:latin typeface="Inter"/>
                <a:cs typeface="Arial" panose="020B0604020202020204" pitchFamily="34" charset="0"/>
              </a:rPr>
              <a:t>, you collect data from 3 groups:</a:t>
            </a:r>
          </a:p>
          <a:p>
            <a:pPr algn="l"/>
            <a:endParaRPr lang="en-US" sz="2400" dirty="0">
              <a:solidFill>
                <a:schemeClr val="bg2">
                  <a:lumMod val="50000"/>
                  <a:lumOff val="50000"/>
                </a:schemeClr>
              </a:solidFill>
              <a:latin typeface="Inter"/>
              <a:cs typeface="Arial" panose="020B0604020202020204" pitchFamily="34" charset="0"/>
            </a:endParaRPr>
          </a:p>
          <a:p>
            <a:pPr algn="l"/>
            <a:r>
              <a:rPr lang="en-US" sz="2400" dirty="0">
                <a:solidFill>
                  <a:schemeClr val="accent1"/>
                </a:solidFill>
                <a:latin typeface="Inter"/>
                <a:cs typeface="Arial" panose="020B0604020202020204" pitchFamily="34" charset="0"/>
              </a:rPr>
              <a:t>Sample A: </a:t>
            </a:r>
            <a:r>
              <a:rPr lang="en-US" sz="2400" dirty="0">
                <a:solidFill>
                  <a:schemeClr val="bg2">
                    <a:lumMod val="50000"/>
                    <a:lumOff val="50000"/>
                  </a:schemeClr>
                </a:solidFill>
                <a:latin typeface="Inter"/>
                <a:cs typeface="Arial" panose="020B0604020202020204" pitchFamily="34" charset="0"/>
              </a:rPr>
              <a:t>high school students,</a:t>
            </a:r>
          </a:p>
          <a:p>
            <a:pPr algn="l"/>
            <a:r>
              <a:rPr lang="en-US" sz="2400" dirty="0">
                <a:solidFill>
                  <a:schemeClr val="accent1"/>
                </a:solidFill>
                <a:latin typeface="Inter"/>
                <a:cs typeface="Arial" panose="020B0604020202020204" pitchFamily="34" charset="0"/>
              </a:rPr>
              <a:t>Sample B: </a:t>
            </a:r>
            <a:r>
              <a:rPr lang="en-US" sz="2400" dirty="0">
                <a:solidFill>
                  <a:schemeClr val="bg2">
                    <a:lumMod val="50000"/>
                    <a:lumOff val="50000"/>
                  </a:schemeClr>
                </a:solidFill>
                <a:latin typeface="Inter"/>
                <a:cs typeface="Arial" panose="020B0604020202020204" pitchFamily="34" charset="0"/>
              </a:rPr>
              <a:t>college students,</a:t>
            </a:r>
          </a:p>
          <a:p>
            <a:pPr algn="l"/>
            <a:r>
              <a:rPr lang="en-US" sz="2400" dirty="0">
                <a:solidFill>
                  <a:schemeClr val="accent1"/>
                </a:solidFill>
                <a:latin typeface="Inter"/>
                <a:cs typeface="Arial" panose="020B0604020202020204" pitchFamily="34" charset="0"/>
              </a:rPr>
              <a:t>Sample C: </a:t>
            </a:r>
            <a:r>
              <a:rPr lang="en-US" sz="2400" dirty="0">
                <a:solidFill>
                  <a:schemeClr val="bg2">
                    <a:lumMod val="50000"/>
                    <a:lumOff val="50000"/>
                  </a:schemeClr>
                </a:solidFill>
                <a:latin typeface="Inter"/>
                <a:cs typeface="Arial" panose="020B0604020202020204" pitchFamily="34" charset="0"/>
              </a:rPr>
              <a:t>adult full-time employees.</a:t>
            </a:r>
          </a:p>
          <a:p>
            <a:pPr algn="l">
              <a:buFont typeface="Arial" panose="020B0604020202020204" pitchFamily="34" charset="0"/>
              <a:buChar char="•"/>
            </a:pPr>
            <a:endParaRPr lang="en-US" sz="2400"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sz="2400"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sz="1467" dirty="0">
              <a:solidFill>
                <a:srgbClr val="0D405F"/>
              </a:solidFill>
              <a:latin typeface="Inter"/>
            </a:endParaRPr>
          </a:p>
          <a:p>
            <a:pPr>
              <a:buClr>
                <a:schemeClr val="bg1"/>
              </a:buClr>
            </a:pPr>
            <a:endParaRPr lang="en-US" sz="1867" dirty="0" err="1">
              <a:solidFill>
                <a:schemeClr val="bg2"/>
              </a:solidFill>
            </a:endParaRPr>
          </a:p>
        </p:txBody>
      </p:sp>
      <p:sp>
        <p:nvSpPr>
          <p:cNvPr id="6" name="TextBox 5">
            <a:extLst>
              <a:ext uri="{FF2B5EF4-FFF2-40B4-BE49-F238E27FC236}">
                <a16:creationId xmlns:a16="http://schemas.microsoft.com/office/drawing/2014/main" id="{DA648542-B575-4307-A4F5-A40FCCDE0A16}"/>
              </a:ext>
            </a:extLst>
          </p:cNvPr>
          <p:cNvSpPr txBox="1"/>
          <p:nvPr/>
        </p:nvSpPr>
        <p:spPr>
          <a:xfrm>
            <a:off x="83761" y="4876800"/>
            <a:ext cx="11773192" cy="1816266"/>
          </a:xfrm>
          <a:prstGeom prst="rect">
            <a:avLst/>
          </a:prstGeom>
          <a:noFill/>
        </p:spPr>
        <p:txBody>
          <a:bodyPr wrap="square" rtlCol="0">
            <a:spAutoFit/>
          </a:bodyPr>
          <a:lstStyle/>
          <a:p>
            <a:pPr algn="l"/>
            <a:r>
              <a:rPr lang="en-US" sz="1867" dirty="0">
                <a:solidFill>
                  <a:schemeClr val="bg2">
                    <a:lumMod val="50000"/>
                    <a:lumOff val="50000"/>
                  </a:schemeClr>
                </a:solidFill>
                <a:latin typeface="Inter"/>
                <a:cs typeface="Arial" panose="020B0604020202020204" pitchFamily="34" charset="0"/>
              </a:rPr>
              <a:t>All three of your samples have the same average phone use, at 195 minutes or 3 hours and 15 minutes. This is the x-axis value where the peak of the curves are.</a:t>
            </a:r>
          </a:p>
          <a:p>
            <a:pPr algn="l"/>
            <a:endParaRPr lang="en-US" sz="1867" dirty="0">
              <a:solidFill>
                <a:schemeClr val="bg2">
                  <a:lumMod val="50000"/>
                  <a:lumOff val="50000"/>
                </a:schemeClr>
              </a:solidFill>
              <a:latin typeface="Inter"/>
              <a:cs typeface="Arial" panose="020B0604020202020204" pitchFamily="34" charset="0"/>
            </a:endParaRPr>
          </a:p>
          <a:p>
            <a:pPr algn="l"/>
            <a:r>
              <a:rPr lang="en-US" sz="1867" dirty="0">
                <a:solidFill>
                  <a:schemeClr val="bg2">
                    <a:lumMod val="50000"/>
                    <a:lumOff val="50000"/>
                  </a:schemeClr>
                </a:solidFill>
                <a:latin typeface="Inter"/>
                <a:cs typeface="Arial" panose="020B0604020202020204" pitchFamily="34" charset="0"/>
              </a:rPr>
              <a:t>Although the data follows a </a:t>
            </a:r>
            <a:r>
              <a:rPr lang="en-US" sz="1867" dirty="0">
                <a:solidFill>
                  <a:schemeClr val="bg2">
                    <a:lumMod val="50000"/>
                    <a:lumOff val="50000"/>
                  </a:schemeClr>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normal distribution</a:t>
            </a:r>
            <a:r>
              <a:rPr lang="en-US" sz="1867" dirty="0">
                <a:solidFill>
                  <a:schemeClr val="bg2">
                    <a:lumMod val="50000"/>
                    <a:lumOff val="50000"/>
                  </a:schemeClr>
                </a:solidFill>
                <a:latin typeface="Inter"/>
                <a:cs typeface="Arial" panose="020B0604020202020204" pitchFamily="34" charset="0"/>
              </a:rPr>
              <a:t>, each sample has different spreads. Sample A has the largest variability while Sample C has the smallest variability.</a:t>
            </a:r>
          </a:p>
          <a:p>
            <a:pPr>
              <a:buClr>
                <a:schemeClr val="bg1"/>
              </a:buClr>
            </a:pPr>
            <a:endParaRPr lang="en-US" sz="1867" dirty="0" err="1">
              <a:solidFill>
                <a:schemeClr val="bg2"/>
              </a:solidFill>
            </a:endParaRPr>
          </a:p>
        </p:txBody>
      </p:sp>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22F16301-BEB7-4D0F-86B4-486A09BCE02E}"/>
                  </a:ext>
                </a:extLst>
              </p14:cNvPr>
              <p14:cNvContentPartPr/>
              <p14:nvPr/>
            </p14:nvContentPartPr>
            <p14:xfrm>
              <a:off x="965280" y="6240"/>
              <a:ext cx="11220960" cy="6572640"/>
            </p14:xfrm>
          </p:contentPart>
        </mc:Choice>
        <mc:Fallback>
          <p:pic>
            <p:nvPicPr>
              <p:cNvPr id="3" name="Ink 2">
                <a:extLst>
                  <a:ext uri="{FF2B5EF4-FFF2-40B4-BE49-F238E27FC236}">
                    <a16:creationId xmlns:a16="http://schemas.microsoft.com/office/drawing/2014/main" id="{22F16301-BEB7-4D0F-86B4-486A09BCE02E}"/>
                  </a:ext>
                </a:extLst>
              </p:cNvPr>
              <p:cNvPicPr/>
              <p:nvPr/>
            </p:nvPicPr>
            <p:blipFill>
              <a:blip r:embed="rId6"/>
              <a:stretch>
                <a:fillRect/>
              </a:stretch>
            </p:blipFill>
            <p:spPr>
              <a:xfrm>
                <a:off x="955920" y="-3120"/>
                <a:ext cx="11239680" cy="6591360"/>
              </a:xfrm>
              <a:prstGeom prst="rect">
                <a:avLst/>
              </a:prstGeom>
            </p:spPr>
          </p:pic>
        </mc:Fallback>
      </mc:AlternateContent>
    </p:spTree>
    <p:extLst>
      <p:ext uri="{BB962C8B-B14F-4D97-AF65-F5344CB8AC3E}">
        <p14:creationId xmlns:p14="http://schemas.microsoft.com/office/powerpoint/2010/main" val="1306192768"/>
      </p:ext>
    </p:extLst>
  </p:cSld>
  <p:clrMapOvr>
    <a:masterClrMapping/>
  </p:clrMapOvr>
  <p:transition spd="med">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7BF18-BDD0-4811-8BF9-7AA8D82CBE88}"/>
              </a:ext>
            </a:extLst>
          </p:cNvPr>
          <p:cNvSpPr>
            <a:spLocks noGrp="1"/>
          </p:cNvSpPr>
          <p:nvPr>
            <p:ph type="title"/>
          </p:nvPr>
        </p:nvSpPr>
        <p:spPr>
          <a:xfrm>
            <a:off x="134951" y="103345"/>
            <a:ext cx="10972800" cy="850392"/>
          </a:xfrm>
        </p:spPr>
        <p:txBody>
          <a:bodyPr/>
          <a:lstStyle/>
          <a:p>
            <a:r>
              <a:rPr lang="en-US" dirty="0"/>
              <a:t>Range</a:t>
            </a:r>
          </a:p>
        </p:txBody>
      </p:sp>
      <p:sp>
        <p:nvSpPr>
          <p:cNvPr id="3" name="TextBox 2">
            <a:extLst>
              <a:ext uri="{FF2B5EF4-FFF2-40B4-BE49-F238E27FC236}">
                <a16:creationId xmlns:a16="http://schemas.microsoft.com/office/drawing/2014/main" id="{B75B9029-80C6-49D8-8997-614ABF93772C}"/>
              </a:ext>
            </a:extLst>
          </p:cNvPr>
          <p:cNvSpPr txBox="1"/>
          <p:nvPr/>
        </p:nvSpPr>
        <p:spPr>
          <a:xfrm>
            <a:off x="55842" y="884152"/>
            <a:ext cx="11847645" cy="3006464"/>
          </a:xfrm>
          <a:prstGeom prst="rect">
            <a:avLst/>
          </a:prstGeom>
          <a:noFill/>
        </p:spPr>
        <p:txBody>
          <a:bodyPr wrap="square" rtlCol="0">
            <a:spAutoFit/>
          </a:bodyPr>
          <a:lstStyle/>
          <a:p>
            <a:pPr>
              <a:buClr>
                <a:schemeClr val="bg1"/>
              </a:buClr>
            </a:pPr>
            <a:r>
              <a:rPr lang="en-US" sz="2667" dirty="0">
                <a:solidFill>
                  <a:schemeClr val="bg2">
                    <a:lumMod val="50000"/>
                    <a:lumOff val="50000"/>
                  </a:schemeClr>
                </a:solidFill>
                <a:latin typeface="Inter"/>
                <a:cs typeface="Arial" panose="020B0604020202020204" pitchFamily="34" charset="0"/>
              </a:rPr>
              <a:t>The range tells you the spread of your data from the lowest to the highest value in the distribution. It’s the easiest measure of variability to calculate.</a:t>
            </a:r>
          </a:p>
          <a:p>
            <a:pPr marL="457189" indent="-457189">
              <a:buClr>
                <a:schemeClr val="bg1"/>
              </a:buClr>
              <a:buFont typeface="Wingdings" panose="05000000000000000000" pitchFamily="2" charset="2"/>
              <a:buChar char="Ø"/>
            </a:pPr>
            <a:r>
              <a:rPr lang="en-US" sz="2667" dirty="0">
                <a:solidFill>
                  <a:schemeClr val="bg2">
                    <a:lumMod val="50000"/>
                    <a:lumOff val="50000"/>
                  </a:schemeClr>
                </a:solidFill>
                <a:latin typeface="Inter"/>
                <a:cs typeface="Arial" panose="020B0604020202020204" pitchFamily="34" charset="0"/>
              </a:rPr>
              <a:t>To </a:t>
            </a:r>
            <a:r>
              <a:rPr lang="en-US" sz="2667" b="1" i="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find the range</a:t>
            </a:r>
            <a:r>
              <a:rPr lang="en-US" sz="2667" dirty="0">
                <a:solidFill>
                  <a:schemeClr val="bg2">
                    <a:lumMod val="50000"/>
                    <a:lumOff val="50000"/>
                  </a:schemeClr>
                </a:solidFill>
                <a:latin typeface="Inter"/>
                <a:cs typeface="Arial" panose="020B0604020202020204" pitchFamily="34" charset="0"/>
              </a:rPr>
              <a:t>, simply subtract the lowest value from the highest value in the data set.</a:t>
            </a:r>
          </a:p>
          <a:p>
            <a:pPr>
              <a:buClr>
                <a:schemeClr val="bg1"/>
              </a:buClr>
            </a:pPr>
            <a:endParaRPr lang="en-US" sz="2667" dirty="0">
              <a:solidFill>
                <a:schemeClr val="bg2">
                  <a:lumMod val="50000"/>
                  <a:lumOff val="50000"/>
                </a:schemeClr>
              </a:solidFill>
              <a:latin typeface="Inter"/>
              <a:cs typeface="Arial" panose="020B0604020202020204" pitchFamily="34" charset="0"/>
            </a:endParaRPr>
          </a:p>
          <a:p>
            <a:pPr>
              <a:buClr>
                <a:schemeClr val="bg1"/>
              </a:buClr>
            </a:pPr>
            <a:r>
              <a:rPr lang="en-US" sz="2667" dirty="0">
                <a:solidFill>
                  <a:schemeClr val="bg2">
                    <a:lumMod val="50000"/>
                    <a:lumOff val="50000"/>
                  </a:schemeClr>
                </a:solidFill>
                <a:latin typeface="Inter"/>
                <a:cs typeface="Arial" panose="020B0604020202020204" pitchFamily="34" charset="0"/>
              </a:rPr>
              <a:t>Ex: you have 8 data points from Sample A</a:t>
            </a:r>
          </a:p>
          <a:p>
            <a:pPr>
              <a:buClr>
                <a:schemeClr val="bg1"/>
              </a:buClr>
            </a:pPr>
            <a:endParaRPr lang="en-US" sz="1467" dirty="0">
              <a:solidFill>
                <a:srgbClr val="0D405F"/>
              </a:solidFill>
              <a:latin typeface="Inter"/>
            </a:endParaRPr>
          </a:p>
          <a:p>
            <a:pPr>
              <a:buClr>
                <a:schemeClr val="bg1"/>
              </a:buClr>
            </a:pPr>
            <a:r>
              <a:rPr lang="en-US" sz="1467" b="1" dirty="0">
                <a:solidFill>
                  <a:schemeClr val="accent1"/>
                </a:solidFill>
                <a:latin typeface="Inter"/>
              </a:rPr>
              <a:t>Data (Minutes) 		72	110	134	190	238	287	305	324</a:t>
            </a:r>
            <a:endParaRPr lang="en-US" sz="1867" b="1" dirty="0">
              <a:solidFill>
                <a:schemeClr val="accent1"/>
              </a:solidFill>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B8EE3F8B-90F8-4CBD-976F-03B004F52BA1}"/>
                  </a:ext>
                </a:extLst>
              </p14:cNvPr>
              <p14:cNvContentPartPr/>
              <p14:nvPr/>
            </p14:nvContentPartPr>
            <p14:xfrm>
              <a:off x="311040" y="450720"/>
              <a:ext cx="11684640" cy="5918880"/>
            </p14:xfrm>
          </p:contentPart>
        </mc:Choice>
        <mc:Fallback>
          <p:pic>
            <p:nvPicPr>
              <p:cNvPr id="4" name="Ink 3">
                <a:extLst>
                  <a:ext uri="{FF2B5EF4-FFF2-40B4-BE49-F238E27FC236}">
                    <a16:creationId xmlns:a16="http://schemas.microsoft.com/office/drawing/2014/main" id="{B8EE3F8B-90F8-4CBD-976F-03B004F52BA1}"/>
                  </a:ext>
                </a:extLst>
              </p:cNvPr>
              <p:cNvPicPr/>
              <p:nvPr/>
            </p:nvPicPr>
            <p:blipFill>
              <a:blip r:embed="rId4"/>
              <a:stretch>
                <a:fillRect/>
              </a:stretch>
            </p:blipFill>
            <p:spPr>
              <a:xfrm>
                <a:off x="301680" y="441360"/>
                <a:ext cx="11703360" cy="5937600"/>
              </a:xfrm>
              <a:prstGeom prst="rect">
                <a:avLst/>
              </a:prstGeom>
            </p:spPr>
          </p:pic>
        </mc:Fallback>
      </mc:AlternateContent>
    </p:spTree>
    <p:extLst>
      <p:ext uri="{BB962C8B-B14F-4D97-AF65-F5344CB8AC3E}">
        <p14:creationId xmlns:p14="http://schemas.microsoft.com/office/powerpoint/2010/main" val="3012658408"/>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98536" y="70240"/>
            <a:ext cx="10607040" cy="853440"/>
          </a:xfrm>
        </p:spPr>
        <p:txBody>
          <a:bodyPr>
            <a:normAutofit fontScale="90000"/>
          </a:bodyPr>
          <a:lstStyle/>
          <a:p>
            <a:r>
              <a:rPr lang="en-US" dirty="0"/>
              <a:t>Terminology </a:t>
            </a:r>
            <a:r>
              <a:rPr lang="en-US" sz="2133"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98538" y="923681"/>
            <a:ext cx="10531885" cy="3134753"/>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98536" y="2307908"/>
            <a:ext cx="9903912" cy="936856"/>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98536" y="3818492"/>
            <a:ext cx="11433760" cy="2337948"/>
          </a:xfrm>
          <a:prstGeom prst="rect">
            <a:avLst/>
          </a:prstGeom>
          <a:noFill/>
        </p:spPr>
        <p:txBody>
          <a:bodyPr wrap="square" rtlCol="0">
            <a:spAutoFit/>
          </a:bodyPr>
          <a:lstStyle/>
          <a:p>
            <a:pPr marL="380990" indent="-380990">
              <a:lnSpc>
                <a:spcPct val="107000"/>
              </a:lnSpc>
              <a:spcAft>
                <a:spcPts val="1067"/>
              </a:spcAft>
              <a:buFont typeface="Wingdings" panose="05000000000000000000" pitchFamily="2" charset="2"/>
              <a:buChar char="Ø"/>
            </a:pPr>
            <a:r>
              <a:rPr lang="en-US" sz="1867" dirty="0">
                <a:solidFill>
                  <a:schemeClr val="bg2">
                    <a:lumMod val="50000"/>
                    <a:lumOff val="50000"/>
                  </a:schemeClr>
                </a:solidFill>
                <a:latin typeface="Arial" panose="020B0604020202020204" pitchFamily="34" charset="0"/>
                <a:cs typeface="Arial" panose="020B0604020202020204" pitchFamily="34" charset="0"/>
              </a:rPr>
              <a:t>A </a:t>
            </a:r>
            <a:r>
              <a:rPr lang="en-US" sz="1867" dirty="0">
                <a:solidFill>
                  <a:schemeClr val="bg1"/>
                </a:solidFill>
                <a:latin typeface="Arial" panose="020B0604020202020204" pitchFamily="34" charset="0"/>
                <a:cs typeface="Arial" panose="020B0604020202020204" pitchFamily="34" charset="0"/>
              </a:rPr>
              <a:t>Variables</a:t>
            </a:r>
            <a:r>
              <a:rPr lang="en-US" sz="1867" dirty="0">
                <a:solidFill>
                  <a:schemeClr val="bg2">
                    <a:lumMod val="50000"/>
                    <a:lumOff val="50000"/>
                  </a:schemeClr>
                </a:solidFill>
                <a:latin typeface="Arial" panose="020B0604020202020204" pitchFamily="34" charset="0"/>
                <a:cs typeface="Arial" panose="020B0604020202020204" pitchFamily="34" charset="0"/>
              </a:rPr>
              <a:t> are things you measure, manipulate and control in statistics and research. </a:t>
            </a:r>
          </a:p>
          <a:p>
            <a:pPr marL="380990" indent="-380990">
              <a:lnSpc>
                <a:spcPct val="107000"/>
              </a:lnSpc>
              <a:spcAft>
                <a:spcPts val="1067"/>
              </a:spcAft>
              <a:buFont typeface="Wingdings" panose="05000000000000000000" pitchFamily="2" charset="2"/>
              <a:buChar char="Ø"/>
            </a:pPr>
            <a:r>
              <a:rPr lang="en-US" sz="1867" dirty="0">
                <a:solidFill>
                  <a:schemeClr val="bg2">
                    <a:lumMod val="50000"/>
                    <a:lumOff val="50000"/>
                  </a:scheme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380990" indent="-380990">
              <a:lnSpc>
                <a:spcPct val="107000"/>
              </a:lnSpc>
              <a:spcAft>
                <a:spcPts val="1067"/>
              </a:spcAft>
              <a:buFont typeface="Wingdings" panose="05000000000000000000" pitchFamily="2" charset="2"/>
              <a:buChar char="Ø"/>
            </a:pPr>
            <a:r>
              <a:rPr lang="en-US" sz="1867" dirty="0">
                <a:solidFill>
                  <a:schemeClr val="bg2">
                    <a:lumMod val="50000"/>
                    <a:lumOff val="50000"/>
                  </a:schemeClr>
                </a:solidFill>
                <a:latin typeface="Arial" panose="020B0604020202020204" pitchFamily="34" charset="0"/>
                <a:cs typeface="Arial" panose="020B0604020202020204" pitchFamily="34" charset="0"/>
              </a:rPr>
              <a:t>A variable can also be called as a data item</a:t>
            </a:r>
          </a:p>
          <a:p>
            <a:pPr marL="990575" lvl="1" indent="-380990">
              <a:lnSpc>
                <a:spcPct val="107000"/>
              </a:lnSpc>
              <a:spcAft>
                <a:spcPts val="1067"/>
              </a:spcAft>
              <a:buFont typeface="Arial" panose="020B0604020202020204" pitchFamily="34" charset="0"/>
              <a:buChar char="•"/>
            </a:pPr>
            <a:r>
              <a:rPr lang="en-US" sz="1867" i="1" dirty="0">
                <a:solidFill>
                  <a:schemeClr val="bg2">
                    <a:lumMod val="50000"/>
                    <a:lumOff val="50000"/>
                  </a:scheme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867" dirty="0">
                <a:solidFill>
                  <a:schemeClr val="bg2">
                    <a:lumMod val="50000"/>
                    <a:lumOff val="50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08532574"/>
      </p:ext>
    </p:extLst>
  </p:cSld>
  <p:clrMapOvr>
    <a:masterClrMapping/>
  </p:clrMapOvr>
  <p:transition spd="med">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71A17D-7635-493B-AB43-E07EB5D146FF}"/>
              </a:ext>
            </a:extLst>
          </p:cNvPr>
          <p:cNvSpPr/>
          <p:nvPr/>
        </p:nvSpPr>
        <p:spPr>
          <a:xfrm>
            <a:off x="819003" y="3957543"/>
            <a:ext cx="10553991" cy="612131"/>
          </a:xfrm>
          <a:prstGeom prst="rect">
            <a:avLst/>
          </a:prstGeom>
          <a:noFill/>
          <a:ln w="12700" cmpd="sng">
            <a:solidFill>
              <a:schemeClr val="bg2"/>
            </a:solidFill>
          </a:ln>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2" name="Title 1">
            <a:extLst>
              <a:ext uri="{FF2B5EF4-FFF2-40B4-BE49-F238E27FC236}">
                <a16:creationId xmlns:a16="http://schemas.microsoft.com/office/drawing/2014/main" id="{1E17F21F-77D2-498D-ACC0-34D5250C6951}"/>
              </a:ext>
            </a:extLst>
          </p:cNvPr>
          <p:cNvSpPr>
            <a:spLocks noGrp="1"/>
          </p:cNvSpPr>
          <p:nvPr>
            <p:ph type="title"/>
          </p:nvPr>
        </p:nvSpPr>
        <p:spPr>
          <a:xfrm>
            <a:off x="88415" y="0"/>
            <a:ext cx="10972800" cy="850392"/>
          </a:xfrm>
        </p:spPr>
        <p:txBody>
          <a:bodyPr/>
          <a:lstStyle/>
          <a:p>
            <a:r>
              <a:rPr lang="en-US" dirty="0"/>
              <a:t>Range can be misleading</a:t>
            </a:r>
          </a:p>
        </p:txBody>
      </p:sp>
      <p:sp>
        <p:nvSpPr>
          <p:cNvPr id="3" name="TextBox 2">
            <a:extLst>
              <a:ext uri="{FF2B5EF4-FFF2-40B4-BE49-F238E27FC236}">
                <a16:creationId xmlns:a16="http://schemas.microsoft.com/office/drawing/2014/main" id="{82F50FE0-C1C2-4BB0-B826-A9131CC07860}"/>
              </a:ext>
            </a:extLst>
          </p:cNvPr>
          <p:cNvSpPr txBox="1"/>
          <p:nvPr/>
        </p:nvSpPr>
        <p:spPr>
          <a:xfrm>
            <a:off x="214059" y="939995"/>
            <a:ext cx="11456756" cy="1734064"/>
          </a:xfrm>
          <a:prstGeom prst="rect">
            <a:avLst/>
          </a:prstGeom>
          <a:noFill/>
        </p:spPr>
        <p:txBody>
          <a:bodyPr wrap="square" rtlCol="0">
            <a:spAutoFit/>
          </a:bodyPr>
          <a:lstStyle/>
          <a:p>
            <a:pPr marL="457189" indent="-457189">
              <a:buClr>
                <a:schemeClr val="bg1"/>
              </a:buClr>
              <a:buFont typeface="Wingdings" panose="05000000000000000000" pitchFamily="2" charset="2"/>
              <a:buChar char="q"/>
            </a:pPr>
            <a:r>
              <a:rPr lang="en-US" sz="2667" dirty="0">
                <a:solidFill>
                  <a:schemeClr val="bg2">
                    <a:lumMod val="50000"/>
                    <a:lumOff val="50000"/>
                  </a:schemeClr>
                </a:solidFill>
                <a:latin typeface="Inter"/>
                <a:cs typeface="Arial" panose="020B0604020202020204" pitchFamily="34" charset="0"/>
              </a:rPr>
              <a:t>Because only 2 numbers are used, the range is influenced by </a:t>
            </a:r>
            <a:r>
              <a:rPr lang="en-US" sz="2667"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outliers</a:t>
            </a:r>
            <a:r>
              <a:rPr lang="en-US" sz="2667" dirty="0">
                <a:solidFill>
                  <a:schemeClr val="bg2">
                    <a:lumMod val="50000"/>
                    <a:lumOff val="50000"/>
                  </a:schemeClr>
                </a:solidFill>
                <a:latin typeface="Inter"/>
                <a:cs typeface="Arial" panose="020B0604020202020204" pitchFamily="34" charset="0"/>
              </a:rPr>
              <a:t> and doesn’t give you any information about the distribution of values. </a:t>
            </a:r>
          </a:p>
          <a:p>
            <a:pPr>
              <a:buClr>
                <a:schemeClr val="bg1"/>
              </a:buClr>
            </a:pPr>
            <a:endParaRPr lang="en-US" sz="2667" dirty="0">
              <a:solidFill>
                <a:schemeClr val="bg2">
                  <a:lumMod val="50000"/>
                  <a:lumOff val="50000"/>
                </a:schemeClr>
              </a:solidFill>
              <a:latin typeface="Inter"/>
              <a:cs typeface="Arial" panose="020B0604020202020204" pitchFamily="34" charset="0"/>
            </a:endParaRPr>
          </a:p>
          <a:p>
            <a:pPr marL="457189" indent="-457189">
              <a:buClr>
                <a:schemeClr val="bg1"/>
              </a:buClr>
              <a:buFont typeface="Wingdings" panose="05000000000000000000" pitchFamily="2" charset="2"/>
              <a:buChar char="q"/>
            </a:pPr>
            <a:r>
              <a:rPr lang="en-US" sz="2667" dirty="0">
                <a:solidFill>
                  <a:schemeClr val="bg2">
                    <a:lumMod val="50000"/>
                    <a:lumOff val="50000"/>
                  </a:schemeClr>
                </a:solidFill>
                <a:latin typeface="Inter"/>
                <a:cs typeface="Arial" panose="020B0604020202020204" pitchFamily="34" charset="0"/>
              </a:rPr>
              <a:t>It’s best used in combination with other measures.</a:t>
            </a:r>
          </a:p>
        </p:txBody>
      </p:sp>
      <p:sp>
        <p:nvSpPr>
          <p:cNvPr id="4" name="TextBox 3">
            <a:extLst>
              <a:ext uri="{FF2B5EF4-FFF2-40B4-BE49-F238E27FC236}">
                <a16:creationId xmlns:a16="http://schemas.microsoft.com/office/drawing/2014/main" id="{85E3C32C-D87E-4DEA-9465-5133B118800A}"/>
              </a:ext>
            </a:extLst>
          </p:cNvPr>
          <p:cNvSpPr txBox="1"/>
          <p:nvPr/>
        </p:nvSpPr>
        <p:spPr>
          <a:xfrm>
            <a:off x="819005" y="3957543"/>
            <a:ext cx="10553991" cy="502766"/>
          </a:xfrm>
          <a:prstGeom prst="rect">
            <a:avLst/>
          </a:prstGeom>
          <a:noFill/>
        </p:spPr>
        <p:txBody>
          <a:bodyPr wrap="square" rtlCol="0">
            <a:spAutoFit/>
          </a:bodyPr>
          <a:lstStyle/>
          <a:p>
            <a:pPr>
              <a:buClr>
                <a:schemeClr val="bg1"/>
              </a:buClr>
            </a:pPr>
            <a:r>
              <a:rPr lang="en-US" sz="2667" dirty="0">
                <a:solidFill>
                  <a:schemeClr val="bg2">
                    <a:lumMod val="50000"/>
                    <a:lumOff val="50000"/>
                  </a:schemeClr>
                </a:solidFill>
                <a:latin typeface="Inter"/>
                <a:cs typeface="Arial" panose="020B0604020202020204" pitchFamily="34" charset="0"/>
              </a:rPr>
              <a:t>So, we may be better off using </a:t>
            </a:r>
            <a:r>
              <a:rPr lang="en-US" sz="2667" b="1" dirty="0">
                <a:solidFill>
                  <a:schemeClr val="accent1"/>
                </a:solidFill>
                <a:latin typeface="Inter"/>
                <a:cs typeface="Arial" panose="020B0604020202020204" pitchFamily="34" charset="0"/>
              </a:rPr>
              <a:t>Interquartile Range </a:t>
            </a:r>
            <a:r>
              <a:rPr lang="en-US" sz="2667" dirty="0">
                <a:solidFill>
                  <a:schemeClr val="bg2">
                    <a:lumMod val="50000"/>
                    <a:lumOff val="50000"/>
                  </a:schemeClr>
                </a:solidFill>
                <a:latin typeface="Inter"/>
                <a:cs typeface="Arial" panose="020B0604020202020204" pitchFamily="34" charset="0"/>
              </a:rPr>
              <a:t>or </a:t>
            </a:r>
            <a:r>
              <a:rPr lang="en-US" sz="2667" b="1" dirty="0">
                <a:solidFill>
                  <a:schemeClr val="accent1"/>
                </a:solidFill>
                <a:latin typeface="Inter"/>
                <a:cs typeface="Arial" panose="020B0604020202020204" pitchFamily="34" charset="0"/>
              </a:rPr>
              <a:t>Standard Deviation</a:t>
            </a:r>
          </a:p>
        </p:txBody>
      </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AAC8D0F3-587F-4AC6-BEBC-3AE719A670E4}"/>
                  </a:ext>
                </a:extLst>
              </p14:cNvPr>
              <p14:cNvContentPartPr/>
              <p14:nvPr/>
            </p14:nvContentPartPr>
            <p14:xfrm>
              <a:off x="2597280" y="108000"/>
              <a:ext cx="9188640" cy="6591840"/>
            </p14:xfrm>
          </p:contentPart>
        </mc:Choice>
        <mc:Fallback>
          <p:pic>
            <p:nvPicPr>
              <p:cNvPr id="6" name="Ink 5">
                <a:extLst>
                  <a:ext uri="{FF2B5EF4-FFF2-40B4-BE49-F238E27FC236}">
                    <a16:creationId xmlns:a16="http://schemas.microsoft.com/office/drawing/2014/main" id="{AAC8D0F3-587F-4AC6-BEBC-3AE719A670E4}"/>
                  </a:ext>
                </a:extLst>
              </p:cNvPr>
              <p:cNvPicPr/>
              <p:nvPr/>
            </p:nvPicPr>
            <p:blipFill>
              <a:blip r:embed="rId4"/>
              <a:stretch>
                <a:fillRect/>
              </a:stretch>
            </p:blipFill>
            <p:spPr>
              <a:xfrm>
                <a:off x="2587920" y="99000"/>
                <a:ext cx="9207360" cy="6610561"/>
              </a:xfrm>
              <a:prstGeom prst="rect">
                <a:avLst/>
              </a:prstGeom>
            </p:spPr>
          </p:pic>
        </mc:Fallback>
      </mc:AlternateContent>
    </p:spTree>
    <p:extLst>
      <p:ext uri="{BB962C8B-B14F-4D97-AF65-F5344CB8AC3E}">
        <p14:creationId xmlns:p14="http://schemas.microsoft.com/office/powerpoint/2010/main" val="1368213410"/>
      </p:ext>
    </p:extLst>
  </p:cSld>
  <p:clrMapOvr>
    <a:masterClrMapping/>
  </p:clrMapOvr>
  <p:transition spd="med">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3BF71-DFC5-427E-A65C-107910B8233F}"/>
              </a:ext>
            </a:extLst>
          </p:cNvPr>
          <p:cNvSpPr>
            <a:spLocks noGrp="1"/>
          </p:cNvSpPr>
          <p:nvPr>
            <p:ph type="title"/>
          </p:nvPr>
        </p:nvSpPr>
        <p:spPr>
          <a:xfrm>
            <a:off x="97721" y="131267"/>
            <a:ext cx="10972800" cy="850392"/>
          </a:xfrm>
        </p:spPr>
        <p:txBody>
          <a:bodyPr/>
          <a:lstStyle/>
          <a:p>
            <a:r>
              <a:rPr lang="en-US" dirty="0"/>
              <a:t>Quartiles</a:t>
            </a:r>
          </a:p>
        </p:txBody>
      </p:sp>
      <p:sp>
        <p:nvSpPr>
          <p:cNvPr id="3" name="TextBox 2">
            <a:extLst>
              <a:ext uri="{FF2B5EF4-FFF2-40B4-BE49-F238E27FC236}">
                <a16:creationId xmlns:a16="http://schemas.microsoft.com/office/drawing/2014/main" id="{BB64782E-BA76-46E6-BA36-C05EB80808B3}"/>
              </a:ext>
            </a:extLst>
          </p:cNvPr>
          <p:cNvSpPr txBox="1"/>
          <p:nvPr/>
        </p:nvSpPr>
        <p:spPr>
          <a:xfrm>
            <a:off x="167524" y="1060982"/>
            <a:ext cx="10740128" cy="2965364"/>
          </a:xfrm>
          <a:prstGeom prst="rect">
            <a:avLst/>
          </a:prstGeom>
          <a:noFill/>
        </p:spPr>
        <p:txBody>
          <a:bodyPr wrap="square" rtlCol="0">
            <a:spAutoFit/>
          </a:bodyPr>
          <a:lstStyle/>
          <a:p>
            <a:pPr>
              <a:buClr>
                <a:schemeClr val="bg1"/>
              </a:buClr>
            </a:pPr>
            <a:r>
              <a:rPr lang="en-US" sz="2667" dirty="0">
                <a:solidFill>
                  <a:schemeClr val="bg2">
                    <a:lumMod val="50000"/>
                    <a:lumOff val="50000"/>
                  </a:schemeClr>
                </a:solidFill>
                <a:latin typeface="Inter"/>
                <a:cs typeface="Arial" panose="020B0604020202020204" pitchFamily="34" charset="0"/>
              </a:rPr>
              <a:t>Quartiles are the values that divide a list of numbers into quarters:</a:t>
            </a:r>
          </a:p>
          <a:p>
            <a:pPr>
              <a:buClr>
                <a:schemeClr val="bg1"/>
              </a:buClr>
            </a:pPr>
            <a:endParaRPr lang="en-US" sz="2667" dirty="0">
              <a:solidFill>
                <a:schemeClr val="bg2">
                  <a:lumMod val="50000"/>
                  <a:lumOff val="50000"/>
                </a:schemeClr>
              </a:solidFill>
              <a:latin typeface="Inter"/>
              <a:cs typeface="Arial" panose="020B0604020202020204" pitchFamily="34" charset="0"/>
            </a:endParaRPr>
          </a:p>
          <a:p>
            <a:pPr marL="457189" indent="-457189">
              <a:buClr>
                <a:schemeClr val="bg1"/>
              </a:buClr>
              <a:buFont typeface="Wingdings" panose="05000000000000000000" pitchFamily="2" charset="2"/>
              <a:buChar char="q"/>
            </a:pPr>
            <a:r>
              <a:rPr lang="en-US" sz="2667" dirty="0">
                <a:solidFill>
                  <a:schemeClr val="bg2">
                    <a:lumMod val="50000"/>
                    <a:lumOff val="50000"/>
                  </a:schemeClr>
                </a:solidFill>
                <a:latin typeface="Inter"/>
                <a:cs typeface="Arial" panose="020B0604020202020204" pitchFamily="34" charset="0"/>
              </a:rPr>
              <a:t>Put the list of numbers in order</a:t>
            </a:r>
          </a:p>
          <a:p>
            <a:pPr>
              <a:buClr>
                <a:schemeClr val="bg1"/>
              </a:buClr>
            </a:pPr>
            <a:endParaRPr lang="en-US" sz="2667" dirty="0">
              <a:solidFill>
                <a:schemeClr val="bg2">
                  <a:lumMod val="50000"/>
                  <a:lumOff val="50000"/>
                </a:schemeClr>
              </a:solidFill>
              <a:latin typeface="Inter"/>
              <a:cs typeface="Arial" panose="020B0604020202020204" pitchFamily="34" charset="0"/>
            </a:endParaRPr>
          </a:p>
          <a:p>
            <a:pPr marL="457189" indent="-457189">
              <a:buClr>
                <a:schemeClr val="bg1"/>
              </a:buClr>
              <a:buFont typeface="Wingdings" panose="05000000000000000000" pitchFamily="2" charset="2"/>
              <a:buChar char="q"/>
            </a:pPr>
            <a:r>
              <a:rPr lang="en-US" sz="2667" dirty="0">
                <a:solidFill>
                  <a:schemeClr val="bg2">
                    <a:lumMod val="50000"/>
                    <a:lumOff val="50000"/>
                  </a:schemeClr>
                </a:solidFill>
                <a:latin typeface="Inter"/>
                <a:cs typeface="Arial" panose="020B0604020202020204" pitchFamily="34" charset="0"/>
              </a:rPr>
              <a:t>Then cut the list into four equal parts</a:t>
            </a:r>
          </a:p>
          <a:p>
            <a:pPr>
              <a:buClr>
                <a:schemeClr val="bg1"/>
              </a:buClr>
            </a:pPr>
            <a:endParaRPr lang="en-US" sz="2667" dirty="0">
              <a:solidFill>
                <a:schemeClr val="bg2">
                  <a:lumMod val="50000"/>
                  <a:lumOff val="50000"/>
                </a:schemeClr>
              </a:solidFill>
              <a:latin typeface="Inter"/>
              <a:cs typeface="Arial" panose="020B0604020202020204" pitchFamily="34" charset="0"/>
            </a:endParaRPr>
          </a:p>
          <a:p>
            <a:pPr marL="457189" indent="-457189">
              <a:buClr>
                <a:schemeClr val="bg1"/>
              </a:buClr>
              <a:buFont typeface="Wingdings" panose="05000000000000000000" pitchFamily="2" charset="2"/>
              <a:buChar char="q"/>
            </a:pPr>
            <a:r>
              <a:rPr lang="en-US" sz="2667" dirty="0">
                <a:solidFill>
                  <a:schemeClr val="bg2">
                    <a:lumMod val="50000"/>
                    <a:lumOff val="50000"/>
                  </a:schemeClr>
                </a:solidFill>
                <a:latin typeface="Inter"/>
                <a:cs typeface="Arial" panose="020B0604020202020204" pitchFamily="34" charset="0"/>
              </a:rPr>
              <a:t>The Quartiles are at the "cuts"</a:t>
            </a:r>
          </a:p>
        </p:txBody>
      </p:sp>
      <p:pic>
        <p:nvPicPr>
          <p:cNvPr id="5" name="Picture 4" descr="Icon&#10;&#10;Description automatically generated">
            <a:extLst>
              <a:ext uri="{FF2B5EF4-FFF2-40B4-BE49-F238E27FC236}">
                <a16:creationId xmlns:a16="http://schemas.microsoft.com/office/drawing/2014/main" id="{C0D2230B-C88E-42F0-8B61-73C227906A0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087764" y="2558827"/>
            <a:ext cx="4061867" cy="4061867"/>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2649F936-5384-43FA-9218-60974012F387}"/>
                  </a:ext>
                </a:extLst>
              </p14:cNvPr>
              <p14:cNvContentPartPr/>
              <p14:nvPr/>
            </p14:nvContentPartPr>
            <p14:xfrm>
              <a:off x="3187680" y="1028640"/>
              <a:ext cx="6401280" cy="2972160"/>
            </p14:xfrm>
          </p:contentPart>
        </mc:Choice>
        <mc:Fallback>
          <p:pic>
            <p:nvPicPr>
              <p:cNvPr id="4" name="Ink 3">
                <a:extLst>
                  <a:ext uri="{FF2B5EF4-FFF2-40B4-BE49-F238E27FC236}">
                    <a16:creationId xmlns:a16="http://schemas.microsoft.com/office/drawing/2014/main" id="{2649F936-5384-43FA-9218-60974012F387}"/>
                  </a:ext>
                </a:extLst>
              </p:cNvPr>
              <p:cNvPicPr/>
              <p:nvPr/>
            </p:nvPicPr>
            <p:blipFill>
              <a:blip r:embed="rId5"/>
              <a:stretch>
                <a:fillRect/>
              </a:stretch>
            </p:blipFill>
            <p:spPr>
              <a:xfrm>
                <a:off x="3178320" y="1019280"/>
                <a:ext cx="6420000" cy="2990880"/>
              </a:xfrm>
              <a:prstGeom prst="rect">
                <a:avLst/>
              </a:prstGeom>
            </p:spPr>
          </p:pic>
        </mc:Fallback>
      </mc:AlternateContent>
    </p:spTree>
    <p:extLst>
      <p:ext uri="{BB962C8B-B14F-4D97-AF65-F5344CB8AC3E}">
        <p14:creationId xmlns:p14="http://schemas.microsoft.com/office/powerpoint/2010/main" val="3035897662"/>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96CD2-A218-41FD-81FB-068327F9D7E8}"/>
              </a:ext>
            </a:extLst>
          </p:cNvPr>
          <p:cNvSpPr>
            <a:spLocks noGrp="1"/>
          </p:cNvSpPr>
          <p:nvPr>
            <p:ph type="title"/>
          </p:nvPr>
        </p:nvSpPr>
        <p:spPr>
          <a:xfrm>
            <a:off x="0" y="0"/>
            <a:ext cx="10972800" cy="850392"/>
          </a:xfrm>
        </p:spPr>
        <p:txBody>
          <a:bodyPr/>
          <a:lstStyle/>
          <a:p>
            <a:r>
              <a:rPr lang="en-US" dirty="0"/>
              <a:t>Quartile</a:t>
            </a:r>
          </a:p>
        </p:txBody>
      </p:sp>
      <p:sp>
        <p:nvSpPr>
          <p:cNvPr id="4" name="TextBox 3">
            <a:extLst>
              <a:ext uri="{FF2B5EF4-FFF2-40B4-BE49-F238E27FC236}">
                <a16:creationId xmlns:a16="http://schemas.microsoft.com/office/drawing/2014/main" id="{51564A6B-0B9B-4B53-869D-F275C99CECAC}"/>
              </a:ext>
            </a:extLst>
          </p:cNvPr>
          <p:cNvSpPr txBox="1"/>
          <p:nvPr/>
        </p:nvSpPr>
        <p:spPr>
          <a:xfrm>
            <a:off x="74456" y="720567"/>
            <a:ext cx="10898345" cy="2677656"/>
          </a:xfrm>
          <a:prstGeom prst="rect">
            <a:avLst/>
          </a:prstGeom>
          <a:noFill/>
        </p:spPr>
        <p:txBody>
          <a:bodyPr wrap="square" rtlCol="0">
            <a:spAutoFit/>
          </a:bodyPr>
          <a:lstStyle/>
          <a:p>
            <a:pPr>
              <a:buClr>
                <a:schemeClr val="bg1"/>
              </a:buClr>
            </a:pPr>
            <a:r>
              <a:rPr lang="en-US" sz="2400" b="1" dirty="0">
                <a:solidFill>
                  <a:schemeClr val="bg2">
                    <a:lumMod val="50000"/>
                    <a:lumOff val="50000"/>
                  </a:schemeClr>
                </a:solidFill>
                <a:latin typeface="Inter"/>
                <a:cs typeface="Arial" panose="020B0604020202020204" pitchFamily="34" charset="0"/>
              </a:rPr>
              <a:t>Ex : 5, 7, 4, 4, 6, 2, 8</a:t>
            </a:r>
          </a:p>
          <a:p>
            <a:pPr>
              <a:buClr>
                <a:schemeClr val="bg1"/>
              </a:buClr>
            </a:pPr>
            <a:endParaRPr lang="en-US" sz="2400" b="1" dirty="0">
              <a:solidFill>
                <a:schemeClr val="bg2">
                  <a:lumMod val="50000"/>
                  <a:lumOff val="50000"/>
                </a:schemeClr>
              </a:solidFill>
              <a:latin typeface="Inter"/>
              <a:cs typeface="Arial" panose="020B0604020202020204" pitchFamily="34" charset="0"/>
            </a:endParaRPr>
          </a:p>
          <a:p>
            <a:pPr>
              <a:buClr>
                <a:schemeClr val="bg1"/>
              </a:buClr>
            </a:pPr>
            <a:r>
              <a:rPr lang="en-US" sz="2400" b="1" dirty="0">
                <a:solidFill>
                  <a:schemeClr val="bg2">
                    <a:lumMod val="50000"/>
                    <a:lumOff val="50000"/>
                  </a:schemeClr>
                </a:solidFill>
                <a:latin typeface="Inter"/>
                <a:cs typeface="Arial" panose="020B0604020202020204" pitchFamily="34" charset="0"/>
              </a:rPr>
              <a:t>Put them in order </a:t>
            </a:r>
            <a:r>
              <a:rPr lang="en-US" sz="2400" dirty="0">
                <a:solidFill>
                  <a:schemeClr val="bg2">
                    <a:lumMod val="50000"/>
                    <a:lumOff val="50000"/>
                  </a:schemeClr>
                </a:solidFill>
                <a:latin typeface="Inter"/>
                <a:cs typeface="Arial" panose="020B0604020202020204" pitchFamily="34" charset="0"/>
              </a:rPr>
              <a:t>: 2, 4, 4, 5, 6, 7, 8</a:t>
            </a:r>
          </a:p>
          <a:p>
            <a:pPr>
              <a:buClr>
                <a:schemeClr val="bg1"/>
              </a:buClr>
            </a:pPr>
            <a:endParaRPr lang="en-US" sz="2400" b="1" dirty="0">
              <a:solidFill>
                <a:schemeClr val="bg2">
                  <a:lumMod val="50000"/>
                  <a:lumOff val="50000"/>
                </a:schemeClr>
              </a:solidFill>
              <a:latin typeface="Inter"/>
              <a:cs typeface="Arial" panose="020B0604020202020204" pitchFamily="34" charset="0"/>
            </a:endParaRPr>
          </a:p>
          <a:p>
            <a:pPr>
              <a:buClr>
                <a:schemeClr val="bg1"/>
              </a:buClr>
            </a:pPr>
            <a:r>
              <a:rPr lang="en-US" sz="2400" b="1" dirty="0">
                <a:solidFill>
                  <a:schemeClr val="bg2">
                    <a:lumMod val="50000"/>
                    <a:lumOff val="50000"/>
                  </a:schemeClr>
                </a:solidFill>
                <a:latin typeface="Inter"/>
                <a:cs typeface="Arial" panose="020B0604020202020204" pitchFamily="34" charset="0"/>
              </a:rPr>
              <a:t>Cut the List into Quarters : </a:t>
            </a:r>
          </a:p>
          <a:p>
            <a:pPr>
              <a:buClr>
                <a:schemeClr val="bg1"/>
              </a:buClr>
            </a:pPr>
            <a:endParaRPr lang="en-US" sz="2400" b="1" dirty="0">
              <a:solidFill>
                <a:schemeClr val="bg2">
                  <a:lumMod val="50000"/>
                  <a:lumOff val="50000"/>
                </a:schemeClr>
              </a:solidFill>
              <a:latin typeface="Inter"/>
              <a:cs typeface="Arial" panose="020B0604020202020204" pitchFamily="34" charset="0"/>
            </a:endParaRPr>
          </a:p>
          <a:p>
            <a:pPr>
              <a:buClr>
                <a:schemeClr val="bg1"/>
              </a:buClr>
            </a:pPr>
            <a:endParaRPr lang="en-US" sz="2400" b="1" dirty="0">
              <a:solidFill>
                <a:schemeClr val="bg2"/>
              </a:solidFill>
            </a:endParaRPr>
          </a:p>
        </p:txBody>
      </p:sp>
      <p:pic>
        <p:nvPicPr>
          <p:cNvPr id="6" name="Picture 5">
            <a:extLst>
              <a:ext uri="{FF2B5EF4-FFF2-40B4-BE49-F238E27FC236}">
                <a16:creationId xmlns:a16="http://schemas.microsoft.com/office/drawing/2014/main" id="{1B565FA1-179B-418E-89CE-CB7A5FE56550}"/>
              </a:ext>
            </a:extLst>
          </p:cNvPr>
          <p:cNvPicPr>
            <a:picLocks noChangeAspect="1"/>
          </p:cNvPicPr>
          <p:nvPr/>
        </p:nvPicPr>
        <p:blipFill>
          <a:blip r:embed="rId2"/>
          <a:stretch>
            <a:fillRect/>
          </a:stretch>
        </p:blipFill>
        <p:spPr>
          <a:xfrm>
            <a:off x="3030404" y="2843118"/>
            <a:ext cx="4107965" cy="1920111"/>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A2962FEA-725A-4FF7-8A94-E4CEE43E7DBA}"/>
                  </a:ext>
                </a:extLst>
              </p14:cNvPr>
              <p14:cNvContentPartPr/>
              <p14:nvPr/>
            </p14:nvContentPartPr>
            <p14:xfrm>
              <a:off x="768480" y="1117440"/>
              <a:ext cx="9531840" cy="4769280"/>
            </p14:xfrm>
          </p:contentPart>
        </mc:Choice>
        <mc:Fallback>
          <p:pic>
            <p:nvPicPr>
              <p:cNvPr id="3" name="Ink 2">
                <a:extLst>
                  <a:ext uri="{FF2B5EF4-FFF2-40B4-BE49-F238E27FC236}">
                    <a16:creationId xmlns:a16="http://schemas.microsoft.com/office/drawing/2014/main" id="{A2962FEA-725A-4FF7-8A94-E4CEE43E7DBA}"/>
                  </a:ext>
                </a:extLst>
              </p:cNvPr>
              <p:cNvPicPr/>
              <p:nvPr/>
            </p:nvPicPr>
            <p:blipFill>
              <a:blip r:embed="rId4"/>
              <a:stretch>
                <a:fillRect/>
              </a:stretch>
            </p:blipFill>
            <p:spPr>
              <a:xfrm>
                <a:off x="759120" y="1108080"/>
                <a:ext cx="9550560" cy="4788000"/>
              </a:xfrm>
              <a:prstGeom prst="rect">
                <a:avLst/>
              </a:prstGeom>
            </p:spPr>
          </p:pic>
        </mc:Fallback>
      </mc:AlternateContent>
    </p:spTree>
    <p:extLst>
      <p:ext uri="{BB962C8B-B14F-4D97-AF65-F5344CB8AC3E}">
        <p14:creationId xmlns:p14="http://schemas.microsoft.com/office/powerpoint/2010/main" val="610422850"/>
      </p:ext>
    </p:extLst>
  </p:cSld>
  <p:clrMapOvr>
    <a:masterClrMapping/>
  </p:clrMapOvr>
  <p:transition spd="med">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B1DF-923A-42F7-BB0D-328499793335}"/>
              </a:ext>
            </a:extLst>
          </p:cNvPr>
          <p:cNvSpPr>
            <a:spLocks noGrp="1"/>
          </p:cNvSpPr>
          <p:nvPr>
            <p:ph type="title"/>
          </p:nvPr>
        </p:nvSpPr>
        <p:spPr>
          <a:xfrm>
            <a:off x="0" y="75425"/>
            <a:ext cx="10972800" cy="850392"/>
          </a:xfrm>
        </p:spPr>
        <p:txBody>
          <a:bodyPr/>
          <a:lstStyle/>
          <a:p>
            <a:r>
              <a:rPr lang="en-US" dirty="0"/>
              <a:t>Quartile</a:t>
            </a:r>
          </a:p>
        </p:txBody>
      </p:sp>
      <p:sp>
        <p:nvSpPr>
          <p:cNvPr id="3" name="TextBox 2">
            <a:extLst>
              <a:ext uri="{FF2B5EF4-FFF2-40B4-BE49-F238E27FC236}">
                <a16:creationId xmlns:a16="http://schemas.microsoft.com/office/drawing/2014/main" id="{6D6F2D4B-88D4-4088-AF08-0BC82059D804}"/>
              </a:ext>
            </a:extLst>
          </p:cNvPr>
          <p:cNvSpPr txBox="1"/>
          <p:nvPr/>
        </p:nvSpPr>
        <p:spPr>
          <a:xfrm>
            <a:off x="1" y="612044"/>
            <a:ext cx="12024476" cy="6515310"/>
          </a:xfrm>
          <a:prstGeom prst="rect">
            <a:avLst/>
          </a:prstGeom>
          <a:noFill/>
        </p:spPr>
        <p:txBody>
          <a:bodyPr wrap="square" rtlCol="0">
            <a:spAutoFit/>
          </a:bodyPr>
          <a:lstStyle/>
          <a:p>
            <a:pPr>
              <a:buClr>
                <a:schemeClr val="bg1"/>
              </a:buClr>
            </a:pPr>
            <a:r>
              <a:rPr lang="en-US" sz="2667" dirty="0">
                <a:solidFill>
                  <a:schemeClr val="bg2">
                    <a:lumMod val="50000"/>
                    <a:lumOff val="50000"/>
                  </a:schemeClr>
                </a:solidFill>
                <a:latin typeface="Inter"/>
                <a:cs typeface="Arial" panose="020B0604020202020204" pitchFamily="34" charset="0"/>
              </a:rPr>
              <a:t>Sometimes a "cut" is between two numbers ... the Quartile is the average of the two numbers</a:t>
            </a:r>
          </a:p>
          <a:p>
            <a:pPr>
              <a:buClr>
                <a:schemeClr val="bg1"/>
              </a:buClr>
            </a:pPr>
            <a:endParaRPr lang="en-US" sz="2667" dirty="0">
              <a:solidFill>
                <a:schemeClr val="bg2">
                  <a:lumMod val="50000"/>
                  <a:lumOff val="50000"/>
                </a:schemeClr>
              </a:solidFill>
              <a:latin typeface="Inter"/>
              <a:cs typeface="Arial" panose="020B0604020202020204" pitchFamily="34" charset="0"/>
            </a:endParaRPr>
          </a:p>
          <a:p>
            <a:pPr algn="l"/>
            <a:r>
              <a:rPr lang="en-US" sz="2400" b="1" dirty="0">
                <a:solidFill>
                  <a:schemeClr val="bg2">
                    <a:lumMod val="50000"/>
                    <a:lumOff val="50000"/>
                  </a:schemeClr>
                </a:solidFill>
                <a:latin typeface="Inter"/>
                <a:cs typeface="Arial" panose="020B0604020202020204" pitchFamily="34" charset="0"/>
              </a:rPr>
              <a:t>Example: 1, 3, 3, 4, 5, 6, 6, 7, 8, 8</a:t>
            </a:r>
          </a:p>
          <a:p>
            <a:pPr marL="380990" indent="-380990">
              <a:buFont typeface="Wingdings" panose="05000000000000000000" pitchFamily="2" charset="2"/>
              <a:buChar char="Ø"/>
            </a:pPr>
            <a:r>
              <a:rPr lang="en-US" sz="2400" dirty="0">
                <a:solidFill>
                  <a:schemeClr val="bg2">
                    <a:lumMod val="50000"/>
                    <a:lumOff val="50000"/>
                  </a:schemeClr>
                </a:solidFill>
                <a:latin typeface="Inter"/>
                <a:cs typeface="Arial" panose="020B0604020202020204" pitchFamily="34" charset="0"/>
              </a:rPr>
              <a:t>The numbers are already in order</a:t>
            </a:r>
          </a:p>
          <a:p>
            <a:pPr marL="380990" indent="-380990">
              <a:buFont typeface="Wingdings" panose="05000000000000000000" pitchFamily="2" charset="2"/>
              <a:buChar char="Ø"/>
            </a:pPr>
            <a:r>
              <a:rPr lang="en-US" sz="2400" dirty="0">
                <a:solidFill>
                  <a:schemeClr val="bg2">
                    <a:lumMod val="50000"/>
                    <a:lumOff val="50000"/>
                  </a:schemeClr>
                </a:solidFill>
                <a:latin typeface="Inter"/>
                <a:cs typeface="Arial" panose="020B0604020202020204" pitchFamily="34" charset="0"/>
              </a:rPr>
              <a:t>Cut the list into quarters:</a:t>
            </a:r>
          </a:p>
          <a:p>
            <a:pPr marL="380990" indent="-380990">
              <a:buFont typeface="Wingdings" panose="05000000000000000000" pitchFamily="2" charset="2"/>
              <a:buChar char="Ø"/>
            </a:pPr>
            <a:endParaRPr lang="en-US" sz="2400" dirty="0">
              <a:solidFill>
                <a:schemeClr val="bg2">
                  <a:lumMod val="50000"/>
                  <a:lumOff val="50000"/>
                </a:schemeClr>
              </a:solidFill>
              <a:latin typeface="Inter"/>
              <a:cs typeface="Arial" panose="020B0604020202020204" pitchFamily="34" charset="0"/>
            </a:endParaRPr>
          </a:p>
          <a:p>
            <a:pPr algn="l"/>
            <a:endParaRPr lang="en-US" sz="2400" dirty="0">
              <a:solidFill>
                <a:schemeClr val="bg2">
                  <a:lumMod val="50000"/>
                  <a:lumOff val="50000"/>
                </a:schemeClr>
              </a:solidFill>
              <a:latin typeface="Inter"/>
              <a:cs typeface="Arial" panose="020B0604020202020204" pitchFamily="34" charset="0"/>
            </a:endParaRPr>
          </a:p>
          <a:p>
            <a:pPr algn="l"/>
            <a:r>
              <a:rPr lang="en-US" sz="2667" dirty="0">
                <a:solidFill>
                  <a:schemeClr val="bg2">
                    <a:lumMod val="50000"/>
                    <a:lumOff val="50000"/>
                  </a:schemeClr>
                </a:solidFill>
                <a:latin typeface="Inter"/>
                <a:cs typeface="Arial" panose="020B0604020202020204" pitchFamily="34" charset="0"/>
              </a:rPr>
              <a:t>In this case Quartile 2 is halfway between 5 and 6:</a:t>
            </a:r>
          </a:p>
          <a:p>
            <a:pPr algn="l"/>
            <a:r>
              <a:rPr lang="en-US" sz="2667" dirty="0">
                <a:solidFill>
                  <a:schemeClr val="bg2">
                    <a:lumMod val="50000"/>
                    <a:lumOff val="50000"/>
                  </a:schemeClr>
                </a:solidFill>
                <a:latin typeface="Inter"/>
                <a:cs typeface="Arial" panose="020B0604020202020204" pitchFamily="34" charset="0"/>
              </a:rPr>
              <a:t>		Q2 = (5+6)/2 = 5.5</a:t>
            </a:r>
          </a:p>
          <a:p>
            <a:pPr algn="l"/>
            <a:r>
              <a:rPr lang="en-US" sz="2667" b="1" i="1" dirty="0">
                <a:solidFill>
                  <a:schemeClr val="bg2">
                    <a:lumMod val="50000"/>
                    <a:lumOff val="50000"/>
                  </a:schemeClr>
                </a:solidFill>
                <a:latin typeface="Inter"/>
                <a:cs typeface="Arial" panose="020B0604020202020204" pitchFamily="34" charset="0"/>
              </a:rPr>
              <a:t>And the result is:</a:t>
            </a:r>
          </a:p>
          <a:p>
            <a:pPr algn="l"/>
            <a:r>
              <a:rPr lang="en-US" sz="2667" dirty="0">
                <a:solidFill>
                  <a:schemeClr val="bg2">
                    <a:lumMod val="50000"/>
                    <a:lumOff val="50000"/>
                  </a:schemeClr>
                </a:solidFill>
                <a:latin typeface="Inter"/>
                <a:cs typeface="Arial" panose="020B0604020202020204" pitchFamily="34" charset="0"/>
              </a:rPr>
              <a:t>Quartile 1 (Q1) = 3</a:t>
            </a:r>
          </a:p>
          <a:p>
            <a:pPr algn="l"/>
            <a:r>
              <a:rPr lang="en-US" sz="2667" dirty="0">
                <a:solidFill>
                  <a:schemeClr val="bg2">
                    <a:lumMod val="50000"/>
                    <a:lumOff val="50000"/>
                  </a:schemeClr>
                </a:solidFill>
                <a:latin typeface="Inter"/>
                <a:cs typeface="Arial" panose="020B0604020202020204" pitchFamily="34" charset="0"/>
              </a:rPr>
              <a:t>Quartile 2 (Q2) = 5.5</a:t>
            </a:r>
          </a:p>
          <a:p>
            <a:pPr algn="l"/>
            <a:r>
              <a:rPr lang="en-US" sz="2667" dirty="0">
                <a:solidFill>
                  <a:schemeClr val="bg2">
                    <a:lumMod val="50000"/>
                    <a:lumOff val="50000"/>
                  </a:schemeClr>
                </a:solidFill>
                <a:latin typeface="Inter"/>
                <a:cs typeface="Arial" panose="020B0604020202020204" pitchFamily="34" charset="0"/>
              </a:rPr>
              <a:t>Quartile 3 (Q3) = 7</a:t>
            </a:r>
          </a:p>
          <a:p>
            <a:pPr marL="380990" indent="-380990">
              <a:buFont typeface="Wingdings" panose="05000000000000000000" pitchFamily="2" charset="2"/>
              <a:buChar char="Ø"/>
            </a:pPr>
            <a:endParaRPr lang="en-US" sz="2400" dirty="0">
              <a:solidFill>
                <a:schemeClr val="bg2">
                  <a:lumMod val="50000"/>
                  <a:lumOff val="50000"/>
                </a:schemeClr>
              </a:solidFill>
              <a:latin typeface="Inter"/>
              <a:cs typeface="Arial" panose="020B0604020202020204" pitchFamily="34" charset="0"/>
            </a:endParaRPr>
          </a:p>
          <a:p>
            <a:pPr>
              <a:buClr>
                <a:schemeClr val="bg1"/>
              </a:buClr>
            </a:pPr>
            <a:endParaRPr lang="en-US" sz="1467" dirty="0">
              <a:solidFill>
                <a:srgbClr val="333333"/>
              </a:solidFill>
              <a:latin typeface="Verdana" panose="020B0604030504040204" pitchFamily="34" charset="0"/>
            </a:endParaRPr>
          </a:p>
          <a:p>
            <a:pPr>
              <a:buClr>
                <a:schemeClr val="bg1"/>
              </a:buClr>
            </a:pPr>
            <a:endParaRPr lang="en-US" sz="1867" dirty="0">
              <a:solidFill>
                <a:schemeClr val="bg2"/>
              </a:solidFill>
            </a:endParaRPr>
          </a:p>
        </p:txBody>
      </p:sp>
      <p:pic>
        <p:nvPicPr>
          <p:cNvPr id="5" name="Picture 4">
            <a:extLst>
              <a:ext uri="{FF2B5EF4-FFF2-40B4-BE49-F238E27FC236}">
                <a16:creationId xmlns:a16="http://schemas.microsoft.com/office/drawing/2014/main" id="{B8D3FA8A-E1F8-48C3-893C-09F0E75760C3}"/>
              </a:ext>
            </a:extLst>
          </p:cNvPr>
          <p:cNvPicPr>
            <a:picLocks noChangeAspect="1"/>
          </p:cNvPicPr>
          <p:nvPr/>
        </p:nvPicPr>
        <p:blipFill>
          <a:blip r:embed="rId2"/>
          <a:stretch>
            <a:fillRect/>
          </a:stretch>
        </p:blipFill>
        <p:spPr>
          <a:xfrm>
            <a:off x="5486401" y="1540527"/>
            <a:ext cx="5606081" cy="2020895"/>
          </a:xfrm>
          <a:prstGeom prst="rect">
            <a:avLst/>
          </a:prstGeom>
        </p:spPr>
      </p:pic>
    </p:spTree>
    <p:extLst>
      <p:ext uri="{BB962C8B-B14F-4D97-AF65-F5344CB8AC3E}">
        <p14:creationId xmlns:p14="http://schemas.microsoft.com/office/powerpoint/2010/main" val="480427111"/>
      </p:ext>
    </p:extLst>
  </p:cSld>
  <p:clrMapOvr>
    <a:masterClrMapping/>
  </p:clrMapOvr>
  <p:transition spd="med">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19C6A-64C3-4584-B1ED-A04DC1EC1D56}"/>
              </a:ext>
            </a:extLst>
          </p:cNvPr>
          <p:cNvSpPr>
            <a:spLocks noGrp="1"/>
          </p:cNvSpPr>
          <p:nvPr>
            <p:ph type="title"/>
          </p:nvPr>
        </p:nvSpPr>
        <p:spPr>
          <a:xfrm>
            <a:off x="0" y="0"/>
            <a:ext cx="12192000" cy="850392"/>
          </a:xfrm>
        </p:spPr>
        <p:txBody>
          <a:bodyPr>
            <a:normAutofit fontScale="90000"/>
          </a:bodyPr>
          <a:lstStyle/>
          <a:p>
            <a:r>
              <a:rPr lang="en-US" dirty="0"/>
              <a:t>How to find Q1, Q2, Q3 ? lets do a small example to get the understanding</a:t>
            </a:r>
            <a:br>
              <a:rPr lang="en-US" sz="2400" dirty="0">
                <a:latin typeface="Calibri" panose="020F0502020204030204" pitchFamily="34" charset="0"/>
                <a:ea typeface="DengXian" panose="02010600030101010101" pitchFamily="2" charset="-122"/>
                <a:cs typeface="Times New Roman" panose="02020603050405020304" pitchFamily="18" charset="0"/>
              </a:rPr>
            </a:br>
            <a:endParaRPr lang="en-US" dirty="0"/>
          </a:p>
        </p:txBody>
      </p:sp>
      <mc:AlternateContent xmlns:mc="http://schemas.openxmlformats.org/markup-compatibility/2006">
        <mc:Choice xmlns:p14="http://schemas.microsoft.com/office/powerpoint/2010/main" Requires="p14">
          <p:contentPart p14:bwMode="auto" r:id="rId2">
            <p14:nvContentPartPr>
              <p14:cNvPr id="3" name="Ink 2">
                <a:extLst>
                  <a:ext uri="{FF2B5EF4-FFF2-40B4-BE49-F238E27FC236}">
                    <a16:creationId xmlns:a16="http://schemas.microsoft.com/office/drawing/2014/main" id="{D29544DF-A350-4E1C-ACD5-C32B08F8F1CA}"/>
                  </a:ext>
                </a:extLst>
              </p14:cNvPr>
              <p14:cNvContentPartPr/>
              <p14:nvPr/>
            </p14:nvContentPartPr>
            <p14:xfrm>
              <a:off x="76320" y="1111200"/>
              <a:ext cx="11512800" cy="5664960"/>
            </p14:xfrm>
          </p:contentPart>
        </mc:Choice>
        <mc:Fallback>
          <p:pic>
            <p:nvPicPr>
              <p:cNvPr id="3" name="Ink 2">
                <a:extLst>
                  <a:ext uri="{FF2B5EF4-FFF2-40B4-BE49-F238E27FC236}">
                    <a16:creationId xmlns:a16="http://schemas.microsoft.com/office/drawing/2014/main" id="{D29544DF-A350-4E1C-ACD5-C32B08F8F1CA}"/>
                  </a:ext>
                </a:extLst>
              </p:cNvPr>
              <p:cNvPicPr/>
              <p:nvPr/>
            </p:nvPicPr>
            <p:blipFill>
              <a:blip r:embed="rId3"/>
              <a:stretch>
                <a:fillRect/>
              </a:stretch>
            </p:blipFill>
            <p:spPr>
              <a:xfrm>
                <a:off x="66960" y="1101840"/>
                <a:ext cx="11531520" cy="5683680"/>
              </a:xfrm>
              <a:prstGeom prst="rect">
                <a:avLst/>
              </a:prstGeom>
            </p:spPr>
          </p:pic>
        </mc:Fallback>
      </mc:AlternateContent>
    </p:spTree>
    <p:extLst>
      <p:ext uri="{BB962C8B-B14F-4D97-AF65-F5344CB8AC3E}">
        <p14:creationId xmlns:p14="http://schemas.microsoft.com/office/powerpoint/2010/main" val="770549809"/>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DDF7-9977-4F1F-89F2-D84EB59C0B30}"/>
              </a:ext>
            </a:extLst>
          </p:cNvPr>
          <p:cNvSpPr>
            <a:spLocks noGrp="1"/>
          </p:cNvSpPr>
          <p:nvPr>
            <p:ph type="title"/>
          </p:nvPr>
        </p:nvSpPr>
        <p:spPr>
          <a:xfrm>
            <a:off x="0" y="0"/>
            <a:ext cx="10972800" cy="850392"/>
          </a:xfrm>
        </p:spPr>
        <p:txBody>
          <a:bodyPr/>
          <a:lstStyle/>
          <a:p>
            <a:r>
              <a:rPr lang="en-US" dirty="0"/>
              <a:t>Interquartile Range</a:t>
            </a:r>
          </a:p>
        </p:txBody>
      </p:sp>
      <p:sp>
        <p:nvSpPr>
          <p:cNvPr id="3" name="TextBox 2">
            <a:extLst>
              <a:ext uri="{FF2B5EF4-FFF2-40B4-BE49-F238E27FC236}">
                <a16:creationId xmlns:a16="http://schemas.microsoft.com/office/drawing/2014/main" id="{EC723DC2-7B90-4304-AAC3-E683C7BC140B}"/>
              </a:ext>
            </a:extLst>
          </p:cNvPr>
          <p:cNvSpPr txBox="1"/>
          <p:nvPr/>
        </p:nvSpPr>
        <p:spPr>
          <a:xfrm>
            <a:off x="0" y="850393"/>
            <a:ext cx="12080317" cy="2431820"/>
          </a:xfrm>
          <a:prstGeom prst="rect">
            <a:avLst/>
          </a:prstGeom>
          <a:noFill/>
        </p:spPr>
        <p:txBody>
          <a:bodyPr wrap="square" rtlCol="0">
            <a:spAutoFit/>
          </a:bodyPr>
          <a:lstStyle/>
          <a:p>
            <a:pPr marL="457189" indent="-457189">
              <a:buFont typeface="Wingdings" panose="05000000000000000000" pitchFamily="2" charset="2"/>
              <a:buChar char="Ø"/>
            </a:pPr>
            <a:r>
              <a:rPr lang="en-US" sz="2667" dirty="0">
                <a:solidFill>
                  <a:schemeClr val="bg2">
                    <a:lumMod val="50000"/>
                    <a:lumOff val="50000"/>
                  </a:schemeClr>
                </a:solidFill>
                <a:latin typeface="Inter"/>
                <a:cs typeface="Arial" panose="020B0604020202020204" pitchFamily="34" charset="0"/>
              </a:rPr>
              <a:t>The</a:t>
            </a:r>
            <a:r>
              <a:rPr lang="en-US" sz="2667"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 </a:t>
            </a:r>
            <a:r>
              <a:rPr lang="en-US" sz="2667" b="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interquartile range</a:t>
            </a:r>
            <a:r>
              <a:rPr lang="en-US" sz="2667" b="1" dirty="0">
                <a:solidFill>
                  <a:schemeClr val="bg2">
                    <a:lumMod val="50000"/>
                    <a:lumOff val="50000"/>
                  </a:schemeClr>
                </a:solidFill>
                <a:latin typeface="Inter"/>
                <a:cs typeface="Arial" panose="020B0604020202020204" pitchFamily="34" charset="0"/>
              </a:rPr>
              <a:t> </a:t>
            </a:r>
            <a:r>
              <a:rPr lang="en-US" sz="2667" dirty="0">
                <a:solidFill>
                  <a:schemeClr val="bg2">
                    <a:lumMod val="50000"/>
                    <a:lumOff val="50000"/>
                  </a:schemeClr>
                </a:solidFill>
                <a:latin typeface="Inter"/>
                <a:cs typeface="Arial" panose="020B0604020202020204" pitchFamily="34" charset="0"/>
              </a:rPr>
              <a:t>gives you the spread of the middle of your distribution.</a:t>
            </a:r>
          </a:p>
          <a:p>
            <a:pPr marL="457189" indent="-457189">
              <a:buFont typeface="Wingdings" panose="05000000000000000000" pitchFamily="2" charset="2"/>
              <a:buChar char="Ø"/>
            </a:pPr>
            <a:endParaRPr lang="en-US" sz="2667" dirty="0">
              <a:solidFill>
                <a:schemeClr val="bg2">
                  <a:lumMod val="50000"/>
                  <a:lumOff val="50000"/>
                </a:schemeClr>
              </a:solidFill>
              <a:latin typeface="Inter"/>
              <a:cs typeface="Arial" panose="020B0604020202020204" pitchFamily="34" charset="0"/>
            </a:endParaRPr>
          </a:p>
          <a:p>
            <a:pPr marL="457189" indent="-457189">
              <a:buFont typeface="Wingdings" panose="05000000000000000000" pitchFamily="2" charset="2"/>
              <a:buChar char="Ø"/>
            </a:pPr>
            <a:r>
              <a:rPr lang="en-US" sz="2667" dirty="0">
                <a:solidFill>
                  <a:schemeClr val="bg2">
                    <a:lumMod val="50000"/>
                    <a:lumOff val="50000"/>
                  </a:schemeClr>
                </a:solidFill>
                <a:latin typeface="Inter"/>
                <a:cs typeface="Arial" panose="020B0604020202020204" pitchFamily="34" charset="0"/>
              </a:rPr>
              <a:t>For any distribution that’s ordered from low to high, the interquartile range contains half of the values. While the first quartile (Q1) contains the first 25% of values, the fourth quartile (Q4) contains the last 25% of values.</a:t>
            </a:r>
          </a:p>
          <a:p>
            <a:pPr>
              <a:buClr>
                <a:schemeClr val="bg1"/>
              </a:buClr>
            </a:pPr>
            <a:endParaRPr lang="en-US" sz="1867" dirty="0" err="1">
              <a:solidFill>
                <a:schemeClr val="bg2"/>
              </a:solidFill>
            </a:endParaRPr>
          </a:p>
        </p:txBody>
      </p:sp>
      <p:pic>
        <p:nvPicPr>
          <p:cNvPr id="5" name="Picture 4">
            <a:extLst>
              <a:ext uri="{FF2B5EF4-FFF2-40B4-BE49-F238E27FC236}">
                <a16:creationId xmlns:a16="http://schemas.microsoft.com/office/drawing/2014/main" id="{D92FD61A-25F3-4C72-BB82-FCCE08F21D34}"/>
              </a:ext>
            </a:extLst>
          </p:cNvPr>
          <p:cNvPicPr>
            <a:picLocks noChangeAspect="1"/>
          </p:cNvPicPr>
          <p:nvPr/>
        </p:nvPicPr>
        <p:blipFill>
          <a:blip r:embed="rId3"/>
          <a:stretch>
            <a:fillRect/>
          </a:stretch>
        </p:blipFill>
        <p:spPr>
          <a:xfrm>
            <a:off x="3050571" y="3548223"/>
            <a:ext cx="5391189" cy="2709807"/>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BFA09E02-EFF9-45BA-A361-510C1F35679A}"/>
                  </a:ext>
                </a:extLst>
              </p14:cNvPr>
              <p14:cNvContentPartPr/>
              <p14:nvPr/>
            </p14:nvContentPartPr>
            <p14:xfrm>
              <a:off x="1168320" y="2127360"/>
              <a:ext cx="10706880" cy="3251520"/>
            </p14:xfrm>
          </p:contentPart>
        </mc:Choice>
        <mc:Fallback>
          <p:pic>
            <p:nvPicPr>
              <p:cNvPr id="4" name="Ink 3">
                <a:extLst>
                  <a:ext uri="{FF2B5EF4-FFF2-40B4-BE49-F238E27FC236}">
                    <a16:creationId xmlns:a16="http://schemas.microsoft.com/office/drawing/2014/main" id="{BFA09E02-EFF9-45BA-A361-510C1F35679A}"/>
                  </a:ext>
                </a:extLst>
              </p:cNvPr>
              <p:cNvPicPr/>
              <p:nvPr/>
            </p:nvPicPr>
            <p:blipFill>
              <a:blip r:embed="rId5"/>
              <a:stretch>
                <a:fillRect/>
              </a:stretch>
            </p:blipFill>
            <p:spPr>
              <a:xfrm>
                <a:off x="1158960" y="2118000"/>
                <a:ext cx="10725600" cy="3270240"/>
              </a:xfrm>
              <a:prstGeom prst="rect">
                <a:avLst/>
              </a:prstGeom>
            </p:spPr>
          </p:pic>
        </mc:Fallback>
      </mc:AlternateContent>
    </p:spTree>
    <p:extLst>
      <p:ext uri="{BB962C8B-B14F-4D97-AF65-F5344CB8AC3E}">
        <p14:creationId xmlns:p14="http://schemas.microsoft.com/office/powerpoint/2010/main" val="1056268501"/>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6D149-A19F-47BE-87C4-806F1BF7BC68}"/>
              </a:ext>
            </a:extLst>
          </p:cNvPr>
          <p:cNvSpPr>
            <a:spLocks noGrp="1"/>
          </p:cNvSpPr>
          <p:nvPr>
            <p:ph type="title"/>
          </p:nvPr>
        </p:nvSpPr>
        <p:spPr>
          <a:xfrm>
            <a:off x="0" y="0"/>
            <a:ext cx="10972800" cy="850392"/>
          </a:xfrm>
        </p:spPr>
        <p:txBody>
          <a:bodyPr/>
          <a:lstStyle/>
          <a:p>
            <a:r>
              <a:rPr lang="en-US" dirty="0"/>
              <a:t>Interquartile Range</a:t>
            </a:r>
          </a:p>
        </p:txBody>
      </p:sp>
      <p:sp>
        <p:nvSpPr>
          <p:cNvPr id="3" name="TextBox 2">
            <a:extLst>
              <a:ext uri="{FF2B5EF4-FFF2-40B4-BE49-F238E27FC236}">
                <a16:creationId xmlns:a16="http://schemas.microsoft.com/office/drawing/2014/main" id="{AC999203-3FC5-457B-83C4-A1677B14ED3D}"/>
              </a:ext>
            </a:extLst>
          </p:cNvPr>
          <p:cNvSpPr txBox="1"/>
          <p:nvPr/>
        </p:nvSpPr>
        <p:spPr>
          <a:xfrm>
            <a:off x="0" y="967916"/>
            <a:ext cx="12192000" cy="1528752"/>
          </a:xfrm>
          <a:prstGeom prst="rect">
            <a:avLst/>
          </a:prstGeom>
          <a:noFill/>
        </p:spPr>
        <p:txBody>
          <a:bodyPr wrap="square" rtlCol="0">
            <a:spAutoFit/>
          </a:bodyPr>
          <a:lstStyle/>
          <a:p>
            <a:pPr>
              <a:buClr>
                <a:schemeClr val="bg1"/>
              </a:buClr>
            </a:pPr>
            <a:r>
              <a:rPr lang="en-US" sz="3733" dirty="0">
                <a:solidFill>
                  <a:schemeClr val="bg2">
                    <a:lumMod val="50000"/>
                    <a:lumOff val="50000"/>
                  </a:schemeClr>
                </a:solidFill>
                <a:latin typeface="Inter"/>
                <a:cs typeface="Arial" panose="020B0604020202020204" pitchFamily="34" charset="0"/>
              </a:rPr>
              <a:t>Ex: you have 8 data points from Sample A</a:t>
            </a:r>
          </a:p>
          <a:p>
            <a:pPr>
              <a:buClr>
                <a:schemeClr val="bg1"/>
              </a:buClr>
            </a:pPr>
            <a:endParaRPr lang="en-US" sz="1867" dirty="0">
              <a:solidFill>
                <a:srgbClr val="0D405F"/>
              </a:solidFill>
              <a:latin typeface="Inter"/>
            </a:endParaRPr>
          </a:p>
          <a:p>
            <a:pPr>
              <a:buClr>
                <a:schemeClr val="bg1"/>
              </a:buClr>
            </a:pPr>
            <a:r>
              <a:rPr lang="en-US" sz="1867" b="1" dirty="0">
                <a:solidFill>
                  <a:schemeClr val="accent1"/>
                </a:solidFill>
                <a:latin typeface="Inter"/>
              </a:rPr>
              <a:t>Data (Minutes) 	72	110	134	190	238	287	305	324</a:t>
            </a:r>
            <a:endParaRPr lang="en-US" sz="2400" b="1" dirty="0">
              <a:solidFill>
                <a:schemeClr val="accent1"/>
              </a:solidFill>
            </a:endParaRPr>
          </a:p>
          <a:p>
            <a:pPr>
              <a:buClr>
                <a:schemeClr val="bg1"/>
              </a:buClr>
            </a:pPr>
            <a:endParaRPr lang="en-US" sz="1867" dirty="0" err="1">
              <a:solidFill>
                <a:schemeClr val="bg2"/>
              </a:solidFill>
            </a:endParaRP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804D1283-B8ED-4480-BE7D-E473504712EB}"/>
                  </a:ext>
                </a:extLst>
              </p14:cNvPr>
              <p14:cNvContentPartPr/>
              <p14:nvPr/>
            </p14:nvContentPartPr>
            <p14:xfrm>
              <a:off x="768480" y="70080"/>
              <a:ext cx="10617600" cy="6775680"/>
            </p14:xfrm>
          </p:contentPart>
        </mc:Choice>
        <mc:Fallback>
          <p:pic>
            <p:nvPicPr>
              <p:cNvPr id="4" name="Ink 3">
                <a:extLst>
                  <a:ext uri="{FF2B5EF4-FFF2-40B4-BE49-F238E27FC236}">
                    <a16:creationId xmlns:a16="http://schemas.microsoft.com/office/drawing/2014/main" id="{804D1283-B8ED-4480-BE7D-E473504712EB}"/>
                  </a:ext>
                </a:extLst>
              </p:cNvPr>
              <p:cNvPicPr/>
              <p:nvPr/>
            </p:nvPicPr>
            <p:blipFill>
              <a:blip r:embed="rId3"/>
              <a:stretch>
                <a:fillRect/>
              </a:stretch>
            </p:blipFill>
            <p:spPr>
              <a:xfrm>
                <a:off x="759120" y="60720"/>
                <a:ext cx="10636320" cy="6794400"/>
              </a:xfrm>
              <a:prstGeom prst="rect">
                <a:avLst/>
              </a:prstGeom>
            </p:spPr>
          </p:pic>
        </mc:Fallback>
      </mc:AlternateContent>
    </p:spTree>
    <p:extLst>
      <p:ext uri="{BB962C8B-B14F-4D97-AF65-F5344CB8AC3E}">
        <p14:creationId xmlns:p14="http://schemas.microsoft.com/office/powerpoint/2010/main" val="1015857233"/>
      </p:ext>
    </p:extLst>
  </p:cSld>
  <p:clrMapOvr>
    <a:masterClrMapping/>
  </p:clrMapOvr>
  <p:transition spd="med">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6A2A-E07A-42CE-BF96-41BC3D022BD0}"/>
              </a:ext>
            </a:extLst>
          </p:cNvPr>
          <p:cNvSpPr>
            <a:spLocks noGrp="1"/>
          </p:cNvSpPr>
          <p:nvPr>
            <p:ph type="title"/>
          </p:nvPr>
        </p:nvSpPr>
        <p:spPr>
          <a:xfrm>
            <a:off x="0" y="0"/>
            <a:ext cx="10972800" cy="850392"/>
          </a:xfrm>
        </p:spPr>
        <p:txBody>
          <a:bodyPr/>
          <a:lstStyle/>
          <a:p>
            <a:r>
              <a:rPr lang="en-US" dirty="0"/>
              <a:t>Interquartile Range</a:t>
            </a:r>
          </a:p>
        </p:txBody>
      </p:sp>
      <p:sp>
        <p:nvSpPr>
          <p:cNvPr id="3" name="TextBox 2">
            <a:extLst>
              <a:ext uri="{FF2B5EF4-FFF2-40B4-BE49-F238E27FC236}">
                <a16:creationId xmlns:a16="http://schemas.microsoft.com/office/drawing/2014/main" id="{AB8E5736-46E3-4A0C-8877-A0E746A30E1C}"/>
              </a:ext>
            </a:extLst>
          </p:cNvPr>
          <p:cNvSpPr txBox="1"/>
          <p:nvPr/>
        </p:nvSpPr>
        <p:spPr>
          <a:xfrm>
            <a:off x="74783" y="776149"/>
            <a:ext cx="10823235" cy="1241237"/>
          </a:xfrm>
          <a:prstGeom prst="rect">
            <a:avLst/>
          </a:prstGeom>
          <a:noFill/>
        </p:spPr>
        <p:txBody>
          <a:bodyPr wrap="square" rtlCol="0">
            <a:spAutoFit/>
          </a:bodyPr>
          <a:lstStyle/>
          <a:p>
            <a:pPr>
              <a:buClr>
                <a:schemeClr val="bg1"/>
              </a:buClr>
            </a:pPr>
            <a:r>
              <a:rPr lang="en-US" sz="3733" dirty="0">
                <a:solidFill>
                  <a:schemeClr val="bg2">
                    <a:lumMod val="50000"/>
                    <a:lumOff val="50000"/>
                  </a:schemeClr>
                </a:solidFill>
                <a:latin typeface="Inter"/>
                <a:cs typeface="Arial" panose="020B0604020202020204" pitchFamily="34" charset="0"/>
              </a:rPr>
              <a:t>Ex : To calculate it just subtract Quartile 1 from Quartile 3, like this:</a:t>
            </a:r>
          </a:p>
        </p:txBody>
      </p:sp>
      <p:pic>
        <p:nvPicPr>
          <p:cNvPr id="5" name="Picture 4">
            <a:extLst>
              <a:ext uri="{FF2B5EF4-FFF2-40B4-BE49-F238E27FC236}">
                <a16:creationId xmlns:a16="http://schemas.microsoft.com/office/drawing/2014/main" id="{88C503D7-DF26-4859-ABAA-04EB3D0015F5}"/>
              </a:ext>
            </a:extLst>
          </p:cNvPr>
          <p:cNvPicPr>
            <a:picLocks noChangeAspect="1"/>
          </p:cNvPicPr>
          <p:nvPr/>
        </p:nvPicPr>
        <p:blipFill>
          <a:blip r:embed="rId2"/>
          <a:stretch>
            <a:fillRect/>
          </a:stretch>
        </p:blipFill>
        <p:spPr>
          <a:xfrm>
            <a:off x="2095356" y="2301682"/>
            <a:ext cx="5554893" cy="2508029"/>
          </a:xfrm>
          <a:prstGeom prst="rect">
            <a:avLst/>
          </a:prstGeom>
        </p:spPr>
      </p:pic>
      <p:sp>
        <p:nvSpPr>
          <p:cNvPr id="6" name="TextBox 5">
            <a:extLst>
              <a:ext uri="{FF2B5EF4-FFF2-40B4-BE49-F238E27FC236}">
                <a16:creationId xmlns:a16="http://schemas.microsoft.com/office/drawing/2014/main" id="{F8E18E6A-F867-4A4B-A86D-75A83FA49F2F}"/>
              </a:ext>
            </a:extLst>
          </p:cNvPr>
          <p:cNvSpPr txBox="1"/>
          <p:nvPr/>
        </p:nvSpPr>
        <p:spPr>
          <a:xfrm>
            <a:off x="316434" y="5159395"/>
            <a:ext cx="8943903" cy="831190"/>
          </a:xfrm>
          <a:prstGeom prst="rect">
            <a:avLst/>
          </a:prstGeom>
          <a:noFill/>
        </p:spPr>
        <p:txBody>
          <a:bodyPr wrap="square" rtlCol="0">
            <a:spAutoFit/>
          </a:bodyPr>
          <a:lstStyle/>
          <a:p>
            <a:pPr algn="l"/>
            <a:r>
              <a:rPr lang="en-US" sz="1467" dirty="0">
                <a:solidFill>
                  <a:schemeClr val="bg2">
                    <a:lumMod val="50000"/>
                    <a:lumOff val="50000"/>
                  </a:schemeClr>
                </a:solidFill>
                <a:latin typeface="Verdana" panose="020B0604030504040204" pitchFamily="34" charset="0"/>
              </a:rPr>
              <a:t>The </a:t>
            </a:r>
            <a:r>
              <a:rPr lang="en-US" sz="1467" b="1" dirty="0">
                <a:solidFill>
                  <a:schemeClr val="bg2">
                    <a:lumMod val="50000"/>
                    <a:lumOff val="50000"/>
                  </a:schemeClr>
                </a:solidFill>
                <a:latin typeface="Verdana" panose="020B0604030504040204" pitchFamily="34" charset="0"/>
              </a:rPr>
              <a:t>Interquartile Range</a:t>
            </a:r>
            <a:r>
              <a:rPr lang="en-US" sz="1467" dirty="0">
                <a:solidFill>
                  <a:schemeClr val="bg2">
                    <a:lumMod val="50000"/>
                    <a:lumOff val="50000"/>
                  </a:schemeClr>
                </a:solidFill>
                <a:latin typeface="Verdana" panose="020B0604030504040204" pitchFamily="34" charset="0"/>
              </a:rPr>
              <a:t> is:</a:t>
            </a:r>
          </a:p>
          <a:p>
            <a:pPr algn="ctr"/>
            <a:r>
              <a:rPr lang="en-US" sz="1467" dirty="0">
                <a:solidFill>
                  <a:schemeClr val="bg2">
                    <a:lumMod val="50000"/>
                    <a:lumOff val="50000"/>
                  </a:schemeClr>
                </a:solidFill>
                <a:latin typeface="Verdana" panose="020B0604030504040204" pitchFamily="34" charset="0"/>
              </a:rPr>
              <a:t>Q3 − Q1 = 7 − 4 = </a:t>
            </a:r>
            <a:r>
              <a:rPr lang="en-US" sz="1467" b="1" dirty="0">
                <a:solidFill>
                  <a:schemeClr val="bg2">
                    <a:lumMod val="50000"/>
                    <a:lumOff val="50000"/>
                  </a:schemeClr>
                </a:solidFill>
                <a:latin typeface="Verdana" panose="020B0604030504040204" pitchFamily="34" charset="0"/>
              </a:rPr>
              <a:t>3</a:t>
            </a:r>
            <a:endParaRPr lang="en-US" sz="1467" dirty="0">
              <a:solidFill>
                <a:schemeClr val="bg2">
                  <a:lumMod val="50000"/>
                  <a:lumOff val="50000"/>
                </a:schemeClr>
              </a:solidFill>
              <a:latin typeface="Verdana" panose="020B0604030504040204" pitchFamily="34" charset="0"/>
            </a:endParaRPr>
          </a:p>
          <a:p>
            <a:pPr>
              <a:buClr>
                <a:schemeClr val="bg1"/>
              </a:buClr>
            </a:pPr>
            <a:endParaRPr lang="en-US" sz="1867" dirty="0" err="1">
              <a:solidFill>
                <a:schemeClr val="bg2"/>
              </a:solidFill>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C49525E9-4594-4231-BA98-FEAB793C9B18}"/>
                  </a:ext>
                </a:extLst>
              </p14:cNvPr>
              <p14:cNvContentPartPr/>
              <p14:nvPr/>
            </p14:nvContentPartPr>
            <p14:xfrm>
              <a:off x="3670080" y="4013280"/>
              <a:ext cx="2959680" cy="1752960"/>
            </p14:xfrm>
          </p:contentPart>
        </mc:Choice>
        <mc:Fallback>
          <p:pic>
            <p:nvPicPr>
              <p:cNvPr id="4" name="Ink 3">
                <a:extLst>
                  <a:ext uri="{FF2B5EF4-FFF2-40B4-BE49-F238E27FC236}">
                    <a16:creationId xmlns:a16="http://schemas.microsoft.com/office/drawing/2014/main" id="{C49525E9-4594-4231-BA98-FEAB793C9B18}"/>
                  </a:ext>
                </a:extLst>
              </p:cNvPr>
              <p:cNvPicPr/>
              <p:nvPr/>
            </p:nvPicPr>
            <p:blipFill>
              <a:blip r:embed="rId4"/>
              <a:stretch>
                <a:fillRect/>
              </a:stretch>
            </p:blipFill>
            <p:spPr>
              <a:xfrm>
                <a:off x="3660720" y="4003919"/>
                <a:ext cx="2978401" cy="1771681"/>
              </a:xfrm>
              <a:prstGeom prst="rect">
                <a:avLst/>
              </a:prstGeom>
            </p:spPr>
          </p:pic>
        </mc:Fallback>
      </mc:AlternateContent>
    </p:spTree>
    <p:extLst>
      <p:ext uri="{BB962C8B-B14F-4D97-AF65-F5344CB8AC3E}">
        <p14:creationId xmlns:p14="http://schemas.microsoft.com/office/powerpoint/2010/main" val="1597251860"/>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706E-BE1F-4177-844F-8FEA64AD4A0C}"/>
              </a:ext>
            </a:extLst>
          </p:cNvPr>
          <p:cNvSpPr>
            <a:spLocks noGrp="1"/>
          </p:cNvSpPr>
          <p:nvPr>
            <p:ph type="title"/>
          </p:nvPr>
        </p:nvSpPr>
        <p:spPr>
          <a:xfrm>
            <a:off x="190791" y="140573"/>
            <a:ext cx="10972800" cy="850392"/>
          </a:xfrm>
        </p:spPr>
        <p:txBody>
          <a:bodyPr/>
          <a:lstStyle/>
          <a:p>
            <a:r>
              <a:rPr lang="en-US" dirty="0"/>
              <a:t>Worksheet</a:t>
            </a:r>
          </a:p>
        </p:txBody>
      </p:sp>
    </p:spTree>
    <p:extLst>
      <p:ext uri="{BB962C8B-B14F-4D97-AF65-F5344CB8AC3E}">
        <p14:creationId xmlns:p14="http://schemas.microsoft.com/office/powerpoint/2010/main" val="2405108307"/>
      </p:ext>
    </p:extLst>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02B98-D68B-4822-8A33-AA6F189B8061}"/>
              </a:ext>
            </a:extLst>
          </p:cNvPr>
          <p:cNvSpPr>
            <a:spLocks noGrp="1"/>
          </p:cNvSpPr>
          <p:nvPr>
            <p:ph type="title"/>
          </p:nvPr>
        </p:nvSpPr>
        <p:spPr>
          <a:xfrm>
            <a:off x="0" y="75425"/>
            <a:ext cx="10972800" cy="850392"/>
          </a:xfrm>
        </p:spPr>
        <p:txBody>
          <a:bodyPr/>
          <a:lstStyle/>
          <a:p>
            <a:r>
              <a:rPr lang="en-US" dirty="0"/>
              <a:t>Box and Whiskers Plot</a:t>
            </a:r>
          </a:p>
        </p:txBody>
      </p:sp>
      <p:sp>
        <p:nvSpPr>
          <p:cNvPr id="3" name="TextBox 2">
            <a:extLst>
              <a:ext uri="{FF2B5EF4-FFF2-40B4-BE49-F238E27FC236}">
                <a16:creationId xmlns:a16="http://schemas.microsoft.com/office/drawing/2014/main" id="{5CE3D9A2-4611-47A0-ADFC-F45B7CD82AC5}"/>
              </a:ext>
            </a:extLst>
          </p:cNvPr>
          <p:cNvSpPr txBox="1"/>
          <p:nvPr/>
        </p:nvSpPr>
        <p:spPr>
          <a:xfrm>
            <a:off x="241977" y="925818"/>
            <a:ext cx="10218945" cy="379656"/>
          </a:xfrm>
          <a:prstGeom prst="rect">
            <a:avLst/>
          </a:prstGeom>
          <a:noFill/>
        </p:spPr>
        <p:txBody>
          <a:bodyPr wrap="square" rtlCol="0">
            <a:spAutoFit/>
          </a:bodyPr>
          <a:lstStyle/>
          <a:p>
            <a:pPr>
              <a:buClr>
                <a:schemeClr val="bg1"/>
              </a:buClr>
            </a:pPr>
            <a:r>
              <a:rPr lang="en-US" sz="1867" dirty="0">
                <a:solidFill>
                  <a:schemeClr val="bg2">
                    <a:lumMod val="50000"/>
                    <a:lumOff val="50000"/>
                  </a:schemeClr>
                </a:solidFill>
                <a:latin typeface="Verdana" panose="020B0604030504040204" pitchFamily="34" charset="0"/>
              </a:rPr>
              <a:t>We can show all the important values in a "Box and Whisker Plot", like this:</a:t>
            </a:r>
            <a:endParaRPr lang="en-US" sz="2400" dirty="0">
              <a:solidFill>
                <a:schemeClr val="bg2">
                  <a:lumMod val="50000"/>
                  <a:lumOff val="50000"/>
                </a:schemeClr>
              </a:solidFill>
            </a:endParaRPr>
          </a:p>
        </p:txBody>
      </p:sp>
      <p:pic>
        <p:nvPicPr>
          <p:cNvPr id="5" name="Picture 4">
            <a:extLst>
              <a:ext uri="{FF2B5EF4-FFF2-40B4-BE49-F238E27FC236}">
                <a16:creationId xmlns:a16="http://schemas.microsoft.com/office/drawing/2014/main" id="{ECFC2D9A-0771-4355-9746-A1CDB752DECD}"/>
              </a:ext>
            </a:extLst>
          </p:cNvPr>
          <p:cNvPicPr>
            <a:picLocks noChangeAspect="1"/>
          </p:cNvPicPr>
          <p:nvPr/>
        </p:nvPicPr>
        <p:blipFill>
          <a:blip r:embed="rId2"/>
          <a:stretch>
            <a:fillRect/>
          </a:stretch>
        </p:blipFill>
        <p:spPr>
          <a:xfrm>
            <a:off x="2361570" y="2186579"/>
            <a:ext cx="5707487" cy="1752693"/>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9B6A46BB-FF18-4BAB-ADA7-8811BFC1132A}"/>
                  </a:ext>
                </a:extLst>
              </p14:cNvPr>
              <p14:cNvContentPartPr/>
              <p14:nvPr/>
            </p14:nvContentPartPr>
            <p14:xfrm>
              <a:off x="2965440" y="2717760"/>
              <a:ext cx="4813920" cy="1327680"/>
            </p14:xfrm>
          </p:contentPart>
        </mc:Choice>
        <mc:Fallback>
          <p:pic>
            <p:nvPicPr>
              <p:cNvPr id="4" name="Ink 3">
                <a:extLst>
                  <a:ext uri="{FF2B5EF4-FFF2-40B4-BE49-F238E27FC236}">
                    <a16:creationId xmlns:a16="http://schemas.microsoft.com/office/drawing/2014/main" id="{9B6A46BB-FF18-4BAB-ADA7-8811BFC1132A}"/>
                  </a:ext>
                </a:extLst>
              </p:cNvPr>
              <p:cNvPicPr/>
              <p:nvPr/>
            </p:nvPicPr>
            <p:blipFill>
              <a:blip r:embed="rId4"/>
              <a:stretch>
                <a:fillRect/>
              </a:stretch>
            </p:blipFill>
            <p:spPr>
              <a:xfrm>
                <a:off x="2956080" y="2708400"/>
                <a:ext cx="4832640" cy="1346400"/>
              </a:xfrm>
              <a:prstGeom prst="rect">
                <a:avLst/>
              </a:prstGeom>
            </p:spPr>
          </p:pic>
        </mc:Fallback>
      </mc:AlternateContent>
    </p:spTree>
    <p:extLst>
      <p:ext uri="{BB962C8B-B14F-4D97-AF65-F5344CB8AC3E}">
        <p14:creationId xmlns:p14="http://schemas.microsoft.com/office/powerpoint/2010/main" val="47765115"/>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30480"/>
            <a:ext cx="10607040" cy="85344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5129242" y="726509"/>
            <a:ext cx="1979113" cy="509392"/>
          </a:xfrm>
          <a:prstGeom prst="round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r>
              <a:rPr lang="en-US" sz="2667" dirty="0">
                <a:solidFill>
                  <a:schemeClr val="tx2"/>
                </a:solidFill>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366727" y="1915089"/>
            <a:ext cx="2304788" cy="509392"/>
          </a:xfrm>
          <a:prstGeom prst="round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r>
              <a:rPr lang="en-US" sz="2667" dirty="0">
                <a:solidFill>
                  <a:schemeClr val="tx2"/>
                </a:solidFill>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7596342" y="1915089"/>
            <a:ext cx="2304788" cy="509392"/>
          </a:xfrm>
          <a:prstGeom prst="round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r>
              <a:rPr lang="en-US" sz="2667" dirty="0">
                <a:solidFill>
                  <a:schemeClr val="tx2"/>
                </a:solidFill>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83506" y="3409516"/>
            <a:ext cx="2207364" cy="509392"/>
          </a:xfrm>
          <a:prstGeom prst="round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r>
              <a:rPr lang="en-US" sz="2667" dirty="0">
                <a:solidFill>
                  <a:schemeClr val="tx2"/>
                </a:solidFill>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2519122" y="3409516"/>
            <a:ext cx="2207364" cy="509392"/>
          </a:xfrm>
          <a:prstGeom prst="round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r>
              <a:rPr lang="en-US" sz="2667" dirty="0">
                <a:solidFill>
                  <a:schemeClr val="tx2"/>
                </a:solidFill>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5209439" y="3429000"/>
            <a:ext cx="2207364" cy="509392"/>
          </a:xfrm>
          <a:prstGeom prst="round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r>
              <a:rPr lang="en-US" sz="2667" dirty="0">
                <a:solidFill>
                  <a:schemeClr val="tx2"/>
                </a:solidFill>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7645055" y="3429000"/>
            <a:ext cx="2207364" cy="509392"/>
          </a:xfrm>
          <a:prstGeom prst="round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r>
              <a:rPr lang="en-US" sz="2667" dirty="0">
                <a:solidFill>
                  <a:schemeClr val="tx2"/>
                </a:solidFill>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2519122" y="1235902"/>
            <a:ext cx="3599677" cy="679188"/>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6118800" y="1235902"/>
            <a:ext cx="2629937" cy="679188"/>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1187188" y="2424481"/>
            <a:ext cx="1331933" cy="98503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2519121" y="2424481"/>
            <a:ext cx="1103683" cy="98503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6313122" y="2424482"/>
            <a:ext cx="2435615" cy="100451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8748737" y="2424482"/>
            <a:ext cx="1" cy="100451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39603" y="4439377"/>
            <a:ext cx="791084" cy="379656"/>
          </a:xfrm>
          <a:prstGeom prst="rect">
            <a:avLst/>
          </a:prstGeom>
          <a:noFill/>
        </p:spPr>
        <p:txBody>
          <a:bodyPr wrap="square" rtlCol="0">
            <a:spAutoFit/>
          </a:bodyPr>
          <a:lstStyle/>
          <a:p>
            <a:pPr>
              <a:buClr>
                <a:schemeClr val="bg1"/>
              </a:buClr>
            </a:pPr>
            <a:r>
              <a:rPr lang="en-US" sz="1867" b="1" dirty="0">
                <a:solidFill>
                  <a:schemeClr val="bg2">
                    <a:lumMod val="50000"/>
                    <a:lumOff val="50000"/>
                  </a:schemeClr>
                </a:solidFill>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9901131" y="3429000"/>
            <a:ext cx="2207364" cy="509392"/>
          </a:xfrm>
          <a:prstGeom prst="roundRect">
            <a:avLst/>
          </a:prstGeom>
          <a:solidFill>
            <a:schemeClr val="bg1"/>
          </a:solidFill>
          <a:ln w="12700" cmpd="sng">
            <a:noFill/>
          </a:ln>
          <a:effectLst/>
        </p:spPr>
        <p:txBody>
          <a:bodyPr wrap="square" lIns="243840" tIns="182880" rIns="182880" bIns="182880" rtlCol="0" anchor="ctr">
            <a:noAutofit/>
          </a:bodyPr>
          <a:lstStyle/>
          <a:p>
            <a:pPr algn="ctr">
              <a:lnSpc>
                <a:spcPct val="90000"/>
              </a:lnSpc>
              <a:spcBef>
                <a:spcPts val="800"/>
              </a:spcBef>
            </a:pPr>
            <a:r>
              <a:rPr lang="en-US" sz="2667" dirty="0">
                <a:solidFill>
                  <a:schemeClr val="tx2"/>
                </a:solidFill>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8748736" y="2424482"/>
            <a:ext cx="2256077" cy="100451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9912247"/>
      </p:ext>
    </p:extLst>
  </p:cSld>
  <p:clrMapOvr>
    <a:masterClrMapping/>
  </p:clrMapOvr>
  <p:transition spd="med">
    <p:wipe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F826E-42FE-413B-94F5-930FD1324A21}"/>
              </a:ext>
            </a:extLst>
          </p:cNvPr>
          <p:cNvSpPr>
            <a:spLocks noGrp="1"/>
          </p:cNvSpPr>
          <p:nvPr>
            <p:ph type="title"/>
          </p:nvPr>
        </p:nvSpPr>
        <p:spPr>
          <a:xfrm>
            <a:off x="0" y="0"/>
            <a:ext cx="12192000" cy="850392"/>
          </a:xfrm>
        </p:spPr>
        <p:txBody>
          <a:bodyPr>
            <a:normAutofit fontScale="90000"/>
          </a:bodyPr>
          <a:lstStyle/>
          <a:p>
            <a:r>
              <a:rPr lang="en-US" dirty="0"/>
              <a:t>Putting it all together – Quartiles &amp; Box and Whisker Plot</a:t>
            </a:r>
          </a:p>
        </p:txBody>
      </p:sp>
      <p:sp>
        <p:nvSpPr>
          <p:cNvPr id="3" name="TextBox 2">
            <a:extLst>
              <a:ext uri="{FF2B5EF4-FFF2-40B4-BE49-F238E27FC236}">
                <a16:creationId xmlns:a16="http://schemas.microsoft.com/office/drawing/2014/main" id="{732EC174-2DD3-4269-88F1-B18EC6E5775D}"/>
              </a:ext>
            </a:extLst>
          </p:cNvPr>
          <p:cNvSpPr txBox="1"/>
          <p:nvPr/>
        </p:nvSpPr>
        <p:spPr>
          <a:xfrm>
            <a:off x="93069" y="535901"/>
            <a:ext cx="11400916" cy="5982535"/>
          </a:xfrm>
          <a:prstGeom prst="rect">
            <a:avLst/>
          </a:prstGeom>
          <a:noFill/>
        </p:spPr>
        <p:txBody>
          <a:bodyPr wrap="square" rtlCol="0">
            <a:spAutoFit/>
          </a:bodyPr>
          <a:lstStyle/>
          <a:p>
            <a:pPr algn="l"/>
            <a:endParaRPr lang="en-US" sz="1467" dirty="0">
              <a:solidFill>
                <a:schemeClr val="bg2">
                  <a:lumMod val="50000"/>
                  <a:lumOff val="50000"/>
                </a:schemeClr>
              </a:solidFill>
              <a:latin typeface="Verdana" panose="020B0604030504040204" pitchFamily="34" charset="0"/>
            </a:endParaRPr>
          </a:p>
          <a:p>
            <a:pPr algn="l"/>
            <a:r>
              <a:rPr lang="en-US" sz="1467" dirty="0">
                <a:solidFill>
                  <a:schemeClr val="bg2">
                    <a:lumMod val="50000"/>
                    <a:lumOff val="50000"/>
                  </a:schemeClr>
                </a:solidFill>
                <a:latin typeface="Verdana" panose="020B0604030504040204" pitchFamily="34" charset="0"/>
              </a:rPr>
              <a:t>Example: </a:t>
            </a:r>
            <a:r>
              <a:rPr lang="en-US" sz="1467" b="1" dirty="0">
                <a:solidFill>
                  <a:schemeClr val="bg2">
                    <a:lumMod val="50000"/>
                    <a:lumOff val="50000"/>
                  </a:schemeClr>
                </a:solidFill>
                <a:latin typeface="Verdana" panose="020B0604030504040204" pitchFamily="34" charset="0"/>
              </a:rPr>
              <a:t>Box and Whisker Plot and Interquartile Range</a:t>
            </a:r>
            <a:r>
              <a:rPr lang="en-US" sz="1467" dirty="0">
                <a:solidFill>
                  <a:schemeClr val="bg2">
                    <a:lumMod val="50000"/>
                    <a:lumOff val="50000"/>
                  </a:schemeClr>
                </a:solidFill>
                <a:latin typeface="Verdana" panose="020B0604030504040204" pitchFamily="34" charset="0"/>
              </a:rPr>
              <a:t> for</a:t>
            </a:r>
          </a:p>
          <a:p>
            <a:pPr algn="l"/>
            <a:endParaRPr lang="en-US" sz="1467" dirty="0">
              <a:solidFill>
                <a:schemeClr val="bg2">
                  <a:lumMod val="50000"/>
                  <a:lumOff val="50000"/>
                </a:schemeClr>
              </a:solidFill>
              <a:latin typeface="Verdana" panose="020B0604030504040204" pitchFamily="34" charset="0"/>
            </a:endParaRPr>
          </a:p>
          <a:p>
            <a:pPr algn="l"/>
            <a:r>
              <a:rPr lang="en-US" sz="1467" dirty="0">
                <a:solidFill>
                  <a:schemeClr val="bg2">
                    <a:lumMod val="50000"/>
                    <a:lumOff val="50000"/>
                  </a:schemeClr>
                </a:solidFill>
                <a:latin typeface="Verdana" panose="020B0604030504040204" pitchFamily="34" charset="0"/>
              </a:rPr>
              <a:t>4, 17, 7, 14, 18, 12, 3, 16, 10, 4, 4, 11</a:t>
            </a:r>
          </a:p>
          <a:p>
            <a:pPr algn="l"/>
            <a:endParaRPr lang="en-US" sz="1467" dirty="0">
              <a:solidFill>
                <a:schemeClr val="bg2">
                  <a:lumMod val="50000"/>
                  <a:lumOff val="50000"/>
                </a:schemeClr>
              </a:solidFill>
              <a:latin typeface="Verdana" panose="020B0604030504040204" pitchFamily="34" charset="0"/>
            </a:endParaRPr>
          </a:p>
          <a:p>
            <a:pPr algn="l"/>
            <a:r>
              <a:rPr lang="en-US" sz="1467" b="1" dirty="0">
                <a:solidFill>
                  <a:schemeClr val="bg2">
                    <a:lumMod val="50000"/>
                    <a:lumOff val="50000"/>
                  </a:schemeClr>
                </a:solidFill>
                <a:latin typeface="Verdana" panose="020B0604030504040204" pitchFamily="34" charset="0"/>
              </a:rPr>
              <a:t>Put them in order:   </a:t>
            </a:r>
            <a:r>
              <a:rPr lang="en-US" sz="1467" dirty="0">
                <a:solidFill>
                  <a:schemeClr val="bg2">
                    <a:lumMod val="50000"/>
                    <a:lumOff val="50000"/>
                  </a:schemeClr>
                </a:solidFill>
                <a:latin typeface="Verdana" panose="020B0604030504040204" pitchFamily="34" charset="0"/>
              </a:rPr>
              <a:t>3, 4, 4, 4, 7, 10, 11, 12, 14, 16, 17, 18</a:t>
            </a:r>
          </a:p>
          <a:p>
            <a:pPr algn="l"/>
            <a:endParaRPr lang="en-US" sz="1467" dirty="0">
              <a:solidFill>
                <a:schemeClr val="bg2">
                  <a:lumMod val="50000"/>
                  <a:lumOff val="50000"/>
                </a:schemeClr>
              </a:solidFill>
              <a:latin typeface="Verdana" panose="020B0604030504040204" pitchFamily="34" charset="0"/>
            </a:endParaRPr>
          </a:p>
          <a:p>
            <a:pPr algn="l"/>
            <a:r>
              <a:rPr lang="en-US" sz="1467" b="1" dirty="0">
                <a:solidFill>
                  <a:schemeClr val="bg2">
                    <a:lumMod val="50000"/>
                    <a:lumOff val="50000"/>
                  </a:schemeClr>
                </a:solidFill>
                <a:latin typeface="Verdana" panose="020B0604030504040204" pitchFamily="34" charset="0"/>
              </a:rPr>
              <a:t>Cut it into quarters:  </a:t>
            </a:r>
            <a:r>
              <a:rPr lang="en-US" sz="1467" dirty="0">
                <a:solidFill>
                  <a:schemeClr val="bg2">
                    <a:lumMod val="50000"/>
                    <a:lumOff val="50000"/>
                  </a:schemeClr>
                </a:solidFill>
                <a:latin typeface="Verdana" panose="020B0604030504040204" pitchFamily="34" charset="0"/>
              </a:rPr>
              <a:t>3, 4, 4 | 4, 7, 10 | 11, 12, 14 | 16, 17, 18</a:t>
            </a:r>
          </a:p>
          <a:p>
            <a:pPr algn="l"/>
            <a:endParaRPr lang="en-US" sz="1467" dirty="0">
              <a:solidFill>
                <a:schemeClr val="bg2">
                  <a:lumMod val="50000"/>
                  <a:lumOff val="50000"/>
                </a:schemeClr>
              </a:solidFill>
              <a:latin typeface="Verdana" panose="020B0604030504040204" pitchFamily="34" charset="0"/>
            </a:endParaRPr>
          </a:p>
          <a:p>
            <a:pPr algn="l"/>
            <a:endParaRPr lang="en-US" sz="1467" dirty="0">
              <a:solidFill>
                <a:schemeClr val="bg2">
                  <a:lumMod val="50000"/>
                  <a:lumOff val="50000"/>
                </a:schemeClr>
              </a:solidFill>
              <a:latin typeface="Verdana" panose="020B0604030504040204" pitchFamily="34" charset="0"/>
            </a:endParaRPr>
          </a:p>
          <a:p>
            <a:pPr algn="l"/>
            <a:r>
              <a:rPr lang="en-US" sz="1467" dirty="0">
                <a:solidFill>
                  <a:schemeClr val="bg2">
                    <a:lumMod val="50000"/>
                    <a:lumOff val="50000"/>
                  </a:schemeClr>
                </a:solidFill>
                <a:latin typeface="Verdana" panose="020B0604030504040204" pitchFamily="34" charset="0"/>
              </a:rPr>
              <a:t>In this case all the quartiles are between numbers:</a:t>
            </a:r>
          </a:p>
          <a:p>
            <a:pPr algn="l"/>
            <a:endParaRPr lang="en-US" sz="1467" dirty="0">
              <a:solidFill>
                <a:schemeClr val="bg2">
                  <a:lumMod val="50000"/>
                  <a:lumOff val="50000"/>
                </a:schemeClr>
              </a:solidFill>
              <a:latin typeface="Verdana" panose="020B0604030504040204" pitchFamily="34" charset="0"/>
            </a:endParaRPr>
          </a:p>
          <a:p>
            <a:pPr algn="l"/>
            <a:r>
              <a:rPr lang="en-US" sz="1467" dirty="0">
                <a:solidFill>
                  <a:schemeClr val="bg2">
                    <a:lumMod val="50000"/>
                    <a:lumOff val="50000"/>
                  </a:schemeClr>
                </a:solidFill>
                <a:latin typeface="Verdana" panose="020B0604030504040204" pitchFamily="34" charset="0"/>
              </a:rPr>
              <a:t>Quartile 1 (Q1) = (4+4)/2 = </a:t>
            </a:r>
            <a:r>
              <a:rPr lang="en-US" sz="1467" b="1" dirty="0">
                <a:solidFill>
                  <a:schemeClr val="bg2">
                    <a:lumMod val="50000"/>
                    <a:lumOff val="50000"/>
                  </a:schemeClr>
                </a:solidFill>
                <a:latin typeface="Verdana" panose="020B0604030504040204" pitchFamily="34" charset="0"/>
              </a:rPr>
              <a:t>4</a:t>
            </a:r>
            <a:endParaRPr lang="en-US" sz="1467" dirty="0">
              <a:solidFill>
                <a:schemeClr val="bg2">
                  <a:lumMod val="50000"/>
                  <a:lumOff val="50000"/>
                </a:schemeClr>
              </a:solidFill>
              <a:latin typeface="Verdana" panose="020B0604030504040204" pitchFamily="34" charset="0"/>
            </a:endParaRPr>
          </a:p>
          <a:p>
            <a:pPr algn="l"/>
            <a:r>
              <a:rPr lang="en-US" sz="1467" dirty="0">
                <a:solidFill>
                  <a:schemeClr val="bg2">
                    <a:lumMod val="50000"/>
                    <a:lumOff val="50000"/>
                  </a:schemeClr>
                </a:solidFill>
                <a:latin typeface="Verdana" panose="020B0604030504040204" pitchFamily="34" charset="0"/>
              </a:rPr>
              <a:t>Quartile 2 (Q2) = (10+11)/2 = </a:t>
            </a:r>
            <a:r>
              <a:rPr lang="en-US" sz="1467" b="1" dirty="0">
                <a:solidFill>
                  <a:schemeClr val="bg2">
                    <a:lumMod val="50000"/>
                    <a:lumOff val="50000"/>
                  </a:schemeClr>
                </a:solidFill>
                <a:latin typeface="Verdana" panose="020B0604030504040204" pitchFamily="34" charset="0"/>
              </a:rPr>
              <a:t>10.5</a:t>
            </a:r>
            <a:endParaRPr lang="en-US" sz="1467" dirty="0">
              <a:solidFill>
                <a:schemeClr val="bg2">
                  <a:lumMod val="50000"/>
                  <a:lumOff val="50000"/>
                </a:schemeClr>
              </a:solidFill>
              <a:latin typeface="Verdana" panose="020B0604030504040204" pitchFamily="34" charset="0"/>
            </a:endParaRPr>
          </a:p>
          <a:p>
            <a:pPr algn="l"/>
            <a:r>
              <a:rPr lang="en-US" sz="1467" dirty="0">
                <a:solidFill>
                  <a:schemeClr val="bg2">
                    <a:lumMod val="50000"/>
                    <a:lumOff val="50000"/>
                  </a:schemeClr>
                </a:solidFill>
                <a:latin typeface="Verdana" panose="020B0604030504040204" pitchFamily="34" charset="0"/>
              </a:rPr>
              <a:t>Quartile 3 (Q3) = (14+16)/2 = </a:t>
            </a:r>
            <a:r>
              <a:rPr lang="en-US" sz="1467" b="1" dirty="0">
                <a:solidFill>
                  <a:schemeClr val="bg2">
                    <a:lumMod val="50000"/>
                    <a:lumOff val="50000"/>
                  </a:schemeClr>
                </a:solidFill>
                <a:latin typeface="Verdana" panose="020B0604030504040204" pitchFamily="34" charset="0"/>
              </a:rPr>
              <a:t>15</a:t>
            </a:r>
          </a:p>
          <a:p>
            <a:pPr algn="l"/>
            <a:endParaRPr lang="en-US" sz="1467" dirty="0">
              <a:solidFill>
                <a:schemeClr val="bg2">
                  <a:lumMod val="50000"/>
                  <a:lumOff val="50000"/>
                </a:schemeClr>
              </a:solidFill>
              <a:latin typeface="Verdana" panose="020B0604030504040204" pitchFamily="34" charset="0"/>
            </a:endParaRPr>
          </a:p>
          <a:p>
            <a:pPr algn="l"/>
            <a:r>
              <a:rPr lang="en-US" sz="1467" dirty="0">
                <a:solidFill>
                  <a:schemeClr val="bg2">
                    <a:lumMod val="50000"/>
                    <a:lumOff val="50000"/>
                  </a:schemeClr>
                </a:solidFill>
                <a:latin typeface="Verdana" panose="020B0604030504040204" pitchFamily="34" charset="0"/>
              </a:rPr>
              <a:t>Also:</a:t>
            </a:r>
          </a:p>
          <a:p>
            <a:pPr algn="l"/>
            <a:endParaRPr lang="en-US" sz="1467" dirty="0">
              <a:solidFill>
                <a:schemeClr val="bg2">
                  <a:lumMod val="50000"/>
                  <a:lumOff val="50000"/>
                </a:schemeClr>
              </a:solidFill>
              <a:latin typeface="Verdana" panose="020B0604030504040204" pitchFamily="34" charset="0"/>
            </a:endParaRPr>
          </a:p>
          <a:p>
            <a:pPr algn="l"/>
            <a:r>
              <a:rPr lang="en-US" sz="1467" dirty="0">
                <a:solidFill>
                  <a:schemeClr val="bg2">
                    <a:lumMod val="50000"/>
                    <a:lumOff val="50000"/>
                  </a:schemeClr>
                </a:solidFill>
                <a:latin typeface="Verdana" panose="020B0604030504040204" pitchFamily="34" charset="0"/>
              </a:rPr>
              <a:t>The Lowest Value is </a:t>
            </a:r>
            <a:r>
              <a:rPr lang="en-US" sz="1467" b="1" dirty="0">
                <a:solidFill>
                  <a:schemeClr val="bg2">
                    <a:lumMod val="50000"/>
                    <a:lumOff val="50000"/>
                  </a:schemeClr>
                </a:solidFill>
                <a:latin typeface="Verdana" panose="020B0604030504040204" pitchFamily="34" charset="0"/>
              </a:rPr>
              <a:t>3</a:t>
            </a:r>
            <a:r>
              <a:rPr lang="en-US" sz="1467" dirty="0">
                <a:solidFill>
                  <a:schemeClr val="bg2">
                    <a:lumMod val="50000"/>
                    <a:lumOff val="50000"/>
                  </a:schemeClr>
                </a:solidFill>
                <a:latin typeface="Verdana" panose="020B0604030504040204" pitchFamily="34" charset="0"/>
              </a:rPr>
              <a:t>,</a:t>
            </a:r>
          </a:p>
          <a:p>
            <a:pPr algn="l"/>
            <a:r>
              <a:rPr lang="en-US" sz="1467" dirty="0">
                <a:solidFill>
                  <a:schemeClr val="bg2">
                    <a:lumMod val="50000"/>
                    <a:lumOff val="50000"/>
                  </a:schemeClr>
                </a:solidFill>
                <a:latin typeface="Verdana" panose="020B0604030504040204" pitchFamily="34" charset="0"/>
              </a:rPr>
              <a:t>The Highest Value is </a:t>
            </a:r>
            <a:r>
              <a:rPr lang="en-US" sz="1467" b="1" dirty="0">
                <a:solidFill>
                  <a:schemeClr val="bg2">
                    <a:lumMod val="50000"/>
                    <a:lumOff val="50000"/>
                  </a:schemeClr>
                </a:solidFill>
                <a:latin typeface="Verdana" panose="020B0604030504040204" pitchFamily="34" charset="0"/>
              </a:rPr>
              <a:t>18</a:t>
            </a:r>
          </a:p>
          <a:p>
            <a:pPr algn="l"/>
            <a:endParaRPr lang="en-US" sz="1467" b="1" dirty="0">
              <a:solidFill>
                <a:schemeClr val="bg2">
                  <a:lumMod val="50000"/>
                  <a:lumOff val="50000"/>
                </a:schemeClr>
              </a:solidFill>
              <a:latin typeface="Verdana" panose="020B0604030504040204" pitchFamily="34" charset="0"/>
            </a:endParaRPr>
          </a:p>
          <a:p>
            <a:pPr algn="l"/>
            <a:endParaRPr lang="en-US" sz="1467" b="1" dirty="0">
              <a:solidFill>
                <a:schemeClr val="bg2">
                  <a:lumMod val="50000"/>
                  <a:lumOff val="50000"/>
                </a:schemeClr>
              </a:solidFill>
              <a:latin typeface="Verdana" panose="020B0604030504040204" pitchFamily="34" charset="0"/>
            </a:endParaRPr>
          </a:p>
          <a:p>
            <a:pPr algn="l"/>
            <a:endParaRPr lang="en-US" sz="1333" dirty="0">
              <a:solidFill>
                <a:schemeClr val="bg2">
                  <a:lumMod val="50000"/>
                  <a:lumOff val="50000"/>
                </a:schemeClr>
              </a:solidFill>
              <a:latin typeface="Verdana" panose="020B0604030504040204" pitchFamily="34" charset="0"/>
            </a:endParaRPr>
          </a:p>
          <a:p>
            <a:pPr algn="l"/>
            <a:r>
              <a:rPr lang="en-US" sz="1333" dirty="0">
                <a:solidFill>
                  <a:schemeClr val="bg2">
                    <a:lumMod val="50000"/>
                    <a:lumOff val="50000"/>
                  </a:schemeClr>
                </a:solidFill>
                <a:latin typeface="Verdana" panose="020B0604030504040204" pitchFamily="34" charset="0"/>
              </a:rPr>
              <a:t>And the </a:t>
            </a:r>
            <a:r>
              <a:rPr lang="en-US" sz="1333" b="1" dirty="0">
                <a:solidFill>
                  <a:schemeClr val="bg2">
                    <a:lumMod val="50000"/>
                    <a:lumOff val="50000"/>
                  </a:schemeClr>
                </a:solidFill>
                <a:latin typeface="Verdana" panose="020B0604030504040204" pitchFamily="34" charset="0"/>
              </a:rPr>
              <a:t>Interquartile Range</a:t>
            </a:r>
            <a:r>
              <a:rPr lang="en-US" sz="1333" dirty="0">
                <a:solidFill>
                  <a:schemeClr val="bg2">
                    <a:lumMod val="50000"/>
                    <a:lumOff val="50000"/>
                  </a:schemeClr>
                </a:solidFill>
                <a:latin typeface="Verdana" panose="020B0604030504040204" pitchFamily="34" charset="0"/>
              </a:rPr>
              <a:t> is:  Q3 − Q1 = 15 − 4 = </a:t>
            </a:r>
            <a:r>
              <a:rPr lang="en-US" sz="1333" b="1" dirty="0">
                <a:solidFill>
                  <a:schemeClr val="bg2">
                    <a:lumMod val="50000"/>
                    <a:lumOff val="50000"/>
                  </a:schemeClr>
                </a:solidFill>
                <a:latin typeface="Verdana" panose="020B0604030504040204" pitchFamily="34" charset="0"/>
              </a:rPr>
              <a:t>11</a:t>
            </a:r>
            <a:endParaRPr lang="en-US" sz="1333" dirty="0">
              <a:solidFill>
                <a:schemeClr val="bg2">
                  <a:lumMod val="50000"/>
                  <a:lumOff val="50000"/>
                </a:schemeClr>
              </a:solidFill>
              <a:latin typeface="Verdana" panose="020B0604030504040204" pitchFamily="34" charset="0"/>
            </a:endParaRPr>
          </a:p>
          <a:p>
            <a:pPr algn="l"/>
            <a:endParaRPr lang="en-US" sz="1467" dirty="0">
              <a:solidFill>
                <a:srgbClr val="333333"/>
              </a:solidFill>
              <a:latin typeface="Verdana" panose="020B0604030504040204" pitchFamily="34" charset="0"/>
            </a:endParaRPr>
          </a:p>
          <a:p>
            <a:pPr>
              <a:buClr>
                <a:schemeClr val="bg1"/>
              </a:buClr>
            </a:pPr>
            <a:endParaRPr lang="en-US" sz="1867" dirty="0" err="1">
              <a:solidFill>
                <a:schemeClr val="bg2"/>
              </a:solidFill>
            </a:endParaRPr>
          </a:p>
        </p:txBody>
      </p:sp>
      <p:pic>
        <p:nvPicPr>
          <p:cNvPr id="5" name="Picture 4">
            <a:extLst>
              <a:ext uri="{FF2B5EF4-FFF2-40B4-BE49-F238E27FC236}">
                <a16:creationId xmlns:a16="http://schemas.microsoft.com/office/drawing/2014/main" id="{855912B2-43D3-466B-8818-DA5069B7543D}"/>
              </a:ext>
            </a:extLst>
          </p:cNvPr>
          <p:cNvPicPr>
            <a:picLocks noChangeAspect="1"/>
          </p:cNvPicPr>
          <p:nvPr/>
        </p:nvPicPr>
        <p:blipFill>
          <a:blip r:embed="rId2"/>
          <a:stretch>
            <a:fillRect/>
          </a:stretch>
        </p:blipFill>
        <p:spPr>
          <a:xfrm>
            <a:off x="3417412" y="4015625"/>
            <a:ext cx="8518648" cy="1440737"/>
          </a:xfrm>
          <a:prstGeom prst="rect">
            <a:avLst/>
          </a:prstGeom>
        </p:spPr>
      </p:pic>
      <p:sp>
        <p:nvSpPr>
          <p:cNvPr id="6" name="Rectangle 5">
            <a:extLst>
              <a:ext uri="{FF2B5EF4-FFF2-40B4-BE49-F238E27FC236}">
                <a16:creationId xmlns:a16="http://schemas.microsoft.com/office/drawing/2014/main" id="{78A0F166-87FB-4E04-AA2E-A971A56754AB}"/>
              </a:ext>
            </a:extLst>
          </p:cNvPr>
          <p:cNvSpPr/>
          <p:nvPr/>
        </p:nvSpPr>
        <p:spPr>
          <a:xfrm>
            <a:off x="93068" y="5565508"/>
            <a:ext cx="5360757" cy="577027"/>
          </a:xfrm>
          <a:prstGeom prst="rect">
            <a:avLst/>
          </a:prstGeom>
          <a:noFill/>
          <a:ln w="19050" cmpd="sng">
            <a:solidFill>
              <a:schemeClr val="tx1"/>
            </a:solidFill>
          </a:ln>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CD0159A9-6868-4138-984F-59CBFC20329E}"/>
                  </a:ext>
                </a:extLst>
              </p14:cNvPr>
              <p14:cNvContentPartPr/>
              <p14:nvPr/>
            </p14:nvContentPartPr>
            <p14:xfrm>
              <a:off x="216000" y="1149120"/>
              <a:ext cx="10877760" cy="3633120"/>
            </p14:xfrm>
          </p:contentPart>
        </mc:Choice>
        <mc:Fallback>
          <p:pic>
            <p:nvPicPr>
              <p:cNvPr id="4" name="Ink 3">
                <a:extLst>
                  <a:ext uri="{FF2B5EF4-FFF2-40B4-BE49-F238E27FC236}">
                    <a16:creationId xmlns:a16="http://schemas.microsoft.com/office/drawing/2014/main" id="{CD0159A9-6868-4138-984F-59CBFC20329E}"/>
                  </a:ext>
                </a:extLst>
              </p:cNvPr>
              <p:cNvPicPr/>
              <p:nvPr/>
            </p:nvPicPr>
            <p:blipFill>
              <a:blip r:embed="rId4"/>
              <a:stretch>
                <a:fillRect/>
              </a:stretch>
            </p:blipFill>
            <p:spPr>
              <a:xfrm>
                <a:off x="206640" y="1139760"/>
                <a:ext cx="10896480" cy="3651840"/>
              </a:xfrm>
              <a:prstGeom prst="rect">
                <a:avLst/>
              </a:prstGeom>
            </p:spPr>
          </p:pic>
        </mc:Fallback>
      </mc:AlternateContent>
    </p:spTree>
    <p:extLst>
      <p:ext uri="{BB962C8B-B14F-4D97-AF65-F5344CB8AC3E}">
        <p14:creationId xmlns:p14="http://schemas.microsoft.com/office/powerpoint/2010/main" val="1053432518"/>
      </p:ext>
    </p:extLst>
  </p:cSld>
  <p:clrMapOvr>
    <a:masterClrMapping/>
  </p:clrMapOvr>
  <p:transition spd="med">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FB37-7364-4C6E-8104-4B3F120F068C}"/>
              </a:ext>
            </a:extLst>
          </p:cNvPr>
          <p:cNvSpPr>
            <a:spLocks noGrp="1"/>
          </p:cNvSpPr>
          <p:nvPr>
            <p:ph type="title"/>
          </p:nvPr>
        </p:nvSpPr>
        <p:spPr>
          <a:xfrm>
            <a:off x="0" y="0"/>
            <a:ext cx="10972800" cy="850392"/>
          </a:xfrm>
        </p:spPr>
        <p:txBody>
          <a:bodyPr/>
          <a:lstStyle/>
          <a:p>
            <a:r>
              <a:rPr lang="en-US" dirty="0"/>
              <a:t>Quartile – Five-number summary</a:t>
            </a:r>
          </a:p>
        </p:txBody>
      </p:sp>
      <p:sp>
        <p:nvSpPr>
          <p:cNvPr id="3" name="TextBox 2">
            <a:extLst>
              <a:ext uri="{FF2B5EF4-FFF2-40B4-BE49-F238E27FC236}">
                <a16:creationId xmlns:a16="http://schemas.microsoft.com/office/drawing/2014/main" id="{6AA95D92-9A44-4080-BA36-19FFE96B6405}"/>
              </a:ext>
            </a:extLst>
          </p:cNvPr>
          <p:cNvSpPr txBox="1"/>
          <p:nvPr/>
        </p:nvSpPr>
        <p:spPr>
          <a:xfrm>
            <a:off x="1" y="1079597"/>
            <a:ext cx="11903487" cy="3785652"/>
          </a:xfrm>
          <a:prstGeom prst="rect">
            <a:avLst/>
          </a:prstGeom>
          <a:noFill/>
        </p:spPr>
        <p:txBody>
          <a:bodyPr wrap="square" rtlCol="0">
            <a:spAutoFit/>
          </a:bodyPr>
          <a:lstStyle/>
          <a:p>
            <a:pPr>
              <a:buClr>
                <a:schemeClr val="bg1"/>
              </a:buClr>
            </a:pPr>
            <a:r>
              <a:rPr lang="en-US" sz="2400" dirty="0">
                <a:solidFill>
                  <a:schemeClr val="bg2">
                    <a:lumMod val="50000"/>
                    <a:lumOff val="50000"/>
                  </a:schemeClr>
                </a:solidFill>
              </a:rPr>
              <a:t>Every distribution can be organized using a five-number summary:</a:t>
            </a:r>
          </a:p>
          <a:p>
            <a:pPr>
              <a:buClr>
                <a:schemeClr val="bg1"/>
              </a:buClr>
            </a:pPr>
            <a:endParaRPr lang="en-US" sz="2400" dirty="0">
              <a:solidFill>
                <a:schemeClr val="bg2">
                  <a:lumMod val="50000"/>
                  <a:lumOff val="50000"/>
                </a:schemeClr>
              </a:solidFill>
            </a:endParaRPr>
          </a:p>
          <a:p>
            <a:pPr>
              <a:buClr>
                <a:schemeClr val="bg1"/>
              </a:buClr>
            </a:pPr>
            <a:r>
              <a:rPr lang="en-US" sz="2400" dirty="0">
                <a:solidFill>
                  <a:schemeClr val="bg2">
                    <a:lumMod val="50000"/>
                    <a:lumOff val="50000"/>
                  </a:schemeClr>
                </a:solidFill>
              </a:rPr>
              <a:t>Lowest value</a:t>
            </a:r>
          </a:p>
          <a:p>
            <a:pPr>
              <a:buClr>
                <a:schemeClr val="bg1"/>
              </a:buClr>
            </a:pPr>
            <a:r>
              <a:rPr lang="en-US" sz="2400" dirty="0">
                <a:solidFill>
                  <a:schemeClr val="bg2">
                    <a:lumMod val="50000"/>
                    <a:lumOff val="50000"/>
                  </a:schemeClr>
                </a:solidFill>
              </a:rPr>
              <a:t>Q1: 25th percentile</a:t>
            </a:r>
          </a:p>
          <a:p>
            <a:pPr>
              <a:buClr>
                <a:schemeClr val="bg1"/>
              </a:buClr>
            </a:pPr>
            <a:r>
              <a:rPr lang="en-US" sz="2400" dirty="0">
                <a:solidFill>
                  <a:schemeClr val="bg2">
                    <a:lumMod val="50000"/>
                    <a:lumOff val="50000"/>
                  </a:schemeClr>
                </a:solidFill>
              </a:rPr>
              <a:t>Q2: the median</a:t>
            </a:r>
          </a:p>
          <a:p>
            <a:pPr>
              <a:buClr>
                <a:schemeClr val="bg1"/>
              </a:buClr>
            </a:pPr>
            <a:r>
              <a:rPr lang="en-US" sz="2400" dirty="0">
                <a:solidFill>
                  <a:schemeClr val="bg2">
                    <a:lumMod val="50000"/>
                    <a:lumOff val="50000"/>
                  </a:schemeClr>
                </a:solidFill>
              </a:rPr>
              <a:t>Q3: 75th percentile</a:t>
            </a:r>
          </a:p>
          <a:p>
            <a:pPr>
              <a:buClr>
                <a:schemeClr val="bg1"/>
              </a:buClr>
            </a:pPr>
            <a:r>
              <a:rPr lang="en-US" sz="2400" dirty="0">
                <a:solidFill>
                  <a:schemeClr val="bg2">
                    <a:lumMod val="50000"/>
                    <a:lumOff val="50000"/>
                  </a:schemeClr>
                </a:solidFill>
              </a:rPr>
              <a:t>Highest value (Q4)</a:t>
            </a:r>
          </a:p>
          <a:p>
            <a:pPr>
              <a:buClr>
                <a:schemeClr val="bg1"/>
              </a:buClr>
            </a:pPr>
            <a:endParaRPr lang="en-US" sz="2400" dirty="0">
              <a:solidFill>
                <a:schemeClr val="bg2">
                  <a:lumMod val="50000"/>
                  <a:lumOff val="50000"/>
                </a:schemeClr>
              </a:solidFill>
            </a:endParaRPr>
          </a:p>
          <a:p>
            <a:pPr>
              <a:buClr>
                <a:schemeClr val="bg1"/>
              </a:buClr>
            </a:pPr>
            <a:endParaRPr lang="en-US" sz="2400" dirty="0">
              <a:solidFill>
                <a:schemeClr val="bg2">
                  <a:lumMod val="50000"/>
                  <a:lumOff val="50000"/>
                </a:schemeClr>
              </a:solidFill>
            </a:endParaRPr>
          </a:p>
          <a:p>
            <a:pPr>
              <a:buClr>
                <a:schemeClr val="bg1"/>
              </a:buClr>
            </a:pPr>
            <a:r>
              <a:rPr lang="en-US" sz="2400" dirty="0">
                <a:solidFill>
                  <a:schemeClr val="bg2">
                    <a:lumMod val="50000"/>
                    <a:lumOff val="50000"/>
                  </a:schemeClr>
                </a:solidFill>
              </a:rPr>
              <a:t>These five-number summaries can be easily visualized using box and whisker plots</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B9222FD3-9F34-403F-8BDC-2B9FFB97B0D4}"/>
                  </a:ext>
                </a:extLst>
              </p14:cNvPr>
              <p14:cNvContentPartPr/>
              <p14:nvPr/>
            </p14:nvContentPartPr>
            <p14:xfrm>
              <a:off x="19200" y="368160"/>
              <a:ext cx="11697120" cy="6375840"/>
            </p14:xfrm>
          </p:contentPart>
        </mc:Choice>
        <mc:Fallback>
          <p:pic>
            <p:nvPicPr>
              <p:cNvPr id="4" name="Ink 3">
                <a:extLst>
                  <a:ext uri="{FF2B5EF4-FFF2-40B4-BE49-F238E27FC236}">
                    <a16:creationId xmlns:a16="http://schemas.microsoft.com/office/drawing/2014/main" id="{B9222FD3-9F34-403F-8BDC-2B9FFB97B0D4}"/>
                  </a:ext>
                </a:extLst>
              </p:cNvPr>
              <p:cNvPicPr/>
              <p:nvPr/>
            </p:nvPicPr>
            <p:blipFill>
              <a:blip r:embed="rId3"/>
              <a:stretch>
                <a:fillRect/>
              </a:stretch>
            </p:blipFill>
            <p:spPr>
              <a:xfrm>
                <a:off x="9840" y="358800"/>
                <a:ext cx="11715840" cy="6394561"/>
              </a:xfrm>
              <a:prstGeom prst="rect">
                <a:avLst/>
              </a:prstGeom>
            </p:spPr>
          </p:pic>
        </mc:Fallback>
      </mc:AlternateContent>
    </p:spTree>
    <p:extLst>
      <p:ext uri="{BB962C8B-B14F-4D97-AF65-F5344CB8AC3E}">
        <p14:creationId xmlns:p14="http://schemas.microsoft.com/office/powerpoint/2010/main" val="1785345867"/>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DBF01-355E-4D2A-A767-72CDC43D1AE0}"/>
              </a:ext>
            </a:extLst>
          </p:cNvPr>
          <p:cNvSpPr>
            <a:spLocks noGrp="1"/>
          </p:cNvSpPr>
          <p:nvPr>
            <p:ph type="title"/>
          </p:nvPr>
        </p:nvSpPr>
        <p:spPr>
          <a:xfrm>
            <a:off x="0" y="0"/>
            <a:ext cx="10972800" cy="850392"/>
          </a:xfrm>
        </p:spPr>
        <p:txBody>
          <a:bodyPr/>
          <a:lstStyle/>
          <a:p>
            <a:r>
              <a:rPr lang="en-US" dirty="0"/>
              <a:t>Mean Deviation</a:t>
            </a:r>
          </a:p>
        </p:txBody>
      </p:sp>
      <p:sp>
        <p:nvSpPr>
          <p:cNvPr id="3" name="TextBox 2">
            <a:extLst>
              <a:ext uri="{FF2B5EF4-FFF2-40B4-BE49-F238E27FC236}">
                <a16:creationId xmlns:a16="http://schemas.microsoft.com/office/drawing/2014/main" id="{43EE8FE4-39C7-4BD2-BE1E-E79137AD0F9D}"/>
              </a:ext>
            </a:extLst>
          </p:cNvPr>
          <p:cNvSpPr txBox="1"/>
          <p:nvPr/>
        </p:nvSpPr>
        <p:spPr>
          <a:xfrm>
            <a:off x="1" y="879694"/>
            <a:ext cx="11782497" cy="4524508"/>
          </a:xfrm>
          <a:prstGeom prst="rect">
            <a:avLst/>
          </a:prstGeom>
          <a:noFill/>
        </p:spPr>
        <p:txBody>
          <a:bodyPr wrap="square" rtlCol="0">
            <a:spAutoFit/>
          </a:bodyPr>
          <a:lstStyle/>
          <a:p>
            <a:pPr>
              <a:buClr>
                <a:schemeClr val="bg1"/>
              </a:buClr>
            </a:pPr>
            <a:r>
              <a:rPr lang="en-US" sz="2400" dirty="0">
                <a:solidFill>
                  <a:schemeClr val="bg2">
                    <a:lumMod val="50000"/>
                    <a:lumOff val="50000"/>
                  </a:schemeClr>
                </a:solidFill>
              </a:rPr>
              <a:t>How far, on average, all values are from the middle</a:t>
            </a:r>
          </a:p>
          <a:p>
            <a:pPr>
              <a:buClr>
                <a:schemeClr val="bg1"/>
              </a:buClr>
            </a:pPr>
            <a:endParaRPr lang="en-US" sz="2400" dirty="0">
              <a:solidFill>
                <a:schemeClr val="bg2">
                  <a:lumMod val="50000"/>
                  <a:lumOff val="50000"/>
                </a:schemeClr>
              </a:solidFill>
            </a:endParaRPr>
          </a:p>
          <a:p>
            <a:pPr>
              <a:buClr>
                <a:schemeClr val="bg1"/>
              </a:buClr>
            </a:pPr>
            <a:r>
              <a:rPr lang="en-US" sz="2400" b="1" dirty="0">
                <a:solidFill>
                  <a:schemeClr val="bg2">
                    <a:lumMod val="50000"/>
                    <a:lumOff val="50000"/>
                  </a:schemeClr>
                </a:solidFill>
              </a:rPr>
              <a:t>Calculation Steps : </a:t>
            </a:r>
          </a:p>
          <a:p>
            <a:pPr>
              <a:buClr>
                <a:schemeClr val="bg1"/>
              </a:buClr>
            </a:pPr>
            <a:endParaRPr lang="en-US" sz="2400" dirty="0">
              <a:solidFill>
                <a:schemeClr val="bg2">
                  <a:lumMod val="50000"/>
                  <a:lumOff val="50000"/>
                </a:schemeClr>
              </a:solidFill>
            </a:endParaRPr>
          </a:p>
          <a:p>
            <a:pPr marL="457189" indent="-457189">
              <a:buAutoNum type="arabicPeriod"/>
            </a:pPr>
            <a:r>
              <a:rPr lang="en-US" sz="2400" dirty="0">
                <a:solidFill>
                  <a:schemeClr val="bg2">
                    <a:lumMod val="50000"/>
                    <a:lumOff val="50000"/>
                  </a:schemeClr>
                </a:solidFill>
              </a:rPr>
              <a:t>Find the </a:t>
            </a:r>
            <a:r>
              <a:rPr lang="en-US" sz="2400" dirty="0">
                <a:solidFill>
                  <a:schemeClr val="bg2">
                    <a:lumMod val="50000"/>
                    <a:lumOff val="50000"/>
                  </a:schemeClr>
                </a:solidFill>
                <a:hlinkClick r:id="rId2">
                  <a:extLst>
                    <a:ext uri="{A12FA001-AC4F-418D-AE19-62706E023703}">
                      <ahyp:hlinkClr xmlns:ahyp="http://schemas.microsoft.com/office/drawing/2018/hyperlinkcolor" val="tx"/>
                    </a:ext>
                  </a:extLst>
                </a:hlinkClick>
              </a:rPr>
              <a:t>mean</a:t>
            </a:r>
            <a:r>
              <a:rPr lang="en-US" sz="2400" dirty="0">
                <a:solidFill>
                  <a:schemeClr val="bg2">
                    <a:lumMod val="50000"/>
                    <a:lumOff val="50000"/>
                  </a:schemeClr>
                </a:solidFill>
              </a:rPr>
              <a:t> of all values</a:t>
            </a:r>
          </a:p>
          <a:p>
            <a:pPr algn="l"/>
            <a:endParaRPr lang="en-US" sz="2400" dirty="0">
              <a:solidFill>
                <a:schemeClr val="bg2">
                  <a:lumMod val="50000"/>
                  <a:lumOff val="50000"/>
                </a:schemeClr>
              </a:solidFill>
            </a:endParaRPr>
          </a:p>
          <a:p>
            <a:pPr algn="l"/>
            <a:r>
              <a:rPr lang="en-US" sz="2400" dirty="0">
                <a:solidFill>
                  <a:schemeClr val="bg2">
                    <a:lumMod val="50000"/>
                    <a:lumOff val="50000"/>
                  </a:schemeClr>
                </a:solidFill>
              </a:rPr>
              <a:t>2. Find the distance of each value from that mean (subtract the mean from each value, ignore minus signs)</a:t>
            </a:r>
          </a:p>
          <a:p>
            <a:pPr algn="l"/>
            <a:endParaRPr lang="en-US" sz="2400" dirty="0">
              <a:solidFill>
                <a:schemeClr val="bg2">
                  <a:lumMod val="50000"/>
                  <a:lumOff val="50000"/>
                </a:schemeClr>
              </a:solidFill>
            </a:endParaRPr>
          </a:p>
          <a:p>
            <a:pPr algn="l"/>
            <a:r>
              <a:rPr lang="en-US" sz="2400" dirty="0">
                <a:solidFill>
                  <a:schemeClr val="bg2">
                    <a:lumMod val="50000"/>
                    <a:lumOff val="50000"/>
                  </a:schemeClr>
                </a:solidFill>
              </a:rPr>
              <a:t>3. Then find the mean of those distances</a:t>
            </a:r>
          </a:p>
          <a:p>
            <a:pPr>
              <a:buClr>
                <a:schemeClr val="bg1"/>
              </a:buClr>
            </a:pPr>
            <a:endParaRPr lang="en-US" sz="1467" dirty="0">
              <a:solidFill>
                <a:srgbClr val="333333"/>
              </a:solidFill>
              <a:latin typeface="Verdana" panose="020B0604030504040204" pitchFamily="34" charset="0"/>
            </a:endParaRPr>
          </a:p>
          <a:p>
            <a:pPr>
              <a:buClr>
                <a:schemeClr val="bg1"/>
              </a:buClr>
            </a:pPr>
            <a:endParaRPr lang="en-US" sz="1467" dirty="0">
              <a:solidFill>
                <a:srgbClr val="333333"/>
              </a:solidFill>
              <a:latin typeface="Verdana" panose="020B0604030504040204" pitchFamily="34" charset="0"/>
            </a:endParaRPr>
          </a:p>
          <a:p>
            <a:pPr>
              <a:buClr>
                <a:schemeClr val="bg1"/>
              </a:buClr>
            </a:pPr>
            <a:endParaRPr lang="en-US" sz="1867" dirty="0">
              <a:solidFill>
                <a:schemeClr val="bg2"/>
              </a:solidFill>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094F32F1-DDB0-479A-A7B0-15A1E31CF56E}"/>
                  </a:ext>
                </a:extLst>
              </p14:cNvPr>
              <p14:cNvContentPartPr/>
              <p14:nvPr/>
            </p14:nvContentPartPr>
            <p14:xfrm>
              <a:off x="355680" y="450720"/>
              <a:ext cx="10325280" cy="4324800"/>
            </p14:xfrm>
          </p:contentPart>
        </mc:Choice>
        <mc:Fallback>
          <p:pic>
            <p:nvPicPr>
              <p:cNvPr id="4" name="Ink 3">
                <a:extLst>
                  <a:ext uri="{FF2B5EF4-FFF2-40B4-BE49-F238E27FC236}">
                    <a16:creationId xmlns:a16="http://schemas.microsoft.com/office/drawing/2014/main" id="{094F32F1-DDB0-479A-A7B0-15A1E31CF56E}"/>
                  </a:ext>
                </a:extLst>
              </p:cNvPr>
              <p:cNvPicPr/>
              <p:nvPr/>
            </p:nvPicPr>
            <p:blipFill>
              <a:blip r:embed="rId4"/>
              <a:stretch>
                <a:fillRect/>
              </a:stretch>
            </p:blipFill>
            <p:spPr>
              <a:xfrm>
                <a:off x="346320" y="441720"/>
                <a:ext cx="10344000" cy="4343521"/>
              </a:xfrm>
              <a:prstGeom prst="rect">
                <a:avLst/>
              </a:prstGeom>
            </p:spPr>
          </p:pic>
        </mc:Fallback>
      </mc:AlternateContent>
    </p:spTree>
    <p:extLst>
      <p:ext uri="{BB962C8B-B14F-4D97-AF65-F5344CB8AC3E}">
        <p14:creationId xmlns:p14="http://schemas.microsoft.com/office/powerpoint/2010/main" val="4175273265"/>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8774-87C9-418D-9F90-90226D8612B0}"/>
              </a:ext>
            </a:extLst>
          </p:cNvPr>
          <p:cNvSpPr>
            <a:spLocks noGrp="1"/>
          </p:cNvSpPr>
          <p:nvPr>
            <p:ph type="title"/>
          </p:nvPr>
        </p:nvSpPr>
        <p:spPr>
          <a:xfrm>
            <a:off x="0" y="0"/>
            <a:ext cx="10972800" cy="850392"/>
          </a:xfrm>
        </p:spPr>
        <p:txBody>
          <a:bodyPr/>
          <a:lstStyle/>
          <a:p>
            <a:r>
              <a:rPr lang="en-US" dirty="0"/>
              <a:t>Mean Deviation</a:t>
            </a:r>
          </a:p>
        </p:txBody>
      </p:sp>
      <p:sp>
        <p:nvSpPr>
          <p:cNvPr id="3" name="TextBox 2">
            <a:extLst>
              <a:ext uri="{FF2B5EF4-FFF2-40B4-BE49-F238E27FC236}">
                <a16:creationId xmlns:a16="http://schemas.microsoft.com/office/drawing/2014/main" id="{C774A8E0-6B14-40F1-88E8-69C5C2BF46A0}"/>
              </a:ext>
            </a:extLst>
          </p:cNvPr>
          <p:cNvSpPr txBox="1"/>
          <p:nvPr/>
        </p:nvSpPr>
        <p:spPr>
          <a:xfrm>
            <a:off x="186137" y="850393"/>
            <a:ext cx="10972800" cy="2964979"/>
          </a:xfrm>
          <a:prstGeom prst="rect">
            <a:avLst/>
          </a:prstGeom>
          <a:noFill/>
        </p:spPr>
        <p:txBody>
          <a:bodyPr wrap="square" rtlCol="0">
            <a:spAutoFit/>
          </a:bodyPr>
          <a:lstStyle/>
          <a:p>
            <a:pPr>
              <a:buClr>
                <a:schemeClr val="bg1"/>
              </a:buClr>
            </a:pPr>
            <a:r>
              <a:rPr lang="en-US" sz="2400" dirty="0">
                <a:solidFill>
                  <a:schemeClr val="bg2">
                    <a:lumMod val="50000"/>
                    <a:lumOff val="50000"/>
                  </a:schemeClr>
                </a:solidFill>
              </a:rPr>
              <a:t>Example: the Mean Deviation of 3, 6, 6, 7, 8, 11, 15, 16</a:t>
            </a:r>
          </a:p>
          <a:p>
            <a:pPr>
              <a:buClr>
                <a:schemeClr val="bg1"/>
              </a:buClr>
            </a:pPr>
            <a:endParaRPr lang="en-US" sz="2400" dirty="0">
              <a:solidFill>
                <a:schemeClr val="bg2">
                  <a:lumMod val="50000"/>
                  <a:lumOff val="50000"/>
                </a:schemeClr>
              </a:solidFill>
            </a:endParaRPr>
          </a:p>
          <a:p>
            <a:pPr>
              <a:buClr>
                <a:schemeClr val="bg1"/>
              </a:buClr>
            </a:pPr>
            <a:r>
              <a:rPr lang="en-US" sz="2400" dirty="0">
                <a:solidFill>
                  <a:schemeClr val="bg2">
                    <a:lumMod val="50000"/>
                    <a:lumOff val="50000"/>
                  </a:schemeClr>
                </a:solidFill>
              </a:rPr>
              <a:t>Step 1 : Find the mean:</a:t>
            </a:r>
          </a:p>
          <a:p>
            <a:pPr>
              <a:buClr>
                <a:schemeClr val="bg1"/>
              </a:buClr>
            </a:pPr>
            <a:endParaRPr lang="en-US" sz="2400" dirty="0">
              <a:solidFill>
                <a:schemeClr val="bg2">
                  <a:lumMod val="50000"/>
                  <a:lumOff val="50000"/>
                </a:schemeClr>
              </a:solidFill>
            </a:endParaRPr>
          </a:p>
          <a:p>
            <a:pPr>
              <a:buClr>
                <a:schemeClr val="bg1"/>
              </a:buClr>
            </a:pPr>
            <a:r>
              <a:rPr lang="en-US" sz="2400" dirty="0">
                <a:solidFill>
                  <a:schemeClr val="bg2">
                    <a:lumMod val="50000"/>
                    <a:lumOff val="50000"/>
                  </a:schemeClr>
                </a:solidFill>
              </a:rPr>
              <a:t>Step 2 : Find the distance of each value from mean</a:t>
            </a:r>
          </a:p>
          <a:p>
            <a:pPr>
              <a:buClr>
                <a:schemeClr val="bg1"/>
              </a:buClr>
            </a:pPr>
            <a:endParaRPr lang="en-US" sz="2400" dirty="0">
              <a:solidFill>
                <a:schemeClr val="bg2">
                  <a:lumMod val="50000"/>
                  <a:lumOff val="50000"/>
                </a:schemeClr>
              </a:solidFill>
            </a:endParaRPr>
          </a:p>
          <a:p>
            <a:pPr>
              <a:buClr>
                <a:schemeClr val="bg1"/>
              </a:buClr>
            </a:pPr>
            <a:r>
              <a:rPr lang="en-US" sz="2400" dirty="0">
                <a:solidFill>
                  <a:schemeClr val="bg2">
                    <a:lumMod val="50000"/>
                    <a:lumOff val="50000"/>
                  </a:schemeClr>
                </a:solidFill>
              </a:rPr>
              <a:t>	</a:t>
            </a:r>
            <a:r>
              <a:rPr lang="en-US" sz="2400" b="1" i="1" dirty="0">
                <a:solidFill>
                  <a:schemeClr val="bg2">
                    <a:lumMod val="50000"/>
                    <a:lumOff val="50000"/>
                  </a:schemeClr>
                </a:solidFill>
              </a:rPr>
              <a:t>Which looks like :  </a:t>
            </a:r>
          </a:p>
          <a:p>
            <a:pPr>
              <a:buClr>
                <a:schemeClr val="bg1"/>
              </a:buClr>
            </a:pPr>
            <a:endParaRPr lang="en-US" sz="1867" dirty="0" err="1">
              <a:solidFill>
                <a:schemeClr val="bg2"/>
              </a:solidFill>
            </a:endParaRPr>
          </a:p>
        </p:txBody>
      </p:sp>
      <p:pic>
        <p:nvPicPr>
          <p:cNvPr id="5" name="Picture 4">
            <a:extLst>
              <a:ext uri="{FF2B5EF4-FFF2-40B4-BE49-F238E27FC236}">
                <a16:creationId xmlns:a16="http://schemas.microsoft.com/office/drawing/2014/main" id="{2C18772C-952A-41C0-AA17-DDB5486D696E}"/>
              </a:ext>
            </a:extLst>
          </p:cNvPr>
          <p:cNvPicPr>
            <a:picLocks noChangeAspect="1"/>
          </p:cNvPicPr>
          <p:nvPr/>
        </p:nvPicPr>
        <p:blipFill>
          <a:blip r:embed="rId2"/>
          <a:stretch>
            <a:fillRect/>
          </a:stretch>
        </p:blipFill>
        <p:spPr>
          <a:xfrm>
            <a:off x="9356024" y="959910"/>
            <a:ext cx="2234825" cy="2997903"/>
          </a:xfrm>
          <a:prstGeom prst="rect">
            <a:avLst/>
          </a:prstGeom>
        </p:spPr>
      </p:pic>
      <p:pic>
        <p:nvPicPr>
          <p:cNvPr id="8" name="Picture 7">
            <a:extLst>
              <a:ext uri="{FF2B5EF4-FFF2-40B4-BE49-F238E27FC236}">
                <a16:creationId xmlns:a16="http://schemas.microsoft.com/office/drawing/2014/main" id="{8B3BB222-15D4-4D90-87BE-DC4A27AF5518}"/>
              </a:ext>
            </a:extLst>
          </p:cNvPr>
          <p:cNvPicPr>
            <a:picLocks noChangeAspect="1"/>
          </p:cNvPicPr>
          <p:nvPr/>
        </p:nvPicPr>
        <p:blipFill>
          <a:blip r:embed="rId3"/>
          <a:stretch>
            <a:fillRect/>
          </a:stretch>
        </p:blipFill>
        <p:spPr>
          <a:xfrm>
            <a:off x="1528896" y="3644485"/>
            <a:ext cx="7545305" cy="2245103"/>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28F3F073-CAFB-4570-9D3D-5DD6917C0382}"/>
                  </a:ext>
                </a:extLst>
              </p14:cNvPr>
              <p14:cNvContentPartPr/>
              <p14:nvPr/>
            </p14:nvContentPartPr>
            <p14:xfrm>
              <a:off x="2520960" y="965280"/>
              <a:ext cx="9125280" cy="5544000"/>
            </p14:xfrm>
          </p:contentPart>
        </mc:Choice>
        <mc:Fallback>
          <p:pic>
            <p:nvPicPr>
              <p:cNvPr id="4" name="Ink 3">
                <a:extLst>
                  <a:ext uri="{FF2B5EF4-FFF2-40B4-BE49-F238E27FC236}">
                    <a16:creationId xmlns:a16="http://schemas.microsoft.com/office/drawing/2014/main" id="{28F3F073-CAFB-4570-9D3D-5DD6917C0382}"/>
                  </a:ext>
                </a:extLst>
              </p:cNvPr>
              <p:cNvPicPr/>
              <p:nvPr/>
            </p:nvPicPr>
            <p:blipFill>
              <a:blip r:embed="rId5"/>
              <a:stretch>
                <a:fillRect/>
              </a:stretch>
            </p:blipFill>
            <p:spPr>
              <a:xfrm>
                <a:off x="2511600" y="955920"/>
                <a:ext cx="9144000" cy="5562720"/>
              </a:xfrm>
              <a:prstGeom prst="rect">
                <a:avLst/>
              </a:prstGeom>
            </p:spPr>
          </p:pic>
        </mc:Fallback>
      </mc:AlternateContent>
    </p:spTree>
    <p:extLst>
      <p:ext uri="{BB962C8B-B14F-4D97-AF65-F5344CB8AC3E}">
        <p14:creationId xmlns:p14="http://schemas.microsoft.com/office/powerpoint/2010/main" val="1775430889"/>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23591-2BA9-4893-BBCB-23008C088B94}"/>
              </a:ext>
            </a:extLst>
          </p:cNvPr>
          <p:cNvSpPr>
            <a:spLocks noGrp="1"/>
          </p:cNvSpPr>
          <p:nvPr>
            <p:ph type="title"/>
          </p:nvPr>
        </p:nvSpPr>
        <p:spPr>
          <a:xfrm>
            <a:off x="0" y="0"/>
            <a:ext cx="10972800" cy="850392"/>
          </a:xfrm>
        </p:spPr>
        <p:txBody>
          <a:bodyPr/>
          <a:lstStyle/>
          <a:p>
            <a:r>
              <a:rPr lang="en-US" dirty="0"/>
              <a:t>Mean Deviation</a:t>
            </a:r>
          </a:p>
        </p:txBody>
      </p:sp>
      <p:sp>
        <p:nvSpPr>
          <p:cNvPr id="3" name="TextBox 2">
            <a:extLst>
              <a:ext uri="{FF2B5EF4-FFF2-40B4-BE49-F238E27FC236}">
                <a16:creationId xmlns:a16="http://schemas.microsoft.com/office/drawing/2014/main" id="{189569A4-57DB-4D58-AAEC-08366E824698}"/>
              </a:ext>
            </a:extLst>
          </p:cNvPr>
          <p:cNvSpPr txBox="1"/>
          <p:nvPr/>
        </p:nvSpPr>
        <p:spPr>
          <a:xfrm>
            <a:off x="130297" y="761603"/>
            <a:ext cx="10972800" cy="2349618"/>
          </a:xfrm>
          <a:prstGeom prst="rect">
            <a:avLst/>
          </a:prstGeom>
          <a:noFill/>
        </p:spPr>
        <p:txBody>
          <a:bodyPr wrap="square" rtlCol="0">
            <a:spAutoFit/>
          </a:bodyPr>
          <a:lstStyle/>
          <a:p>
            <a:pPr>
              <a:buClr>
                <a:schemeClr val="bg1"/>
              </a:buClr>
            </a:pPr>
            <a:r>
              <a:rPr lang="en-US" sz="2400" dirty="0">
                <a:solidFill>
                  <a:schemeClr val="bg2">
                    <a:lumMod val="50000"/>
                    <a:lumOff val="50000"/>
                  </a:schemeClr>
                </a:solidFill>
              </a:rPr>
              <a:t>Step 3 : Find the mean of those distances : </a:t>
            </a:r>
          </a:p>
          <a:p>
            <a:pPr>
              <a:buClr>
                <a:schemeClr val="bg1"/>
              </a:buClr>
            </a:pPr>
            <a:endParaRPr lang="en-US" sz="2400" dirty="0">
              <a:solidFill>
                <a:schemeClr val="bg2">
                  <a:lumMod val="50000"/>
                  <a:lumOff val="50000"/>
                </a:schemeClr>
              </a:solidFill>
            </a:endParaRPr>
          </a:p>
          <a:p>
            <a:pPr>
              <a:buClr>
                <a:schemeClr val="bg1"/>
              </a:buClr>
            </a:pPr>
            <a:endParaRPr lang="en-US" sz="2400" dirty="0">
              <a:solidFill>
                <a:schemeClr val="bg2">
                  <a:lumMod val="50000"/>
                  <a:lumOff val="50000"/>
                </a:schemeClr>
              </a:solidFill>
            </a:endParaRPr>
          </a:p>
          <a:p>
            <a:pPr>
              <a:buClr>
                <a:schemeClr val="bg1"/>
              </a:buClr>
            </a:pPr>
            <a:r>
              <a:rPr lang="en-US" sz="1867" b="1" dirty="0">
                <a:solidFill>
                  <a:schemeClr val="bg2">
                    <a:lumMod val="50000"/>
                    <a:lumOff val="50000"/>
                  </a:schemeClr>
                </a:solidFill>
                <a:latin typeface="Verdana" panose="020B0604030504040204" pitchFamily="34" charset="0"/>
              </a:rPr>
              <a:t>Mean Deviation</a:t>
            </a:r>
            <a:r>
              <a:rPr lang="en-US" sz="1867" dirty="0">
                <a:solidFill>
                  <a:schemeClr val="bg2">
                    <a:lumMod val="50000"/>
                    <a:lumOff val="50000"/>
                  </a:schemeClr>
                </a:solidFill>
                <a:latin typeface="Verdana" panose="020B0604030504040204" pitchFamily="34" charset="0"/>
              </a:rPr>
              <a:t> =  </a:t>
            </a:r>
            <a:r>
              <a:rPr lang="en-US" sz="1867" i="1" dirty="0">
                <a:solidFill>
                  <a:schemeClr val="bg2">
                    <a:lumMod val="50000"/>
                    <a:lumOff val="50000"/>
                  </a:schemeClr>
                </a:solidFill>
                <a:latin typeface="Verdana" panose="020B0604030504040204" pitchFamily="34" charset="0"/>
              </a:rPr>
              <a:t>6 + 3 + 3 + 2 + 1 + 2 + 6 + 7</a:t>
            </a:r>
            <a:r>
              <a:rPr lang="en-US" sz="1867" dirty="0">
                <a:solidFill>
                  <a:schemeClr val="bg2">
                    <a:lumMod val="50000"/>
                    <a:lumOff val="50000"/>
                  </a:schemeClr>
                </a:solidFill>
                <a:latin typeface="Verdana" panose="020B0604030504040204" pitchFamily="34" charset="0"/>
              </a:rPr>
              <a:t>8  =  </a:t>
            </a:r>
            <a:r>
              <a:rPr lang="en-US" sz="1867" i="1" dirty="0">
                <a:solidFill>
                  <a:schemeClr val="bg2">
                    <a:lumMod val="50000"/>
                    <a:lumOff val="50000"/>
                  </a:schemeClr>
                </a:solidFill>
                <a:latin typeface="Verdana" panose="020B0604030504040204" pitchFamily="34" charset="0"/>
              </a:rPr>
              <a:t>30</a:t>
            </a:r>
            <a:r>
              <a:rPr lang="en-US" sz="1867" dirty="0">
                <a:solidFill>
                  <a:schemeClr val="bg2">
                    <a:lumMod val="50000"/>
                    <a:lumOff val="50000"/>
                  </a:schemeClr>
                </a:solidFill>
                <a:latin typeface="Verdana" panose="020B0604030504040204" pitchFamily="34" charset="0"/>
              </a:rPr>
              <a:t>8  = 3.75</a:t>
            </a:r>
          </a:p>
          <a:p>
            <a:pPr>
              <a:buClr>
                <a:schemeClr val="bg1"/>
              </a:buClr>
            </a:pPr>
            <a:endParaRPr lang="en-US" sz="1867" b="1" dirty="0">
              <a:solidFill>
                <a:schemeClr val="bg2">
                  <a:lumMod val="50000"/>
                  <a:lumOff val="50000"/>
                </a:schemeClr>
              </a:solidFill>
              <a:latin typeface="Verdana" panose="020B0604030504040204" pitchFamily="34" charset="0"/>
            </a:endParaRPr>
          </a:p>
          <a:p>
            <a:pPr>
              <a:buClr>
                <a:schemeClr val="bg1"/>
              </a:buClr>
            </a:pPr>
            <a:endParaRPr lang="en-US" sz="1867" b="1" dirty="0">
              <a:solidFill>
                <a:schemeClr val="bg2">
                  <a:lumMod val="50000"/>
                  <a:lumOff val="50000"/>
                </a:schemeClr>
              </a:solidFill>
              <a:latin typeface="Verdana" panose="020B0604030504040204" pitchFamily="34" charset="0"/>
            </a:endParaRPr>
          </a:p>
          <a:p>
            <a:pPr>
              <a:buClr>
                <a:schemeClr val="bg1"/>
              </a:buClr>
            </a:pPr>
            <a:r>
              <a:rPr lang="en-US" sz="1867" b="1" dirty="0">
                <a:solidFill>
                  <a:schemeClr val="bg2">
                    <a:lumMod val="50000"/>
                    <a:lumOff val="50000"/>
                  </a:schemeClr>
                </a:solidFill>
                <a:latin typeface="Verdana" panose="020B0604030504040204" pitchFamily="34" charset="0"/>
              </a:rPr>
              <a:t>So, the mean = 9, and the mean deviation = 3.75</a:t>
            </a:r>
            <a:endParaRPr lang="en-US" sz="2400" dirty="0">
              <a:solidFill>
                <a:schemeClr val="bg2">
                  <a:lumMod val="50000"/>
                  <a:lumOff val="50000"/>
                </a:schemeClr>
              </a:solidFill>
            </a:endParaRPr>
          </a:p>
        </p:txBody>
      </p:sp>
      <p:sp>
        <p:nvSpPr>
          <p:cNvPr id="4" name="TextBox 3">
            <a:extLst>
              <a:ext uri="{FF2B5EF4-FFF2-40B4-BE49-F238E27FC236}">
                <a16:creationId xmlns:a16="http://schemas.microsoft.com/office/drawing/2014/main" id="{7BA168E8-C891-4961-BA65-96DC95B11E16}"/>
              </a:ext>
            </a:extLst>
          </p:cNvPr>
          <p:cNvSpPr txBox="1"/>
          <p:nvPr/>
        </p:nvSpPr>
        <p:spPr>
          <a:xfrm>
            <a:off x="130298" y="3564533"/>
            <a:ext cx="10032805" cy="2062103"/>
          </a:xfrm>
          <a:prstGeom prst="rect">
            <a:avLst/>
          </a:prstGeom>
          <a:noFill/>
        </p:spPr>
        <p:txBody>
          <a:bodyPr wrap="square" rtlCol="0">
            <a:spAutoFit/>
          </a:bodyPr>
          <a:lstStyle/>
          <a:p>
            <a:pPr>
              <a:buClr>
                <a:schemeClr val="bg1"/>
              </a:buClr>
            </a:pPr>
            <a:r>
              <a:rPr lang="en-US" sz="3733" dirty="0">
                <a:solidFill>
                  <a:schemeClr val="bg1"/>
                </a:solidFill>
                <a:latin typeface="+mj-lt"/>
                <a:cs typeface="+mj-cs"/>
              </a:rPr>
              <a:t>What does Mean Deviation say ? </a:t>
            </a:r>
          </a:p>
          <a:p>
            <a:pPr>
              <a:buClr>
                <a:schemeClr val="bg1"/>
              </a:buClr>
            </a:pPr>
            <a:endParaRPr lang="en-US" sz="2400" dirty="0">
              <a:solidFill>
                <a:schemeClr val="bg2">
                  <a:lumMod val="50000"/>
                  <a:lumOff val="50000"/>
                </a:schemeClr>
              </a:solidFill>
            </a:endParaRPr>
          </a:p>
          <a:p>
            <a:pPr marL="380990" indent="-380990">
              <a:buFont typeface="Wingdings" panose="05000000000000000000" pitchFamily="2" charset="2"/>
              <a:buChar char="q"/>
            </a:pPr>
            <a:r>
              <a:rPr lang="en-US" sz="2400" dirty="0">
                <a:solidFill>
                  <a:schemeClr val="bg2">
                    <a:lumMod val="50000"/>
                    <a:lumOff val="50000"/>
                  </a:schemeClr>
                </a:solidFill>
              </a:rPr>
              <a:t>It tells us how far, on average, all values are from the middle.</a:t>
            </a:r>
          </a:p>
          <a:p>
            <a:pPr marL="380990" indent="-380990">
              <a:buFont typeface="Wingdings" panose="05000000000000000000" pitchFamily="2" charset="2"/>
              <a:buChar char="q"/>
            </a:pPr>
            <a:r>
              <a:rPr lang="en-US" sz="2400" dirty="0">
                <a:solidFill>
                  <a:schemeClr val="bg2">
                    <a:lumMod val="50000"/>
                    <a:lumOff val="50000"/>
                  </a:schemeClr>
                </a:solidFill>
              </a:rPr>
              <a:t>In that example the values are, on average, 3.75 away from the middle</a:t>
            </a:r>
          </a:p>
          <a:p>
            <a:pPr>
              <a:buClr>
                <a:schemeClr val="bg1"/>
              </a:buClr>
            </a:pPr>
            <a:endParaRPr lang="en-US" sz="1867" dirty="0" err="1">
              <a:solidFill>
                <a:schemeClr val="bg2"/>
              </a:solidFill>
            </a:endParaRPr>
          </a:p>
        </p:txBody>
      </p:sp>
      <p:sp>
        <p:nvSpPr>
          <p:cNvPr id="5" name="Rectangle 4">
            <a:extLst>
              <a:ext uri="{FF2B5EF4-FFF2-40B4-BE49-F238E27FC236}">
                <a16:creationId xmlns:a16="http://schemas.microsoft.com/office/drawing/2014/main" id="{5FC14057-7159-4E30-ABC8-355D937DF3A5}"/>
              </a:ext>
            </a:extLst>
          </p:cNvPr>
          <p:cNvSpPr/>
          <p:nvPr/>
        </p:nvSpPr>
        <p:spPr>
          <a:xfrm>
            <a:off x="130298" y="3564532"/>
            <a:ext cx="11931405" cy="2224341"/>
          </a:xfrm>
          <a:prstGeom prst="rect">
            <a:avLst/>
          </a:prstGeom>
          <a:noFill/>
          <a:ln w="28575" cmpd="sng">
            <a:solidFill>
              <a:schemeClr val="tx1"/>
            </a:solidFill>
          </a:ln>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mc:AlternateContent xmlns:mc="http://schemas.openxmlformats.org/markup-compatibility/2006">
        <mc:Choice xmlns:p14="http://schemas.microsoft.com/office/powerpoint/2010/main" Requires="p14">
          <p:contentPart p14:bwMode="auto" r:id="rId2">
            <p14:nvContentPartPr>
              <p14:cNvPr id="6" name="Ink 5">
                <a:extLst>
                  <a:ext uri="{FF2B5EF4-FFF2-40B4-BE49-F238E27FC236}">
                    <a16:creationId xmlns:a16="http://schemas.microsoft.com/office/drawing/2014/main" id="{C762EED8-5D6C-43C4-BA2C-1EED422BA1B8}"/>
                  </a:ext>
                </a:extLst>
              </p14:cNvPr>
              <p14:cNvContentPartPr/>
              <p14:nvPr/>
            </p14:nvContentPartPr>
            <p14:xfrm>
              <a:off x="780960" y="1250880"/>
              <a:ext cx="7938240" cy="3785280"/>
            </p14:xfrm>
          </p:contentPart>
        </mc:Choice>
        <mc:Fallback>
          <p:pic>
            <p:nvPicPr>
              <p:cNvPr id="6" name="Ink 5">
                <a:extLst>
                  <a:ext uri="{FF2B5EF4-FFF2-40B4-BE49-F238E27FC236}">
                    <a16:creationId xmlns:a16="http://schemas.microsoft.com/office/drawing/2014/main" id="{C762EED8-5D6C-43C4-BA2C-1EED422BA1B8}"/>
                  </a:ext>
                </a:extLst>
              </p:cNvPr>
              <p:cNvPicPr/>
              <p:nvPr/>
            </p:nvPicPr>
            <p:blipFill>
              <a:blip r:embed="rId3"/>
              <a:stretch>
                <a:fillRect/>
              </a:stretch>
            </p:blipFill>
            <p:spPr>
              <a:xfrm>
                <a:off x="771600" y="1241519"/>
                <a:ext cx="7956961" cy="3804001"/>
              </a:xfrm>
              <a:prstGeom prst="rect">
                <a:avLst/>
              </a:prstGeom>
            </p:spPr>
          </p:pic>
        </mc:Fallback>
      </mc:AlternateContent>
    </p:spTree>
    <p:extLst>
      <p:ext uri="{BB962C8B-B14F-4D97-AF65-F5344CB8AC3E}">
        <p14:creationId xmlns:p14="http://schemas.microsoft.com/office/powerpoint/2010/main" val="206333337"/>
      </p:ext>
    </p:extLst>
  </p:cSld>
  <p:clrMapOvr>
    <a:masterClrMapping/>
  </p:clrMapOvr>
  <p:transition spd="med">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446A-7FBF-4270-B3F9-3C9E47FD1AB0}"/>
              </a:ext>
            </a:extLst>
          </p:cNvPr>
          <p:cNvSpPr>
            <a:spLocks noGrp="1"/>
          </p:cNvSpPr>
          <p:nvPr>
            <p:ph type="title"/>
          </p:nvPr>
        </p:nvSpPr>
        <p:spPr>
          <a:xfrm>
            <a:off x="0" y="0"/>
            <a:ext cx="10972800" cy="850392"/>
          </a:xfrm>
        </p:spPr>
        <p:txBody>
          <a:bodyPr/>
          <a:lstStyle/>
          <a:p>
            <a:r>
              <a:rPr lang="en-US" dirty="0"/>
              <a:t>Mean Deviation - Formula</a:t>
            </a:r>
          </a:p>
        </p:txBody>
      </p:sp>
      <p:sp>
        <p:nvSpPr>
          <p:cNvPr id="3" name="TextBox 2">
            <a:extLst>
              <a:ext uri="{FF2B5EF4-FFF2-40B4-BE49-F238E27FC236}">
                <a16:creationId xmlns:a16="http://schemas.microsoft.com/office/drawing/2014/main" id="{6D3F6156-DC35-41C3-BD79-96AB55011EF8}"/>
              </a:ext>
            </a:extLst>
          </p:cNvPr>
          <p:cNvSpPr txBox="1"/>
          <p:nvPr/>
        </p:nvSpPr>
        <p:spPr>
          <a:xfrm>
            <a:off x="214058" y="850392"/>
            <a:ext cx="11633588" cy="4072974"/>
          </a:xfrm>
          <a:prstGeom prst="rect">
            <a:avLst/>
          </a:prstGeom>
          <a:noFill/>
        </p:spPr>
        <p:txBody>
          <a:bodyPr wrap="square" rtlCol="0">
            <a:spAutoFit/>
          </a:bodyPr>
          <a:lstStyle/>
          <a:p>
            <a:pPr algn="l"/>
            <a:r>
              <a:rPr lang="en-US" sz="2400" dirty="0">
                <a:solidFill>
                  <a:schemeClr val="bg2">
                    <a:lumMod val="50000"/>
                    <a:lumOff val="50000"/>
                  </a:schemeClr>
                </a:solidFill>
              </a:rPr>
              <a:t>The formula is:</a:t>
            </a:r>
          </a:p>
          <a:p>
            <a:pPr algn="ctr"/>
            <a:endParaRPr lang="en-US" sz="2400" dirty="0">
              <a:solidFill>
                <a:schemeClr val="bg2">
                  <a:lumMod val="50000"/>
                  <a:lumOff val="50000"/>
                </a:schemeClr>
              </a:solidFill>
            </a:endParaRPr>
          </a:p>
          <a:p>
            <a:pPr algn="ctr"/>
            <a:endParaRPr lang="en-US" sz="2400" dirty="0">
              <a:solidFill>
                <a:schemeClr val="bg2">
                  <a:lumMod val="50000"/>
                  <a:lumOff val="50000"/>
                </a:schemeClr>
              </a:solidFill>
            </a:endParaRPr>
          </a:p>
          <a:p>
            <a:pPr algn="ctr"/>
            <a:endParaRPr lang="en-US" sz="2400" dirty="0">
              <a:solidFill>
                <a:schemeClr val="bg2">
                  <a:lumMod val="50000"/>
                  <a:lumOff val="50000"/>
                </a:schemeClr>
              </a:solidFill>
            </a:endParaRPr>
          </a:p>
          <a:p>
            <a:pPr algn="ctr"/>
            <a:endParaRPr lang="en-US" sz="2400" dirty="0">
              <a:solidFill>
                <a:schemeClr val="bg2">
                  <a:lumMod val="50000"/>
                  <a:lumOff val="50000"/>
                </a:schemeClr>
              </a:solidFill>
            </a:endParaRPr>
          </a:p>
          <a:p>
            <a:pPr marL="380990" indent="-380990">
              <a:buFont typeface="Arial" panose="020B0604020202020204" pitchFamily="34" charset="0"/>
              <a:buChar char="•"/>
            </a:pPr>
            <a:r>
              <a:rPr lang="en-US" sz="2400" dirty="0">
                <a:solidFill>
                  <a:schemeClr val="bg2">
                    <a:lumMod val="50000"/>
                    <a:lumOff val="50000"/>
                  </a:schemeClr>
                </a:solidFill>
              </a:rPr>
              <a:t>Σ is </a:t>
            </a:r>
            <a:r>
              <a:rPr lang="en-US" sz="2400" dirty="0">
                <a:solidFill>
                  <a:schemeClr val="bg2">
                    <a:lumMod val="50000"/>
                    <a:lumOff val="50000"/>
                  </a:schemeClr>
                </a:solidFill>
                <a:hlinkClick r:id="rId2">
                  <a:extLst>
                    <a:ext uri="{A12FA001-AC4F-418D-AE19-62706E023703}">
                      <ahyp:hlinkClr xmlns:ahyp="http://schemas.microsoft.com/office/drawing/2018/hyperlinkcolor" val="tx"/>
                    </a:ext>
                  </a:extLst>
                </a:hlinkClick>
              </a:rPr>
              <a:t>Sigma</a:t>
            </a:r>
            <a:r>
              <a:rPr lang="en-US" sz="2400" dirty="0">
                <a:solidFill>
                  <a:schemeClr val="bg2">
                    <a:lumMod val="50000"/>
                    <a:lumOff val="50000"/>
                  </a:schemeClr>
                </a:solidFill>
              </a:rPr>
              <a:t>, which means to sum up</a:t>
            </a:r>
          </a:p>
          <a:p>
            <a:pPr marL="380990" indent="-380990">
              <a:buFont typeface="Arial" panose="020B0604020202020204" pitchFamily="34" charset="0"/>
              <a:buChar char="•"/>
            </a:pPr>
            <a:r>
              <a:rPr lang="en-US" sz="2400" dirty="0">
                <a:solidFill>
                  <a:schemeClr val="bg2">
                    <a:lumMod val="50000"/>
                    <a:lumOff val="50000"/>
                  </a:schemeClr>
                </a:solidFill>
              </a:rPr>
              <a:t>|| (the vertical bars) mean </a:t>
            </a:r>
            <a:r>
              <a:rPr lang="en-US" sz="2400" dirty="0">
                <a:solidFill>
                  <a:schemeClr val="bg2">
                    <a:lumMod val="50000"/>
                    <a:lumOff val="50000"/>
                  </a:schemeClr>
                </a:solidFill>
                <a:hlinkClick r:id="rId3">
                  <a:extLst>
                    <a:ext uri="{A12FA001-AC4F-418D-AE19-62706E023703}">
                      <ahyp:hlinkClr xmlns:ahyp="http://schemas.microsoft.com/office/drawing/2018/hyperlinkcolor" val="tx"/>
                    </a:ext>
                  </a:extLst>
                </a:hlinkClick>
              </a:rPr>
              <a:t>Absolute Value</a:t>
            </a:r>
            <a:r>
              <a:rPr lang="en-US" sz="2400" dirty="0">
                <a:solidFill>
                  <a:schemeClr val="bg2">
                    <a:lumMod val="50000"/>
                    <a:lumOff val="50000"/>
                  </a:schemeClr>
                </a:solidFill>
              </a:rPr>
              <a:t>, basically to ignore minus signs</a:t>
            </a:r>
          </a:p>
          <a:p>
            <a:pPr marL="380990" indent="-380990">
              <a:buFont typeface="Arial" panose="020B0604020202020204" pitchFamily="34" charset="0"/>
              <a:buChar char="•"/>
            </a:pPr>
            <a:r>
              <a:rPr lang="en-US" sz="2400" dirty="0">
                <a:solidFill>
                  <a:schemeClr val="bg2">
                    <a:lumMod val="50000"/>
                    <a:lumOff val="50000"/>
                  </a:schemeClr>
                </a:solidFill>
              </a:rPr>
              <a:t>x is each value (such as 3 or 16)</a:t>
            </a:r>
          </a:p>
          <a:p>
            <a:pPr marL="380990" indent="-380990">
              <a:buFont typeface="Arial" panose="020B0604020202020204" pitchFamily="34" charset="0"/>
              <a:buChar char="•"/>
            </a:pPr>
            <a:r>
              <a:rPr lang="en-US" sz="2400" dirty="0">
                <a:solidFill>
                  <a:schemeClr val="bg2">
                    <a:lumMod val="50000"/>
                    <a:lumOff val="50000"/>
                  </a:schemeClr>
                </a:solidFill>
              </a:rPr>
              <a:t>μ is the mean (in our example μ = 9)</a:t>
            </a:r>
          </a:p>
          <a:p>
            <a:pPr marL="380990" indent="-380990">
              <a:buFont typeface="Arial" panose="020B0604020202020204" pitchFamily="34" charset="0"/>
              <a:buChar char="•"/>
            </a:pPr>
            <a:r>
              <a:rPr lang="en-US" sz="2400" dirty="0">
                <a:solidFill>
                  <a:schemeClr val="bg2">
                    <a:lumMod val="50000"/>
                    <a:lumOff val="50000"/>
                  </a:schemeClr>
                </a:solidFill>
              </a:rPr>
              <a:t>N is the number of values (in our example N = 8)</a:t>
            </a:r>
          </a:p>
          <a:p>
            <a:pPr>
              <a:buClr>
                <a:schemeClr val="bg1"/>
              </a:buClr>
            </a:pPr>
            <a:endParaRPr lang="en-US" sz="1867" dirty="0" err="1">
              <a:solidFill>
                <a:schemeClr val="bg2"/>
              </a:solidFill>
            </a:endParaRPr>
          </a:p>
        </p:txBody>
      </p:sp>
      <p:pic>
        <p:nvPicPr>
          <p:cNvPr id="6" name="Picture 5">
            <a:extLst>
              <a:ext uri="{FF2B5EF4-FFF2-40B4-BE49-F238E27FC236}">
                <a16:creationId xmlns:a16="http://schemas.microsoft.com/office/drawing/2014/main" id="{B12533B2-36D3-4DB7-AA9E-F31226F4C8E3}"/>
              </a:ext>
            </a:extLst>
          </p:cNvPr>
          <p:cNvPicPr>
            <a:picLocks noChangeAspect="1"/>
          </p:cNvPicPr>
          <p:nvPr/>
        </p:nvPicPr>
        <p:blipFill>
          <a:blip r:embed="rId4"/>
          <a:stretch>
            <a:fillRect/>
          </a:stretch>
        </p:blipFill>
        <p:spPr>
          <a:xfrm>
            <a:off x="2857695" y="1353569"/>
            <a:ext cx="3619887" cy="1025376"/>
          </a:xfrm>
          <a:prstGeom prst="rect">
            <a:avLst/>
          </a:prstGeom>
        </p:spPr>
      </p:pic>
      <p:sp>
        <p:nvSpPr>
          <p:cNvPr id="7" name="TextBox 6">
            <a:extLst>
              <a:ext uri="{FF2B5EF4-FFF2-40B4-BE49-F238E27FC236}">
                <a16:creationId xmlns:a16="http://schemas.microsoft.com/office/drawing/2014/main" id="{72CE07EA-D6D8-4715-8606-26366D32D3E3}"/>
              </a:ext>
            </a:extLst>
          </p:cNvPr>
          <p:cNvSpPr txBox="1"/>
          <p:nvPr/>
        </p:nvSpPr>
        <p:spPr>
          <a:xfrm>
            <a:off x="214058" y="5062938"/>
            <a:ext cx="10758743" cy="666977"/>
          </a:xfrm>
          <a:prstGeom prst="rect">
            <a:avLst/>
          </a:prstGeom>
          <a:noFill/>
        </p:spPr>
        <p:txBody>
          <a:bodyPr wrap="square" rtlCol="0">
            <a:spAutoFit/>
          </a:bodyPr>
          <a:lstStyle/>
          <a:p>
            <a:pPr>
              <a:buClr>
                <a:schemeClr val="bg1"/>
              </a:buClr>
            </a:pPr>
            <a:r>
              <a:rPr lang="en-US" sz="1867" b="1" i="1" dirty="0">
                <a:solidFill>
                  <a:schemeClr val="bg2">
                    <a:lumMod val="50000"/>
                    <a:lumOff val="50000"/>
                  </a:schemeClr>
                </a:solidFill>
              </a:rPr>
              <a:t>**Note : </a:t>
            </a:r>
            <a:r>
              <a:rPr lang="en-US" sz="1867" i="1" dirty="0">
                <a:solidFill>
                  <a:schemeClr val="bg2">
                    <a:lumMod val="50000"/>
                    <a:lumOff val="50000"/>
                  </a:schemeClr>
                </a:solidFill>
              </a:rPr>
              <a:t>The “</a:t>
            </a:r>
            <a:r>
              <a:rPr lang="en-US" sz="1867" b="1" i="1" dirty="0">
                <a:solidFill>
                  <a:schemeClr val="bg2">
                    <a:lumMod val="50000"/>
                    <a:lumOff val="50000"/>
                  </a:schemeClr>
                </a:solidFill>
              </a:rPr>
              <a:t>Mean Deviation” </a:t>
            </a:r>
            <a:r>
              <a:rPr lang="en-US" sz="1867" i="1" dirty="0">
                <a:solidFill>
                  <a:schemeClr val="bg2">
                    <a:lumMod val="50000"/>
                    <a:lumOff val="50000"/>
                  </a:schemeClr>
                </a:solidFill>
              </a:rPr>
              <a:t>is sometimes called the </a:t>
            </a:r>
            <a:r>
              <a:rPr lang="en-US" sz="1867" b="1" i="1" dirty="0">
                <a:solidFill>
                  <a:schemeClr val="bg2">
                    <a:lumMod val="50000"/>
                    <a:lumOff val="50000"/>
                  </a:schemeClr>
                </a:solidFill>
              </a:rPr>
              <a:t>“Mean Absolute Deviation”</a:t>
            </a:r>
            <a:r>
              <a:rPr lang="en-US" sz="1867" i="1" dirty="0">
                <a:solidFill>
                  <a:schemeClr val="bg2">
                    <a:lumMod val="50000"/>
                    <a:lumOff val="50000"/>
                  </a:schemeClr>
                </a:solidFill>
              </a:rPr>
              <a:t> (MAD) because it is the mean of the absolute deviations</a:t>
            </a:r>
          </a:p>
        </p:txBody>
      </p:sp>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5CDBBE10-38C6-4164-A997-3E51587CBF56}"/>
                  </a:ext>
                </a:extLst>
              </p14:cNvPr>
              <p14:cNvContentPartPr/>
              <p14:nvPr/>
            </p14:nvContentPartPr>
            <p14:xfrm>
              <a:off x="2508480" y="711360"/>
              <a:ext cx="4896000" cy="1676640"/>
            </p14:xfrm>
          </p:contentPart>
        </mc:Choice>
        <mc:Fallback>
          <p:pic>
            <p:nvPicPr>
              <p:cNvPr id="4" name="Ink 3">
                <a:extLst>
                  <a:ext uri="{FF2B5EF4-FFF2-40B4-BE49-F238E27FC236}">
                    <a16:creationId xmlns:a16="http://schemas.microsoft.com/office/drawing/2014/main" id="{5CDBBE10-38C6-4164-A997-3E51587CBF56}"/>
                  </a:ext>
                </a:extLst>
              </p:cNvPr>
              <p:cNvPicPr/>
              <p:nvPr/>
            </p:nvPicPr>
            <p:blipFill>
              <a:blip r:embed="rId6"/>
              <a:stretch>
                <a:fillRect/>
              </a:stretch>
            </p:blipFill>
            <p:spPr>
              <a:xfrm>
                <a:off x="2499120" y="701999"/>
                <a:ext cx="4914720" cy="1695361"/>
              </a:xfrm>
              <a:prstGeom prst="rect">
                <a:avLst/>
              </a:prstGeom>
            </p:spPr>
          </p:pic>
        </mc:Fallback>
      </mc:AlternateContent>
    </p:spTree>
    <p:extLst>
      <p:ext uri="{BB962C8B-B14F-4D97-AF65-F5344CB8AC3E}">
        <p14:creationId xmlns:p14="http://schemas.microsoft.com/office/powerpoint/2010/main" val="4202863261"/>
      </p:ext>
    </p:extLst>
  </p:cSld>
  <p:clrMapOvr>
    <a:masterClrMapping/>
  </p:clrMapOvr>
  <p:transition spd="med">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3DDC-6903-4E07-98B9-95FDD97BD569}"/>
              </a:ext>
            </a:extLst>
          </p:cNvPr>
          <p:cNvSpPr>
            <a:spLocks noGrp="1"/>
          </p:cNvSpPr>
          <p:nvPr>
            <p:ph type="title"/>
          </p:nvPr>
        </p:nvSpPr>
        <p:spPr>
          <a:xfrm>
            <a:off x="0" y="0"/>
            <a:ext cx="10972800" cy="850392"/>
          </a:xfrm>
        </p:spPr>
        <p:txBody>
          <a:bodyPr/>
          <a:lstStyle/>
          <a:p>
            <a:r>
              <a:rPr lang="en-US" dirty="0"/>
              <a:t>Mean Deviation – Real life example </a:t>
            </a:r>
          </a:p>
        </p:txBody>
      </p:sp>
      <p:sp>
        <p:nvSpPr>
          <p:cNvPr id="3" name="TextBox 2">
            <a:extLst>
              <a:ext uri="{FF2B5EF4-FFF2-40B4-BE49-F238E27FC236}">
                <a16:creationId xmlns:a16="http://schemas.microsoft.com/office/drawing/2014/main" id="{64CEE453-977A-4B43-8454-41EFE9BF1B1F}"/>
              </a:ext>
            </a:extLst>
          </p:cNvPr>
          <p:cNvSpPr txBox="1"/>
          <p:nvPr/>
        </p:nvSpPr>
        <p:spPr>
          <a:xfrm>
            <a:off x="288513" y="772471"/>
            <a:ext cx="10879731" cy="3827523"/>
          </a:xfrm>
          <a:prstGeom prst="rect">
            <a:avLst/>
          </a:prstGeom>
          <a:noFill/>
        </p:spPr>
        <p:txBody>
          <a:bodyPr wrap="square" rtlCol="0">
            <a:spAutoFit/>
          </a:bodyPr>
          <a:lstStyle/>
          <a:p>
            <a:pPr>
              <a:buClr>
                <a:schemeClr val="bg1"/>
              </a:buClr>
            </a:pPr>
            <a:r>
              <a:rPr lang="en-US" sz="1867" b="1" dirty="0">
                <a:solidFill>
                  <a:schemeClr val="bg2">
                    <a:lumMod val="50000"/>
                    <a:lumOff val="50000"/>
                  </a:schemeClr>
                </a:solidFill>
              </a:rPr>
              <a:t>Ex : </a:t>
            </a:r>
            <a:r>
              <a:rPr lang="en-US" sz="1867" dirty="0">
                <a:solidFill>
                  <a:schemeClr val="bg2">
                    <a:lumMod val="50000"/>
                    <a:lumOff val="50000"/>
                  </a:schemeClr>
                </a:solidFill>
              </a:rPr>
              <a:t>A group of friends have just measured the heights of their dogs ( in millimeters) </a:t>
            </a:r>
          </a:p>
          <a:p>
            <a:pPr>
              <a:buClr>
                <a:schemeClr val="bg1"/>
              </a:buClr>
            </a:pPr>
            <a:endParaRPr lang="en-US" sz="1867" dirty="0">
              <a:solidFill>
                <a:schemeClr val="bg2">
                  <a:lumMod val="50000"/>
                  <a:lumOff val="50000"/>
                </a:schemeClr>
              </a:solidFill>
            </a:endParaRPr>
          </a:p>
          <a:p>
            <a:pPr marL="380990" indent="-380990">
              <a:buClr>
                <a:schemeClr val="bg1"/>
              </a:buClr>
              <a:buFont typeface="Arial" panose="020B0604020202020204" pitchFamily="34" charset="0"/>
              <a:buChar char="•"/>
            </a:pPr>
            <a:r>
              <a:rPr lang="en-US" sz="1867" dirty="0">
                <a:solidFill>
                  <a:schemeClr val="bg2">
                    <a:lumMod val="50000"/>
                    <a:lumOff val="50000"/>
                  </a:schemeClr>
                </a:solidFill>
              </a:rPr>
              <a:t>The heights at shoulders are : 600mm, 470mm, 170mm, 430mm and 300mm</a:t>
            </a:r>
          </a:p>
          <a:p>
            <a:pPr marL="380990" indent="-380990">
              <a:buClr>
                <a:schemeClr val="bg1"/>
              </a:buClr>
              <a:buFont typeface="Arial" panose="020B0604020202020204" pitchFamily="34" charset="0"/>
              <a:buChar char="•"/>
            </a:pPr>
            <a:endParaRPr lang="en-US" sz="1867" dirty="0">
              <a:solidFill>
                <a:schemeClr val="bg2">
                  <a:lumMod val="50000"/>
                  <a:lumOff val="50000"/>
                </a:schemeClr>
              </a:solidFill>
            </a:endParaRPr>
          </a:p>
          <a:p>
            <a:pPr marL="380990" indent="-380990">
              <a:buClr>
                <a:schemeClr val="bg1"/>
              </a:buClr>
              <a:buFont typeface="Arial" panose="020B0604020202020204" pitchFamily="34" charset="0"/>
              <a:buChar char="•"/>
            </a:pPr>
            <a:r>
              <a:rPr lang="en-US" sz="1867" b="1" dirty="0">
                <a:solidFill>
                  <a:schemeClr val="bg2">
                    <a:lumMod val="50000"/>
                    <a:lumOff val="50000"/>
                  </a:schemeClr>
                </a:solidFill>
              </a:rPr>
              <a:t>Step 1 : </a:t>
            </a:r>
            <a:r>
              <a:rPr lang="en-US" sz="1867" dirty="0">
                <a:solidFill>
                  <a:schemeClr val="bg2">
                    <a:lumMod val="50000"/>
                    <a:lumOff val="50000"/>
                  </a:schemeClr>
                </a:solidFill>
              </a:rPr>
              <a:t>Find </a:t>
            </a:r>
            <a:r>
              <a:rPr lang="en-US" sz="1867" b="1" dirty="0">
                <a:solidFill>
                  <a:schemeClr val="bg2">
                    <a:lumMod val="50000"/>
                    <a:lumOff val="50000"/>
                  </a:schemeClr>
                </a:solidFill>
              </a:rPr>
              <a:t>mean </a:t>
            </a:r>
            <a:endParaRPr lang="en-US" sz="1867" dirty="0">
              <a:solidFill>
                <a:schemeClr val="bg2">
                  <a:lumMod val="50000"/>
                  <a:lumOff val="50000"/>
                </a:schemeClr>
              </a:solidFill>
            </a:endParaRPr>
          </a:p>
          <a:p>
            <a:pPr marL="380990" indent="-380990">
              <a:buClr>
                <a:schemeClr val="bg1"/>
              </a:buClr>
              <a:buFont typeface="Arial" panose="020B0604020202020204" pitchFamily="34" charset="0"/>
              <a:buChar char="•"/>
            </a:pPr>
            <a:endParaRPr lang="en-US" sz="1867" dirty="0">
              <a:solidFill>
                <a:schemeClr val="bg2">
                  <a:lumMod val="50000"/>
                  <a:lumOff val="50000"/>
                </a:schemeClr>
              </a:solidFill>
            </a:endParaRPr>
          </a:p>
          <a:p>
            <a:pPr marL="380990" indent="-380990">
              <a:buClr>
                <a:schemeClr val="bg1"/>
              </a:buClr>
              <a:buFont typeface="Arial" panose="020B0604020202020204" pitchFamily="34" charset="0"/>
              <a:buChar char="•"/>
            </a:pPr>
            <a:endParaRPr lang="en-US" sz="1867" dirty="0">
              <a:solidFill>
                <a:schemeClr val="bg2">
                  <a:lumMod val="50000"/>
                  <a:lumOff val="50000"/>
                </a:schemeClr>
              </a:solidFill>
            </a:endParaRPr>
          </a:p>
          <a:p>
            <a:pPr marL="380990" indent="-380990">
              <a:buClr>
                <a:schemeClr val="bg1"/>
              </a:buClr>
              <a:buFont typeface="Arial" panose="020B0604020202020204" pitchFamily="34" charset="0"/>
              <a:buChar char="•"/>
            </a:pPr>
            <a:endParaRPr lang="en-US" sz="1867" dirty="0">
              <a:solidFill>
                <a:schemeClr val="bg2">
                  <a:lumMod val="50000"/>
                  <a:lumOff val="50000"/>
                </a:schemeClr>
              </a:solidFill>
            </a:endParaRPr>
          </a:p>
          <a:p>
            <a:pPr marL="380990" indent="-380990">
              <a:buClr>
                <a:schemeClr val="bg1"/>
              </a:buClr>
              <a:buFont typeface="Arial" panose="020B0604020202020204" pitchFamily="34" charset="0"/>
              <a:buChar char="•"/>
            </a:pPr>
            <a:endParaRPr lang="en-US" sz="1867" dirty="0">
              <a:solidFill>
                <a:schemeClr val="bg2">
                  <a:lumMod val="50000"/>
                  <a:lumOff val="50000"/>
                </a:schemeClr>
              </a:solidFill>
            </a:endParaRPr>
          </a:p>
          <a:p>
            <a:pPr marL="380990" indent="-380990">
              <a:buClr>
                <a:schemeClr val="bg1"/>
              </a:buClr>
              <a:buFont typeface="Arial" panose="020B0604020202020204" pitchFamily="34" charset="0"/>
              <a:buChar char="•"/>
            </a:pPr>
            <a:endParaRPr lang="en-US" sz="1867" dirty="0">
              <a:solidFill>
                <a:schemeClr val="bg2">
                  <a:lumMod val="50000"/>
                  <a:lumOff val="50000"/>
                </a:schemeClr>
              </a:solidFill>
            </a:endParaRPr>
          </a:p>
          <a:p>
            <a:pPr marL="380990" indent="-380990">
              <a:buClr>
                <a:schemeClr val="bg1"/>
              </a:buClr>
              <a:buFont typeface="Arial" panose="020B0604020202020204" pitchFamily="34" charset="0"/>
              <a:buChar char="•"/>
            </a:pPr>
            <a:endParaRPr lang="en-US" sz="1867" dirty="0">
              <a:solidFill>
                <a:schemeClr val="bg2">
                  <a:lumMod val="50000"/>
                  <a:lumOff val="50000"/>
                </a:schemeClr>
              </a:solidFill>
            </a:endParaRPr>
          </a:p>
          <a:p>
            <a:pPr marL="380990" indent="-380990">
              <a:buClr>
                <a:schemeClr val="bg1"/>
              </a:buClr>
              <a:buFont typeface="Arial" panose="020B0604020202020204" pitchFamily="34" charset="0"/>
              <a:buChar char="•"/>
            </a:pPr>
            <a:r>
              <a:rPr lang="en-US" sz="1867" b="1" dirty="0">
                <a:solidFill>
                  <a:schemeClr val="bg2">
                    <a:lumMod val="50000"/>
                    <a:lumOff val="50000"/>
                  </a:schemeClr>
                </a:solidFill>
              </a:rPr>
              <a:t>Step 2 : </a:t>
            </a:r>
            <a:r>
              <a:rPr lang="en-US" sz="1867" dirty="0">
                <a:solidFill>
                  <a:schemeClr val="bg2">
                    <a:lumMod val="50000"/>
                    <a:lumOff val="50000"/>
                  </a:schemeClr>
                </a:solidFill>
              </a:rPr>
              <a:t>Find the </a:t>
            </a:r>
            <a:r>
              <a:rPr lang="en-US" sz="1867" b="1" dirty="0">
                <a:solidFill>
                  <a:schemeClr val="bg2">
                    <a:lumMod val="50000"/>
                    <a:lumOff val="50000"/>
                  </a:schemeClr>
                </a:solidFill>
              </a:rPr>
              <a:t>absolute Deviations</a:t>
            </a:r>
            <a:endParaRPr lang="en-US" sz="1867" dirty="0">
              <a:solidFill>
                <a:schemeClr val="bg2">
                  <a:lumMod val="50000"/>
                  <a:lumOff val="50000"/>
                </a:schemeClr>
              </a:solidFill>
            </a:endParaRPr>
          </a:p>
          <a:p>
            <a:pPr marL="380990" indent="-380990">
              <a:buClr>
                <a:schemeClr val="bg1"/>
              </a:buClr>
              <a:buFont typeface="Arial" panose="020B0604020202020204" pitchFamily="34" charset="0"/>
              <a:buChar char="•"/>
            </a:pPr>
            <a:endParaRPr lang="en-US" sz="1867" dirty="0">
              <a:solidFill>
                <a:schemeClr val="bg2"/>
              </a:solidFill>
            </a:endParaRPr>
          </a:p>
        </p:txBody>
      </p:sp>
      <p:pic>
        <p:nvPicPr>
          <p:cNvPr id="5" name="Picture 4">
            <a:extLst>
              <a:ext uri="{FF2B5EF4-FFF2-40B4-BE49-F238E27FC236}">
                <a16:creationId xmlns:a16="http://schemas.microsoft.com/office/drawing/2014/main" id="{959516F1-D246-4E8C-A73E-475C71B1491B}"/>
              </a:ext>
            </a:extLst>
          </p:cNvPr>
          <p:cNvPicPr>
            <a:picLocks noChangeAspect="1"/>
          </p:cNvPicPr>
          <p:nvPr/>
        </p:nvPicPr>
        <p:blipFill>
          <a:blip r:embed="rId2"/>
          <a:stretch>
            <a:fillRect/>
          </a:stretch>
        </p:blipFill>
        <p:spPr>
          <a:xfrm>
            <a:off x="7888738" y="3750188"/>
            <a:ext cx="2974223" cy="2558707"/>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4BFDB57A-C5C6-47DC-A704-6A378543905C}"/>
                  </a:ext>
                </a:extLst>
              </p14:cNvPr>
              <p14:cNvContentPartPr/>
              <p14:nvPr/>
            </p14:nvContentPartPr>
            <p14:xfrm>
              <a:off x="2597280" y="1225440"/>
              <a:ext cx="8407680" cy="5093280"/>
            </p14:xfrm>
          </p:contentPart>
        </mc:Choice>
        <mc:Fallback>
          <p:pic>
            <p:nvPicPr>
              <p:cNvPr id="4" name="Ink 3">
                <a:extLst>
                  <a:ext uri="{FF2B5EF4-FFF2-40B4-BE49-F238E27FC236}">
                    <a16:creationId xmlns:a16="http://schemas.microsoft.com/office/drawing/2014/main" id="{4BFDB57A-C5C6-47DC-A704-6A378543905C}"/>
                  </a:ext>
                </a:extLst>
              </p:cNvPr>
              <p:cNvPicPr/>
              <p:nvPr/>
            </p:nvPicPr>
            <p:blipFill>
              <a:blip r:embed="rId4"/>
              <a:stretch>
                <a:fillRect/>
              </a:stretch>
            </p:blipFill>
            <p:spPr>
              <a:xfrm>
                <a:off x="2587920" y="1216080"/>
                <a:ext cx="8426401" cy="5112000"/>
              </a:xfrm>
              <a:prstGeom prst="rect">
                <a:avLst/>
              </a:prstGeom>
            </p:spPr>
          </p:pic>
        </mc:Fallback>
      </mc:AlternateContent>
    </p:spTree>
    <p:extLst>
      <p:ext uri="{BB962C8B-B14F-4D97-AF65-F5344CB8AC3E}">
        <p14:creationId xmlns:p14="http://schemas.microsoft.com/office/powerpoint/2010/main" val="4012045956"/>
      </p:ext>
    </p:extLst>
  </p:cSld>
  <p:clrMapOvr>
    <a:masterClrMapping/>
  </p:clrMapOvr>
  <p:transition spd="med">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0F8C7-2815-423B-9CFE-F3DB4C4B33CF}"/>
              </a:ext>
            </a:extLst>
          </p:cNvPr>
          <p:cNvSpPr>
            <a:spLocks noGrp="1"/>
          </p:cNvSpPr>
          <p:nvPr>
            <p:ph type="title"/>
          </p:nvPr>
        </p:nvSpPr>
        <p:spPr>
          <a:xfrm>
            <a:off x="0" y="0"/>
            <a:ext cx="10972800" cy="850392"/>
          </a:xfrm>
        </p:spPr>
        <p:txBody>
          <a:bodyPr/>
          <a:lstStyle/>
          <a:p>
            <a:r>
              <a:rPr lang="en-US" dirty="0"/>
              <a:t>Mean Deviation – Ex continued</a:t>
            </a:r>
          </a:p>
        </p:txBody>
      </p:sp>
      <p:pic>
        <p:nvPicPr>
          <p:cNvPr id="4" name="Picture 3">
            <a:extLst>
              <a:ext uri="{FF2B5EF4-FFF2-40B4-BE49-F238E27FC236}">
                <a16:creationId xmlns:a16="http://schemas.microsoft.com/office/drawing/2014/main" id="{2684BAC9-2977-493F-A4C0-32B4E221651D}"/>
              </a:ext>
            </a:extLst>
          </p:cNvPr>
          <p:cNvPicPr>
            <a:picLocks noChangeAspect="1"/>
          </p:cNvPicPr>
          <p:nvPr/>
        </p:nvPicPr>
        <p:blipFill>
          <a:blip r:embed="rId2"/>
          <a:stretch>
            <a:fillRect/>
          </a:stretch>
        </p:blipFill>
        <p:spPr>
          <a:xfrm>
            <a:off x="1867822" y="614885"/>
            <a:ext cx="6331532" cy="2085111"/>
          </a:xfrm>
          <a:prstGeom prst="rect">
            <a:avLst/>
          </a:prstGeom>
        </p:spPr>
      </p:pic>
      <p:sp>
        <p:nvSpPr>
          <p:cNvPr id="5" name="TextBox 4">
            <a:extLst>
              <a:ext uri="{FF2B5EF4-FFF2-40B4-BE49-F238E27FC236}">
                <a16:creationId xmlns:a16="http://schemas.microsoft.com/office/drawing/2014/main" id="{4CE2C01F-5298-4DEC-97A3-7B7C756EFFAE}"/>
              </a:ext>
            </a:extLst>
          </p:cNvPr>
          <p:cNvSpPr txBox="1"/>
          <p:nvPr/>
        </p:nvSpPr>
        <p:spPr>
          <a:xfrm>
            <a:off x="586334" y="3099188"/>
            <a:ext cx="7613020" cy="954300"/>
          </a:xfrm>
          <a:prstGeom prst="rect">
            <a:avLst/>
          </a:prstGeom>
          <a:noFill/>
        </p:spPr>
        <p:txBody>
          <a:bodyPr wrap="square" rtlCol="0">
            <a:spAutoFit/>
          </a:bodyPr>
          <a:lstStyle/>
          <a:p>
            <a:pPr>
              <a:buClr>
                <a:schemeClr val="bg1"/>
              </a:buClr>
            </a:pPr>
            <a:r>
              <a:rPr lang="en-US" sz="1867" b="1" dirty="0">
                <a:solidFill>
                  <a:schemeClr val="bg2">
                    <a:lumMod val="50000"/>
                    <a:lumOff val="50000"/>
                  </a:schemeClr>
                </a:solidFill>
              </a:rPr>
              <a:t>Step 3 : </a:t>
            </a:r>
            <a:r>
              <a:rPr lang="en-US" sz="1867" dirty="0">
                <a:solidFill>
                  <a:schemeClr val="bg2">
                    <a:lumMod val="50000"/>
                    <a:lumOff val="50000"/>
                  </a:schemeClr>
                </a:solidFill>
              </a:rPr>
              <a:t>find the Mean Deviation </a:t>
            </a:r>
          </a:p>
          <a:p>
            <a:pPr>
              <a:buClr>
                <a:schemeClr val="bg1"/>
              </a:buClr>
            </a:pPr>
            <a:endParaRPr lang="en-US" sz="1867" dirty="0">
              <a:solidFill>
                <a:schemeClr val="bg2"/>
              </a:solidFill>
            </a:endParaRPr>
          </a:p>
          <a:p>
            <a:pPr>
              <a:buClr>
                <a:schemeClr val="bg1"/>
              </a:buClr>
            </a:pPr>
            <a:endParaRPr lang="en-US" sz="1867" dirty="0" err="1">
              <a:solidFill>
                <a:schemeClr val="bg2"/>
              </a:solidFill>
            </a:endParaRPr>
          </a:p>
        </p:txBody>
      </p:sp>
      <p:pic>
        <p:nvPicPr>
          <p:cNvPr id="7" name="Picture 6">
            <a:extLst>
              <a:ext uri="{FF2B5EF4-FFF2-40B4-BE49-F238E27FC236}">
                <a16:creationId xmlns:a16="http://schemas.microsoft.com/office/drawing/2014/main" id="{BED417EC-550A-4790-A918-98F4535E60BC}"/>
              </a:ext>
            </a:extLst>
          </p:cNvPr>
          <p:cNvPicPr>
            <a:picLocks noChangeAspect="1"/>
          </p:cNvPicPr>
          <p:nvPr/>
        </p:nvPicPr>
        <p:blipFill>
          <a:blip r:embed="rId3"/>
          <a:stretch>
            <a:fillRect/>
          </a:stretch>
        </p:blipFill>
        <p:spPr>
          <a:xfrm>
            <a:off x="1528994" y="3586505"/>
            <a:ext cx="8166100" cy="1143000"/>
          </a:xfrm>
          <a:prstGeom prst="rect">
            <a:avLst/>
          </a:prstGeom>
        </p:spPr>
      </p:pic>
      <p:sp>
        <p:nvSpPr>
          <p:cNvPr id="8" name="TextBox 7">
            <a:extLst>
              <a:ext uri="{FF2B5EF4-FFF2-40B4-BE49-F238E27FC236}">
                <a16:creationId xmlns:a16="http://schemas.microsoft.com/office/drawing/2014/main" id="{3C987945-4DA9-48F4-89A9-BA2AEE0435B6}"/>
              </a:ext>
            </a:extLst>
          </p:cNvPr>
          <p:cNvSpPr txBox="1"/>
          <p:nvPr/>
        </p:nvSpPr>
        <p:spPr>
          <a:xfrm>
            <a:off x="465344" y="5035018"/>
            <a:ext cx="8943901" cy="318100"/>
          </a:xfrm>
          <a:prstGeom prst="rect">
            <a:avLst/>
          </a:prstGeom>
          <a:noFill/>
        </p:spPr>
        <p:txBody>
          <a:bodyPr wrap="square" rtlCol="0">
            <a:spAutoFit/>
          </a:bodyPr>
          <a:lstStyle/>
          <a:p>
            <a:pPr>
              <a:buClr>
                <a:schemeClr val="bg1"/>
              </a:buClr>
            </a:pPr>
            <a:r>
              <a:rPr lang="en-US" sz="1467" dirty="0">
                <a:solidFill>
                  <a:schemeClr val="bg2">
                    <a:lumMod val="50000"/>
                    <a:lumOff val="50000"/>
                  </a:schemeClr>
                </a:solidFill>
                <a:latin typeface="Verdana" panose="020B0604030504040204" pitchFamily="34" charset="0"/>
              </a:rPr>
              <a:t>So, on average, the dogs' heights are </a:t>
            </a:r>
            <a:r>
              <a:rPr lang="en-US" sz="1467" b="1" dirty="0">
                <a:solidFill>
                  <a:schemeClr val="bg2">
                    <a:lumMod val="50000"/>
                    <a:lumOff val="50000"/>
                  </a:schemeClr>
                </a:solidFill>
                <a:latin typeface="Verdana" panose="020B0604030504040204" pitchFamily="34" charset="0"/>
              </a:rPr>
              <a:t>127.2 mm from the mean</a:t>
            </a:r>
            <a:endParaRPr lang="en-US" sz="1867" dirty="0">
              <a:solidFill>
                <a:schemeClr val="bg2">
                  <a:lumMod val="50000"/>
                  <a:lumOff val="50000"/>
                </a:schemeClr>
              </a:solidFill>
            </a:endParaRP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06D545C6-F2FC-4ADD-A318-4656ED0C1B04}"/>
                  </a:ext>
                </a:extLst>
              </p14:cNvPr>
              <p14:cNvContentPartPr/>
              <p14:nvPr/>
            </p14:nvContentPartPr>
            <p14:xfrm>
              <a:off x="2717760" y="412800"/>
              <a:ext cx="8369760" cy="4991520"/>
            </p14:xfrm>
          </p:contentPart>
        </mc:Choice>
        <mc:Fallback>
          <p:pic>
            <p:nvPicPr>
              <p:cNvPr id="3" name="Ink 2">
                <a:extLst>
                  <a:ext uri="{FF2B5EF4-FFF2-40B4-BE49-F238E27FC236}">
                    <a16:creationId xmlns:a16="http://schemas.microsoft.com/office/drawing/2014/main" id="{06D545C6-F2FC-4ADD-A318-4656ED0C1B04}"/>
                  </a:ext>
                </a:extLst>
              </p:cNvPr>
              <p:cNvPicPr/>
              <p:nvPr/>
            </p:nvPicPr>
            <p:blipFill>
              <a:blip r:embed="rId5"/>
              <a:stretch>
                <a:fillRect/>
              </a:stretch>
            </p:blipFill>
            <p:spPr>
              <a:xfrm>
                <a:off x="2708400" y="403440"/>
                <a:ext cx="8388480" cy="5010240"/>
              </a:xfrm>
              <a:prstGeom prst="rect">
                <a:avLst/>
              </a:prstGeom>
            </p:spPr>
          </p:pic>
        </mc:Fallback>
      </mc:AlternateContent>
    </p:spTree>
    <p:extLst>
      <p:ext uri="{BB962C8B-B14F-4D97-AF65-F5344CB8AC3E}">
        <p14:creationId xmlns:p14="http://schemas.microsoft.com/office/powerpoint/2010/main" val="399566643"/>
      </p:ext>
    </p:extLst>
  </p:cSld>
  <p:clrMapOvr>
    <a:masterClrMapping/>
  </p:clrMapOvr>
  <p:transition spd="med">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9719-CCE8-4F09-B981-E32155DA1634}"/>
              </a:ext>
            </a:extLst>
          </p:cNvPr>
          <p:cNvSpPr>
            <a:spLocks noGrp="1"/>
          </p:cNvSpPr>
          <p:nvPr>
            <p:ph type="title"/>
          </p:nvPr>
        </p:nvSpPr>
        <p:spPr>
          <a:xfrm>
            <a:off x="0" y="0"/>
            <a:ext cx="10972800" cy="850392"/>
          </a:xfrm>
        </p:spPr>
        <p:txBody>
          <a:bodyPr/>
          <a:lstStyle/>
          <a:p>
            <a:r>
              <a:rPr lang="en-US" dirty="0"/>
              <a:t>Mean Deviation – A useful check</a:t>
            </a:r>
          </a:p>
        </p:txBody>
      </p:sp>
      <p:sp>
        <p:nvSpPr>
          <p:cNvPr id="3" name="TextBox 2">
            <a:extLst>
              <a:ext uri="{FF2B5EF4-FFF2-40B4-BE49-F238E27FC236}">
                <a16:creationId xmlns:a16="http://schemas.microsoft.com/office/drawing/2014/main" id="{41132D9F-766F-4798-993F-23A0FC08EC07}"/>
              </a:ext>
            </a:extLst>
          </p:cNvPr>
          <p:cNvSpPr txBox="1"/>
          <p:nvPr/>
        </p:nvSpPr>
        <p:spPr>
          <a:xfrm>
            <a:off x="260593" y="850393"/>
            <a:ext cx="10256172" cy="3190553"/>
          </a:xfrm>
          <a:prstGeom prst="rect">
            <a:avLst/>
          </a:prstGeom>
          <a:noFill/>
        </p:spPr>
        <p:txBody>
          <a:bodyPr wrap="square" rtlCol="0">
            <a:spAutoFit/>
          </a:bodyPr>
          <a:lstStyle/>
          <a:p>
            <a:pPr algn="l"/>
            <a:r>
              <a:rPr lang="en-US" sz="2133" dirty="0">
                <a:solidFill>
                  <a:schemeClr val="bg2">
                    <a:lumMod val="50000"/>
                    <a:lumOff val="50000"/>
                  </a:schemeClr>
                </a:solidFill>
                <a:latin typeface="Verdana" panose="020B0604030504040204" pitchFamily="34" charset="0"/>
              </a:rPr>
              <a:t>The deviations on </a:t>
            </a:r>
            <a:r>
              <a:rPr lang="en-US" sz="2133" b="1" dirty="0">
                <a:solidFill>
                  <a:schemeClr val="bg2">
                    <a:lumMod val="50000"/>
                    <a:lumOff val="50000"/>
                  </a:schemeClr>
                </a:solidFill>
                <a:latin typeface="Verdana" panose="020B0604030504040204" pitchFamily="34" charset="0"/>
              </a:rPr>
              <a:t>one side</a:t>
            </a:r>
            <a:r>
              <a:rPr lang="en-US" sz="2133" dirty="0">
                <a:solidFill>
                  <a:schemeClr val="bg2">
                    <a:lumMod val="50000"/>
                    <a:lumOff val="50000"/>
                  </a:schemeClr>
                </a:solidFill>
                <a:latin typeface="Verdana" panose="020B0604030504040204" pitchFamily="34" charset="0"/>
              </a:rPr>
              <a:t> of the mean should equal the deviations on the </a:t>
            </a:r>
            <a:r>
              <a:rPr lang="en-US" sz="2133" b="1" dirty="0">
                <a:solidFill>
                  <a:schemeClr val="bg2">
                    <a:lumMod val="50000"/>
                    <a:lumOff val="50000"/>
                  </a:schemeClr>
                </a:solidFill>
                <a:latin typeface="Verdana" panose="020B0604030504040204" pitchFamily="34" charset="0"/>
              </a:rPr>
              <a:t>other side</a:t>
            </a:r>
            <a:r>
              <a:rPr lang="en-US" sz="2133" dirty="0">
                <a:solidFill>
                  <a:schemeClr val="bg2">
                    <a:lumMod val="50000"/>
                    <a:lumOff val="50000"/>
                  </a:schemeClr>
                </a:solidFill>
                <a:latin typeface="Verdana" panose="020B0604030504040204" pitchFamily="34" charset="0"/>
              </a:rPr>
              <a:t>.</a:t>
            </a:r>
          </a:p>
          <a:p>
            <a:pPr algn="l"/>
            <a:r>
              <a:rPr lang="en-US" sz="2133" dirty="0">
                <a:solidFill>
                  <a:schemeClr val="bg2">
                    <a:lumMod val="50000"/>
                    <a:lumOff val="50000"/>
                  </a:schemeClr>
                </a:solidFill>
                <a:latin typeface="Verdana" panose="020B0604030504040204" pitchFamily="34" charset="0"/>
              </a:rPr>
              <a:t>From our first example:</a:t>
            </a:r>
          </a:p>
          <a:p>
            <a:pPr algn="l"/>
            <a:endParaRPr lang="en-US" sz="2133" dirty="0">
              <a:solidFill>
                <a:schemeClr val="bg2">
                  <a:lumMod val="50000"/>
                  <a:lumOff val="50000"/>
                </a:schemeClr>
              </a:solidFill>
              <a:latin typeface="Verdana" panose="020B0604030504040204" pitchFamily="34" charset="0"/>
            </a:endParaRPr>
          </a:p>
          <a:p>
            <a:r>
              <a:rPr lang="en-US" sz="1600" dirty="0">
                <a:solidFill>
                  <a:schemeClr val="bg2">
                    <a:lumMod val="50000"/>
                    <a:lumOff val="50000"/>
                  </a:schemeClr>
                </a:solidFill>
                <a:latin typeface="Verdana" panose="020B0604030504040204" pitchFamily="34" charset="0"/>
              </a:rPr>
              <a:t>Example: 3, 6, 6, 7, 8, 11, 15, 16</a:t>
            </a:r>
          </a:p>
          <a:p>
            <a:pPr algn="l"/>
            <a:endParaRPr lang="en-US" sz="2133" dirty="0">
              <a:solidFill>
                <a:schemeClr val="bg2">
                  <a:lumMod val="50000"/>
                  <a:lumOff val="50000"/>
                </a:schemeClr>
              </a:solidFill>
              <a:latin typeface="Verdana" panose="020B0604030504040204" pitchFamily="34" charset="0"/>
            </a:endParaRPr>
          </a:p>
          <a:p>
            <a:pPr algn="l"/>
            <a:r>
              <a:rPr lang="en-US" sz="1600" dirty="0">
                <a:solidFill>
                  <a:schemeClr val="bg2">
                    <a:lumMod val="50000"/>
                    <a:lumOff val="50000"/>
                  </a:schemeClr>
                </a:solidFill>
                <a:latin typeface="Verdana" panose="020B0604030504040204" pitchFamily="34" charset="0"/>
              </a:rPr>
              <a:t>The deviations are:</a:t>
            </a:r>
            <a:endParaRPr lang="en-US" sz="2133" dirty="0">
              <a:solidFill>
                <a:schemeClr val="bg2">
                  <a:lumMod val="50000"/>
                  <a:lumOff val="50000"/>
                </a:schemeClr>
              </a:solidFill>
              <a:latin typeface="Verdana" panose="020B0604030504040204" pitchFamily="34" charset="0"/>
            </a:endParaRPr>
          </a:p>
          <a:p>
            <a:pPr algn="l"/>
            <a:endParaRPr lang="en-US" sz="1467" dirty="0">
              <a:solidFill>
                <a:srgbClr val="333333"/>
              </a:solidFill>
              <a:latin typeface="Verdana" panose="020B0604030504040204" pitchFamily="34" charset="0"/>
            </a:endParaRPr>
          </a:p>
          <a:p>
            <a:pPr algn="l"/>
            <a:endParaRPr lang="en-US" sz="1467" dirty="0">
              <a:solidFill>
                <a:srgbClr val="333333"/>
              </a:solidFill>
              <a:latin typeface="Verdana" panose="020B0604030504040204" pitchFamily="34" charset="0"/>
            </a:endParaRPr>
          </a:p>
          <a:p>
            <a:pPr algn="l"/>
            <a:endParaRPr lang="en-US" sz="1467" dirty="0">
              <a:solidFill>
                <a:srgbClr val="333333"/>
              </a:solidFill>
              <a:latin typeface="Verdana" panose="020B0604030504040204" pitchFamily="34" charset="0"/>
            </a:endParaRPr>
          </a:p>
          <a:p>
            <a:pPr>
              <a:buClr>
                <a:schemeClr val="bg1"/>
              </a:buClr>
            </a:pPr>
            <a:endParaRPr lang="en-US" sz="1867" dirty="0" err="1">
              <a:solidFill>
                <a:schemeClr val="bg2"/>
              </a:solidFill>
            </a:endParaRPr>
          </a:p>
        </p:txBody>
      </p:sp>
      <p:pic>
        <p:nvPicPr>
          <p:cNvPr id="5" name="Picture 4">
            <a:extLst>
              <a:ext uri="{FF2B5EF4-FFF2-40B4-BE49-F238E27FC236}">
                <a16:creationId xmlns:a16="http://schemas.microsoft.com/office/drawing/2014/main" id="{369B5A84-C0D5-47C8-A231-D0A8C134B5C9}"/>
              </a:ext>
            </a:extLst>
          </p:cNvPr>
          <p:cNvPicPr>
            <a:picLocks noChangeAspect="1"/>
          </p:cNvPicPr>
          <p:nvPr/>
        </p:nvPicPr>
        <p:blipFill>
          <a:blip r:embed="rId2"/>
          <a:stretch>
            <a:fillRect/>
          </a:stretch>
        </p:blipFill>
        <p:spPr>
          <a:xfrm>
            <a:off x="922010" y="3264398"/>
            <a:ext cx="9128780" cy="2614247"/>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EF3590D0-8C13-439F-839D-2261BD232F06}"/>
                  </a:ext>
                </a:extLst>
              </p14:cNvPr>
              <p14:cNvContentPartPr/>
              <p14:nvPr/>
            </p14:nvContentPartPr>
            <p14:xfrm>
              <a:off x="1365120" y="615840"/>
              <a:ext cx="7995360" cy="5099520"/>
            </p14:xfrm>
          </p:contentPart>
        </mc:Choice>
        <mc:Fallback>
          <p:pic>
            <p:nvPicPr>
              <p:cNvPr id="4" name="Ink 3">
                <a:extLst>
                  <a:ext uri="{FF2B5EF4-FFF2-40B4-BE49-F238E27FC236}">
                    <a16:creationId xmlns:a16="http://schemas.microsoft.com/office/drawing/2014/main" id="{EF3590D0-8C13-439F-839D-2261BD232F06}"/>
                  </a:ext>
                </a:extLst>
              </p:cNvPr>
              <p:cNvPicPr/>
              <p:nvPr/>
            </p:nvPicPr>
            <p:blipFill>
              <a:blip r:embed="rId4"/>
              <a:stretch>
                <a:fillRect/>
              </a:stretch>
            </p:blipFill>
            <p:spPr>
              <a:xfrm>
                <a:off x="1355760" y="606480"/>
                <a:ext cx="8014080" cy="5118240"/>
              </a:xfrm>
              <a:prstGeom prst="rect">
                <a:avLst/>
              </a:prstGeom>
            </p:spPr>
          </p:pic>
        </mc:Fallback>
      </mc:AlternateContent>
    </p:spTree>
    <p:extLst>
      <p:ext uri="{BB962C8B-B14F-4D97-AF65-F5344CB8AC3E}">
        <p14:creationId xmlns:p14="http://schemas.microsoft.com/office/powerpoint/2010/main" val="2909785245"/>
      </p:ext>
    </p:extLst>
  </p:cSld>
  <p:clrMapOvr>
    <a:masterClrMapping/>
  </p:clrMapOvr>
  <p:transition spd="med">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166426-5C59-4886-8DCD-BEF36302222C}"/>
              </a:ext>
            </a:extLst>
          </p:cNvPr>
          <p:cNvSpPr>
            <a:spLocks noGrp="1"/>
          </p:cNvSpPr>
          <p:nvPr>
            <p:ph type="title"/>
          </p:nvPr>
        </p:nvSpPr>
        <p:spPr>
          <a:xfrm>
            <a:off x="0" y="0"/>
            <a:ext cx="10972800" cy="850392"/>
          </a:xfrm>
        </p:spPr>
        <p:txBody>
          <a:bodyPr/>
          <a:lstStyle/>
          <a:p>
            <a:r>
              <a:rPr lang="en-US" dirty="0"/>
              <a:t>Mean Deviation – A useful check</a:t>
            </a:r>
          </a:p>
        </p:txBody>
      </p:sp>
      <p:sp>
        <p:nvSpPr>
          <p:cNvPr id="4" name="TextBox 3">
            <a:extLst>
              <a:ext uri="{FF2B5EF4-FFF2-40B4-BE49-F238E27FC236}">
                <a16:creationId xmlns:a16="http://schemas.microsoft.com/office/drawing/2014/main" id="{013FE25D-0A7C-4193-959C-38B6A985FB32}"/>
              </a:ext>
            </a:extLst>
          </p:cNvPr>
          <p:cNvSpPr txBox="1"/>
          <p:nvPr/>
        </p:nvSpPr>
        <p:spPr>
          <a:xfrm>
            <a:off x="293167" y="967917"/>
            <a:ext cx="10386467" cy="2431820"/>
          </a:xfrm>
          <a:prstGeom prst="rect">
            <a:avLst/>
          </a:prstGeom>
          <a:noFill/>
        </p:spPr>
        <p:txBody>
          <a:bodyPr wrap="square" rtlCol="0">
            <a:spAutoFit/>
          </a:bodyPr>
          <a:lstStyle/>
          <a:p>
            <a:pPr algn="l"/>
            <a:r>
              <a:rPr lang="en-US" sz="2667" dirty="0">
                <a:solidFill>
                  <a:schemeClr val="bg2">
                    <a:lumMod val="50000"/>
                    <a:lumOff val="50000"/>
                  </a:schemeClr>
                </a:solidFill>
                <a:latin typeface="Verdana" panose="020B0604030504040204" pitchFamily="34" charset="0"/>
              </a:rPr>
              <a:t>Example: Dogs</a:t>
            </a:r>
          </a:p>
          <a:p>
            <a:pPr algn="l"/>
            <a:endParaRPr lang="en-US" sz="2667" dirty="0">
              <a:solidFill>
                <a:schemeClr val="bg2">
                  <a:lumMod val="50000"/>
                  <a:lumOff val="50000"/>
                </a:schemeClr>
              </a:solidFill>
              <a:latin typeface="Verdana" panose="020B0604030504040204" pitchFamily="34" charset="0"/>
            </a:endParaRPr>
          </a:p>
          <a:p>
            <a:pPr algn="l"/>
            <a:r>
              <a:rPr lang="en-US" sz="2667" dirty="0">
                <a:solidFill>
                  <a:schemeClr val="bg2">
                    <a:lumMod val="50000"/>
                    <a:lumOff val="50000"/>
                  </a:schemeClr>
                </a:solidFill>
                <a:latin typeface="Verdana" panose="020B0604030504040204" pitchFamily="34" charset="0"/>
              </a:rPr>
              <a:t>Deviations left of mean: 224 + 94 = </a:t>
            </a:r>
            <a:r>
              <a:rPr lang="en-US" sz="2667" b="1" dirty="0">
                <a:solidFill>
                  <a:schemeClr val="bg2">
                    <a:lumMod val="50000"/>
                    <a:lumOff val="50000"/>
                  </a:schemeClr>
                </a:solidFill>
                <a:latin typeface="Verdana" panose="020B0604030504040204" pitchFamily="34" charset="0"/>
              </a:rPr>
              <a:t>318</a:t>
            </a:r>
          </a:p>
          <a:p>
            <a:pPr algn="l"/>
            <a:endParaRPr lang="en-US" sz="2667" dirty="0">
              <a:solidFill>
                <a:schemeClr val="bg2">
                  <a:lumMod val="50000"/>
                  <a:lumOff val="50000"/>
                </a:schemeClr>
              </a:solidFill>
              <a:latin typeface="Verdana" panose="020B0604030504040204" pitchFamily="34" charset="0"/>
            </a:endParaRPr>
          </a:p>
          <a:p>
            <a:pPr algn="l"/>
            <a:r>
              <a:rPr lang="en-US" sz="2667" dirty="0">
                <a:solidFill>
                  <a:schemeClr val="bg2">
                    <a:lumMod val="50000"/>
                    <a:lumOff val="50000"/>
                  </a:schemeClr>
                </a:solidFill>
                <a:latin typeface="Verdana" panose="020B0604030504040204" pitchFamily="34" charset="0"/>
              </a:rPr>
              <a:t>Deviations right of mean: 206 + 76 + 36 = </a:t>
            </a:r>
            <a:r>
              <a:rPr lang="en-US" sz="2667" b="1" dirty="0">
                <a:solidFill>
                  <a:schemeClr val="bg2">
                    <a:lumMod val="50000"/>
                    <a:lumOff val="50000"/>
                  </a:schemeClr>
                </a:solidFill>
                <a:latin typeface="Verdana" panose="020B0604030504040204" pitchFamily="34" charset="0"/>
              </a:rPr>
              <a:t>318</a:t>
            </a:r>
            <a:endParaRPr lang="en-US" sz="2667" dirty="0">
              <a:solidFill>
                <a:schemeClr val="bg2">
                  <a:lumMod val="50000"/>
                  <a:lumOff val="50000"/>
                </a:schemeClr>
              </a:solidFill>
              <a:latin typeface="Verdana" panose="020B0604030504040204" pitchFamily="34" charset="0"/>
            </a:endParaRPr>
          </a:p>
          <a:p>
            <a:pPr>
              <a:buClr>
                <a:schemeClr val="bg1"/>
              </a:buClr>
            </a:pPr>
            <a:endParaRPr lang="en-US" sz="1867" dirty="0" err="1">
              <a:solidFill>
                <a:schemeClr val="bg2"/>
              </a:solidFill>
            </a:endParaRPr>
          </a:p>
        </p:txBody>
      </p:sp>
      <p:pic>
        <p:nvPicPr>
          <p:cNvPr id="5" name="Picture 4">
            <a:extLst>
              <a:ext uri="{FF2B5EF4-FFF2-40B4-BE49-F238E27FC236}">
                <a16:creationId xmlns:a16="http://schemas.microsoft.com/office/drawing/2014/main" id="{56F994EE-7A03-4F69-85C5-BCFF19B3B248}"/>
              </a:ext>
            </a:extLst>
          </p:cNvPr>
          <p:cNvPicPr>
            <a:picLocks noChangeAspect="1"/>
          </p:cNvPicPr>
          <p:nvPr/>
        </p:nvPicPr>
        <p:blipFill>
          <a:blip r:embed="rId2"/>
          <a:stretch>
            <a:fillRect/>
          </a:stretch>
        </p:blipFill>
        <p:spPr>
          <a:xfrm>
            <a:off x="536939" y="3547653"/>
            <a:ext cx="6331532" cy="2085111"/>
          </a:xfrm>
          <a:prstGeom prst="rect">
            <a:avLst/>
          </a:prstGeom>
        </p:spPr>
      </p:pic>
      <p:sp>
        <p:nvSpPr>
          <p:cNvPr id="6" name="TextBox 5">
            <a:extLst>
              <a:ext uri="{FF2B5EF4-FFF2-40B4-BE49-F238E27FC236}">
                <a16:creationId xmlns:a16="http://schemas.microsoft.com/office/drawing/2014/main" id="{E9DACB1E-93D8-4B68-B0FE-167B63C7A201}"/>
              </a:ext>
            </a:extLst>
          </p:cNvPr>
          <p:cNvSpPr txBox="1"/>
          <p:nvPr/>
        </p:nvSpPr>
        <p:spPr>
          <a:xfrm>
            <a:off x="7575793" y="3983340"/>
            <a:ext cx="4188092" cy="1200329"/>
          </a:xfrm>
          <a:prstGeom prst="rect">
            <a:avLst/>
          </a:prstGeom>
          <a:noFill/>
        </p:spPr>
        <p:txBody>
          <a:bodyPr wrap="square" rtlCol="0">
            <a:spAutoFit/>
          </a:bodyPr>
          <a:lstStyle/>
          <a:p>
            <a:pPr>
              <a:buClr>
                <a:schemeClr val="bg1"/>
              </a:buClr>
            </a:pPr>
            <a:r>
              <a:rPr lang="en-US" sz="2400" dirty="0">
                <a:solidFill>
                  <a:schemeClr val="bg2">
                    <a:lumMod val="50000"/>
                    <a:lumOff val="50000"/>
                  </a:schemeClr>
                </a:solidFill>
                <a:latin typeface="Verdana" panose="020B0604030504040204" pitchFamily="34" charset="0"/>
              </a:rPr>
              <a:t>If they are not equal ... you may have made a mistake!</a:t>
            </a:r>
            <a:endParaRPr lang="en-US" sz="4267" dirty="0">
              <a:solidFill>
                <a:schemeClr val="bg2">
                  <a:lumMod val="50000"/>
                  <a:lumOff val="50000"/>
                </a:schemeClr>
              </a:solidFill>
            </a:endParaRPr>
          </a:p>
        </p:txBody>
      </p:sp>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84088658-E1BF-471B-A3BD-E3273BD7B6A7}"/>
                  </a:ext>
                </a:extLst>
              </p14:cNvPr>
              <p14:cNvContentPartPr/>
              <p14:nvPr/>
            </p14:nvContentPartPr>
            <p14:xfrm>
              <a:off x="4165440" y="298560"/>
              <a:ext cx="7258560" cy="5829600"/>
            </p14:xfrm>
          </p:contentPart>
        </mc:Choice>
        <mc:Fallback>
          <p:pic>
            <p:nvPicPr>
              <p:cNvPr id="2" name="Ink 1">
                <a:extLst>
                  <a:ext uri="{FF2B5EF4-FFF2-40B4-BE49-F238E27FC236}">
                    <a16:creationId xmlns:a16="http://schemas.microsoft.com/office/drawing/2014/main" id="{84088658-E1BF-471B-A3BD-E3273BD7B6A7}"/>
                  </a:ext>
                </a:extLst>
              </p:cNvPr>
              <p:cNvPicPr/>
              <p:nvPr/>
            </p:nvPicPr>
            <p:blipFill>
              <a:blip r:embed="rId4"/>
              <a:stretch>
                <a:fillRect/>
              </a:stretch>
            </p:blipFill>
            <p:spPr>
              <a:xfrm>
                <a:off x="4156080" y="289200"/>
                <a:ext cx="7277281" cy="5848320"/>
              </a:xfrm>
              <a:prstGeom prst="rect">
                <a:avLst/>
              </a:prstGeom>
            </p:spPr>
          </p:pic>
        </mc:Fallback>
      </mc:AlternateContent>
    </p:spTree>
    <p:extLst>
      <p:ext uri="{BB962C8B-B14F-4D97-AF65-F5344CB8AC3E}">
        <p14:creationId xmlns:p14="http://schemas.microsoft.com/office/powerpoint/2010/main" val="2913282969"/>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365760" y="1336944"/>
            <a:ext cx="10854985" cy="1008387"/>
          </a:xfrm>
          <a:prstGeom prst="rect">
            <a:avLst/>
          </a:prstGeom>
        </p:spPr>
      </p:pic>
    </p:spTree>
    <p:extLst>
      <p:ext uri="{BB962C8B-B14F-4D97-AF65-F5344CB8AC3E}">
        <p14:creationId xmlns:p14="http://schemas.microsoft.com/office/powerpoint/2010/main" val="347885641"/>
      </p:ext>
    </p:extLst>
  </p:cSld>
  <p:clrMapOvr>
    <a:masterClrMapping/>
  </p:clrMapOvr>
  <p:transition spd="med">
    <p:wipe dir="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5D55-9AAA-45E4-8915-A63077E621F6}"/>
              </a:ext>
            </a:extLst>
          </p:cNvPr>
          <p:cNvSpPr>
            <a:spLocks noGrp="1"/>
          </p:cNvSpPr>
          <p:nvPr>
            <p:ph type="title"/>
          </p:nvPr>
        </p:nvSpPr>
        <p:spPr>
          <a:xfrm>
            <a:off x="0" y="0"/>
            <a:ext cx="10972800" cy="850392"/>
          </a:xfrm>
        </p:spPr>
        <p:txBody>
          <a:bodyPr/>
          <a:lstStyle/>
          <a:p>
            <a:r>
              <a:rPr lang="en-US" dirty="0"/>
              <a:t>Standard Deviation</a:t>
            </a:r>
          </a:p>
        </p:txBody>
      </p:sp>
      <p:sp>
        <p:nvSpPr>
          <p:cNvPr id="3" name="TextBox 2">
            <a:extLst>
              <a:ext uri="{FF2B5EF4-FFF2-40B4-BE49-F238E27FC236}">
                <a16:creationId xmlns:a16="http://schemas.microsoft.com/office/drawing/2014/main" id="{8CB960C2-872D-4418-91E5-6829B760044F}"/>
              </a:ext>
            </a:extLst>
          </p:cNvPr>
          <p:cNvSpPr txBox="1"/>
          <p:nvPr/>
        </p:nvSpPr>
        <p:spPr>
          <a:xfrm>
            <a:off x="83761" y="763165"/>
            <a:ext cx="10172409" cy="2226315"/>
          </a:xfrm>
          <a:prstGeom prst="rect">
            <a:avLst/>
          </a:prstGeom>
          <a:noFill/>
        </p:spPr>
        <p:txBody>
          <a:bodyPr wrap="square" rtlCol="0">
            <a:spAutoFit/>
          </a:bodyPr>
          <a:lstStyle/>
          <a:p>
            <a:pPr marL="380990" indent="-380990">
              <a:buFont typeface="Arial" panose="020B0604020202020204" pitchFamily="34" charset="0"/>
              <a:buChar char="•"/>
            </a:pPr>
            <a:r>
              <a:rPr lang="en-US" sz="2400" dirty="0">
                <a:solidFill>
                  <a:schemeClr val="bg2">
                    <a:lumMod val="50000"/>
                    <a:lumOff val="50000"/>
                  </a:schemeClr>
                </a:solidFill>
                <a:latin typeface="Verdana" panose="020B0604030504040204" pitchFamily="34" charset="0"/>
              </a:rPr>
              <a:t>The Standard Deviation is a measure of how spread-out numbers are.</a:t>
            </a:r>
          </a:p>
          <a:p>
            <a:pPr marL="380990" indent="-380990">
              <a:buFont typeface="Arial" panose="020B0604020202020204" pitchFamily="34" charset="0"/>
              <a:buChar char="•"/>
            </a:pPr>
            <a:r>
              <a:rPr lang="en-US" sz="2400" dirty="0">
                <a:solidFill>
                  <a:schemeClr val="bg2">
                    <a:lumMod val="50000"/>
                    <a:lumOff val="50000"/>
                  </a:schemeClr>
                </a:solidFill>
                <a:latin typeface="Verdana" panose="020B0604030504040204" pitchFamily="34" charset="0"/>
              </a:rPr>
              <a:t>Its symbol is </a:t>
            </a:r>
            <a:r>
              <a:rPr lang="en-US" sz="2400" b="1" dirty="0">
                <a:solidFill>
                  <a:schemeClr val="bg2">
                    <a:lumMod val="50000"/>
                    <a:lumOff val="50000"/>
                  </a:schemeClr>
                </a:solidFill>
                <a:latin typeface="Verdana" panose="020B0604030504040204" pitchFamily="34" charset="0"/>
              </a:rPr>
              <a:t>σ</a:t>
            </a:r>
            <a:r>
              <a:rPr lang="en-US" sz="2400" dirty="0">
                <a:solidFill>
                  <a:schemeClr val="bg2">
                    <a:lumMod val="50000"/>
                    <a:lumOff val="50000"/>
                  </a:schemeClr>
                </a:solidFill>
                <a:latin typeface="Verdana" panose="020B0604030504040204" pitchFamily="34" charset="0"/>
              </a:rPr>
              <a:t> (the </a:t>
            </a:r>
            <a:r>
              <a:rPr lang="en-US" sz="2400" dirty="0" err="1">
                <a:solidFill>
                  <a:schemeClr val="bg2">
                    <a:lumMod val="50000"/>
                    <a:lumOff val="50000"/>
                  </a:schemeClr>
                </a:solidFill>
                <a:latin typeface="Verdana" panose="020B0604030504040204" pitchFamily="34" charset="0"/>
              </a:rPr>
              <a:t>greek</a:t>
            </a:r>
            <a:r>
              <a:rPr lang="en-US" sz="2400" dirty="0">
                <a:solidFill>
                  <a:schemeClr val="bg2">
                    <a:lumMod val="50000"/>
                    <a:lumOff val="50000"/>
                  </a:schemeClr>
                </a:solidFill>
                <a:latin typeface="Verdana" panose="020B0604030504040204" pitchFamily="34" charset="0"/>
              </a:rPr>
              <a:t> letter sigma)</a:t>
            </a:r>
          </a:p>
          <a:p>
            <a:pPr marL="380990" indent="-380990">
              <a:buFont typeface="Arial" panose="020B0604020202020204" pitchFamily="34" charset="0"/>
              <a:buChar char="•"/>
            </a:pPr>
            <a:r>
              <a:rPr lang="en-US" sz="2400" dirty="0">
                <a:solidFill>
                  <a:schemeClr val="bg2">
                    <a:lumMod val="50000"/>
                    <a:lumOff val="50000"/>
                  </a:schemeClr>
                </a:solidFill>
                <a:latin typeface="Verdana" panose="020B0604030504040204" pitchFamily="34" charset="0"/>
              </a:rPr>
              <a:t>The formula is easy: it is the</a:t>
            </a:r>
            <a:r>
              <a:rPr lang="en-US" sz="2400" b="1" dirty="0">
                <a:solidFill>
                  <a:schemeClr val="bg2">
                    <a:lumMod val="50000"/>
                    <a:lumOff val="50000"/>
                  </a:schemeClr>
                </a:solidFill>
                <a:latin typeface="Verdana" panose="020B0604030504040204" pitchFamily="34" charset="0"/>
              </a:rPr>
              <a:t> square root</a:t>
            </a:r>
            <a:r>
              <a:rPr lang="en-US" sz="2400" dirty="0">
                <a:solidFill>
                  <a:schemeClr val="bg2">
                    <a:lumMod val="50000"/>
                    <a:lumOff val="50000"/>
                  </a:schemeClr>
                </a:solidFill>
                <a:latin typeface="Verdana" panose="020B0604030504040204" pitchFamily="34" charset="0"/>
              </a:rPr>
              <a:t> of the </a:t>
            </a:r>
            <a:r>
              <a:rPr lang="en-US" sz="2400" b="1" dirty="0">
                <a:solidFill>
                  <a:schemeClr val="bg2">
                    <a:lumMod val="50000"/>
                    <a:lumOff val="50000"/>
                  </a:schemeClr>
                </a:solidFill>
                <a:latin typeface="Verdana" panose="020B0604030504040204" pitchFamily="34" charset="0"/>
              </a:rPr>
              <a:t>Variance.</a:t>
            </a:r>
            <a:r>
              <a:rPr lang="en-US" sz="2400" dirty="0">
                <a:solidFill>
                  <a:schemeClr val="bg2">
                    <a:lumMod val="50000"/>
                    <a:lumOff val="50000"/>
                  </a:schemeClr>
                </a:solidFill>
                <a:latin typeface="Verdana" panose="020B0604030504040204" pitchFamily="34" charset="0"/>
              </a:rPr>
              <a:t> So now you ask, "What is the Variance?"</a:t>
            </a:r>
          </a:p>
          <a:p>
            <a:pPr>
              <a:buClr>
                <a:schemeClr val="bg1"/>
              </a:buClr>
            </a:pPr>
            <a:endParaRPr lang="en-US" sz="1867" dirty="0" err="1">
              <a:solidFill>
                <a:schemeClr val="bg2"/>
              </a:solidFill>
            </a:endParaRPr>
          </a:p>
        </p:txBody>
      </p:sp>
      <p:sp>
        <p:nvSpPr>
          <p:cNvPr id="4" name="Title 1">
            <a:extLst>
              <a:ext uri="{FF2B5EF4-FFF2-40B4-BE49-F238E27FC236}">
                <a16:creationId xmlns:a16="http://schemas.microsoft.com/office/drawing/2014/main" id="{F1DDCECB-FE11-4385-B2D3-479150F5E6FA}"/>
              </a:ext>
            </a:extLst>
          </p:cNvPr>
          <p:cNvSpPr txBox="1">
            <a:spLocks/>
          </p:cNvSpPr>
          <p:nvPr/>
        </p:nvSpPr>
        <p:spPr>
          <a:xfrm>
            <a:off x="83760" y="2808925"/>
            <a:ext cx="10972800" cy="850392"/>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sz="3733" kern="0" dirty="0"/>
              <a:t>Variance</a:t>
            </a:r>
          </a:p>
        </p:txBody>
      </p:sp>
      <p:sp>
        <p:nvSpPr>
          <p:cNvPr id="6" name="TextBox 5">
            <a:extLst>
              <a:ext uri="{FF2B5EF4-FFF2-40B4-BE49-F238E27FC236}">
                <a16:creationId xmlns:a16="http://schemas.microsoft.com/office/drawing/2014/main" id="{2F44518A-41CB-4383-A7A5-39A317FE295D}"/>
              </a:ext>
            </a:extLst>
          </p:cNvPr>
          <p:cNvSpPr txBox="1"/>
          <p:nvPr/>
        </p:nvSpPr>
        <p:spPr>
          <a:xfrm>
            <a:off x="83760" y="3419475"/>
            <a:ext cx="12108240" cy="1487651"/>
          </a:xfrm>
          <a:prstGeom prst="rect">
            <a:avLst/>
          </a:prstGeom>
          <a:noFill/>
        </p:spPr>
        <p:txBody>
          <a:bodyPr wrap="square" rtlCol="0">
            <a:spAutoFit/>
          </a:bodyPr>
          <a:lstStyle/>
          <a:p>
            <a:pPr>
              <a:buClr>
                <a:schemeClr val="bg1"/>
              </a:buClr>
            </a:pPr>
            <a:r>
              <a:rPr lang="en-US" sz="2400" dirty="0">
                <a:solidFill>
                  <a:schemeClr val="bg2">
                    <a:lumMod val="50000"/>
                    <a:lumOff val="50000"/>
                  </a:schemeClr>
                </a:solidFill>
                <a:latin typeface="Verdana" panose="020B0604030504040204" pitchFamily="34" charset="0"/>
              </a:rPr>
              <a:t>The Variance is defined as: The average of the squared differences from the Mean.</a:t>
            </a:r>
          </a:p>
          <a:p>
            <a:pPr>
              <a:buClr>
                <a:schemeClr val="bg1"/>
              </a:buClr>
            </a:pPr>
            <a:endParaRPr lang="en-US" sz="2400" dirty="0">
              <a:solidFill>
                <a:schemeClr val="bg2">
                  <a:lumMod val="50000"/>
                  <a:lumOff val="50000"/>
                </a:schemeClr>
              </a:solidFill>
              <a:latin typeface="Verdana" panose="020B0604030504040204" pitchFamily="34" charset="0"/>
            </a:endParaRPr>
          </a:p>
          <a:p>
            <a:pPr>
              <a:buClr>
                <a:schemeClr val="bg1"/>
              </a:buClr>
            </a:pPr>
            <a:endParaRPr lang="en-US" sz="1867" dirty="0" err="1">
              <a:solidFill>
                <a:schemeClr val="bg2"/>
              </a:solidFill>
            </a:endParaRPr>
          </a:p>
        </p:txBody>
      </p:sp>
      <p:sp>
        <p:nvSpPr>
          <p:cNvPr id="11" name="Rectangle 4">
            <a:extLst>
              <a:ext uri="{FF2B5EF4-FFF2-40B4-BE49-F238E27FC236}">
                <a16:creationId xmlns:a16="http://schemas.microsoft.com/office/drawing/2014/main" id="{AB2D2E9B-99A2-44F3-B1E4-1D521B26FC9C}"/>
              </a:ext>
            </a:extLst>
          </p:cNvPr>
          <p:cNvSpPr>
            <a:spLocks noChangeArrowheads="1"/>
          </p:cNvSpPr>
          <p:nvPr/>
        </p:nvSpPr>
        <p:spPr bwMode="auto">
          <a:xfrm>
            <a:off x="924725" y="4270323"/>
            <a:ext cx="10972800" cy="2133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marL="380990" indent="-380990" defTabSz="1219170" eaLnBrk="0" hangingPunct="0">
              <a:buFont typeface="Arial" panose="020B0604020202020204" pitchFamily="34" charset="0"/>
              <a:buChar char="•"/>
            </a:pPr>
            <a:r>
              <a:rPr lang="en-US" altLang="en-US" sz="2133" dirty="0">
                <a:solidFill>
                  <a:schemeClr val="accent1"/>
                </a:solidFill>
                <a:latin typeface="Verdana" panose="020B0604030504040204" pitchFamily="34" charset="0"/>
              </a:rPr>
              <a:t>To calculate the variance, follow these steps:</a:t>
            </a:r>
          </a:p>
          <a:p>
            <a:pPr marL="380990" indent="-380990" defTabSz="1219170" eaLnBrk="0" hangingPunct="0">
              <a:buFont typeface="Arial" panose="020B0604020202020204" pitchFamily="34" charset="0"/>
              <a:buChar char="•"/>
            </a:pPr>
            <a:r>
              <a:rPr lang="en-US" altLang="en-US" sz="2133" dirty="0">
                <a:solidFill>
                  <a:schemeClr val="accent1"/>
                </a:solidFill>
                <a:latin typeface="Verdana" panose="020B0604030504040204" pitchFamily="34" charset="0"/>
              </a:rPr>
              <a:t>Work out the </a:t>
            </a:r>
            <a:r>
              <a:rPr lang="en-US" altLang="en-US" sz="2133" dirty="0">
                <a:solidFill>
                  <a:schemeClr val="accent1"/>
                </a:solidFill>
                <a:latin typeface="Verdana" panose="020B0604030504040204" pitchFamily="34" charset="0"/>
                <a:hlinkClick r:id="rId2">
                  <a:extLst>
                    <a:ext uri="{A12FA001-AC4F-418D-AE19-62706E023703}">
                      <ahyp:hlinkClr xmlns:ahyp="http://schemas.microsoft.com/office/drawing/2018/hyperlinkcolor" val="tx"/>
                    </a:ext>
                  </a:extLst>
                </a:hlinkClick>
              </a:rPr>
              <a:t>Mean</a:t>
            </a:r>
            <a:r>
              <a:rPr lang="en-US" altLang="en-US" sz="2133" dirty="0">
                <a:solidFill>
                  <a:schemeClr val="accent1"/>
                </a:solidFill>
                <a:latin typeface="Verdana" panose="020B0604030504040204" pitchFamily="34" charset="0"/>
              </a:rPr>
              <a:t> (the simple average of the numbers)</a:t>
            </a:r>
          </a:p>
          <a:p>
            <a:pPr marL="380990" indent="-380990" defTabSz="1219170" eaLnBrk="0" hangingPunct="0">
              <a:buFont typeface="Arial" panose="020B0604020202020204" pitchFamily="34" charset="0"/>
              <a:buChar char="•"/>
            </a:pPr>
            <a:r>
              <a:rPr lang="en-US" altLang="en-US" sz="2133" dirty="0">
                <a:solidFill>
                  <a:schemeClr val="accent1"/>
                </a:solidFill>
                <a:latin typeface="Verdana" panose="020B0604030504040204" pitchFamily="34" charset="0"/>
              </a:rPr>
              <a:t>Then for each number: subtract the Mean and square the result (the squared difference).</a:t>
            </a:r>
          </a:p>
          <a:p>
            <a:pPr marL="380990" indent="-380990" defTabSz="1219170" eaLnBrk="0" hangingPunct="0">
              <a:buFont typeface="Arial" panose="020B0604020202020204" pitchFamily="34" charset="0"/>
              <a:buChar char="•"/>
            </a:pPr>
            <a:r>
              <a:rPr lang="en-US" altLang="en-US" sz="2133" dirty="0">
                <a:solidFill>
                  <a:schemeClr val="accent1"/>
                </a:solidFill>
                <a:latin typeface="Verdana" panose="020B0604030504040204" pitchFamily="34" charset="0"/>
              </a:rPr>
              <a:t>Then work out the average of those squared differences. (</a:t>
            </a:r>
            <a:r>
              <a:rPr lang="en-US" altLang="en-US" sz="2133" dirty="0">
                <a:solidFill>
                  <a:schemeClr val="accent1"/>
                </a:solidFill>
                <a:latin typeface="Verdana" panose="020B0604030504040204" pitchFamily="34" charset="0"/>
                <a:hlinkClick r:id="rId3">
                  <a:extLst>
                    <a:ext uri="{A12FA001-AC4F-418D-AE19-62706E023703}">
                      <ahyp:hlinkClr xmlns:ahyp="http://schemas.microsoft.com/office/drawing/2018/hyperlinkcolor" val="tx"/>
                    </a:ext>
                  </a:extLst>
                </a:hlinkClick>
              </a:rPr>
              <a:t>Why Square?</a:t>
            </a:r>
            <a:r>
              <a:rPr lang="en-US" altLang="en-US" sz="2133" dirty="0">
                <a:solidFill>
                  <a:schemeClr val="accent1"/>
                </a:solidFill>
                <a:latin typeface="Verdana" panose="020B0604030504040204" pitchFamily="34" charset="0"/>
              </a:rPr>
              <a:t>)</a:t>
            </a:r>
          </a:p>
          <a:p>
            <a:pPr defTabSz="1219170" eaLnBrk="0" fontAlgn="base" hangingPunct="0">
              <a:spcBef>
                <a:spcPct val="0"/>
              </a:spcBef>
              <a:spcAft>
                <a:spcPct val="0"/>
              </a:spcAft>
            </a:pPr>
            <a:endParaRPr lang="en-US" altLang="en-US" sz="2400" dirty="0">
              <a:latin typeface="Arial" panose="020B0604020202020204" pitchFamily="34" charset="0"/>
            </a:endParaRPr>
          </a:p>
        </p:txBody>
      </p:sp>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4622ADE8-B570-4CE1-9C59-B92F6E50B0F4}"/>
                  </a:ext>
                </a:extLst>
              </p14:cNvPr>
              <p14:cNvContentPartPr/>
              <p14:nvPr/>
            </p14:nvContentPartPr>
            <p14:xfrm>
              <a:off x="95040" y="50880"/>
              <a:ext cx="11944800" cy="6470880"/>
            </p14:xfrm>
          </p:contentPart>
        </mc:Choice>
        <mc:Fallback>
          <p:pic>
            <p:nvPicPr>
              <p:cNvPr id="5" name="Ink 4">
                <a:extLst>
                  <a:ext uri="{FF2B5EF4-FFF2-40B4-BE49-F238E27FC236}">
                    <a16:creationId xmlns:a16="http://schemas.microsoft.com/office/drawing/2014/main" id="{4622ADE8-B570-4CE1-9C59-B92F6E50B0F4}"/>
                  </a:ext>
                </a:extLst>
              </p:cNvPr>
              <p:cNvPicPr/>
              <p:nvPr/>
            </p:nvPicPr>
            <p:blipFill>
              <a:blip r:embed="rId5"/>
              <a:stretch>
                <a:fillRect/>
              </a:stretch>
            </p:blipFill>
            <p:spPr>
              <a:xfrm>
                <a:off x="85680" y="41520"/>
                <a:ext cx="11963520" cy="6489601"/>
              </a:xfrm>
              <a:prstGeom prst="rect">
                <a:avLst/>
              </a:prstGeom>
            </p:spPr>
          </p:pic>
        </mc:Fallback>
      </mc:AlternateContent>
    </p:spTree>
    <p:extLst>
      <p:ext uri="{BB962C8B-B14F-4D97-AF65-F5344CB8AC3E}">
        <p14:creationId xmlns:p14="http://schemas.microsoft.com/office/powerpoint/2010/main" val="1288610285"/>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2294-467A-462C-83C7-3043808D6D56}"/>
              </a:ext>
            </a:extLst>
          </p:cNvPr>
          <p:cNvSpPr>
            <a:spLocks noGrp="1"/>
          </p:cNvSpPr>
          <p:nvPr>
            <p:ph type="title"/>
          </p:nvPr>
        </p:nvSpPr>
        <p:spPr>
          <a:xfrm>
            <a:off x="0" y="0"/>
            <a:ext cx="10972800" cy="850392"/>
          </a:xfrm>
        </p:spPr>
        <p:txBody>
          <a:bodyPr/>
          <a:lstStyle/>
          <a:p>
            <a:r>
              <a:rPr lang="en-US" dirty="0"/>
              <a:t>Variance - Ex</a:t>
            </a:r>
          </a:p>
        </p:txBody>
      </p:sp>
      <p:pic>
        <p:nvPicPr>
          <p:cNvPr id="4" name="Picture 3">
            <a:extLst>
              <a:ext uri="{FF2B5EF4-FFF2-40B4-BE49-F238E27FC236}">
                <a16:creationId xmlns:a16="http://schemas.microsoft.com/office/drawing/2014/main" id="{1D437307-14BE-4815-A5C1-396AAFF9B2EB}"/>
              </a:ext>
            </a:extLst>
          </p:cNvPr>
          <p:cNvPicPr>
            <a:picLocks noChangeAspect="1"/>
          </p:cNvPicPr>
          <p:nvPr/>
        </p:nvPicPr>
        <p:blipFill>
          <a:blip r:embed="rId2"/>
          <a:stretch>
            <a:fillRect/>
          </a:stretch>
        </p:blipFill>
        <p:spPr>
          <a:xfrm>
            <a:off x="954997" y="1149421"/>
            <a:ext cx="7728313" cy="2097923"/>
          </a:xfrm>
          <a:prstGeom prst="rect">
            <a:avLst/>
          </a:prstGeom>
        </p:spPr>
      </p:pic>
      <p:sp>
        <p:nvSpPr>
          <p:cNvPr id="5" name="TextBox 4">
            <a:extLst>
              <a:ext uri="{FF2B5EF4-FFF2-40B4-BE49-F238E27FC236}">
                <a16:creationId xmlns:a16="http://schemas.microsoft.com/office/drawing/2014/main" id="{A32434E3-AF65-400B-AE8B-C5EBA451E0F8}"/>
              </a:ext>
            </a:extLst>
          </p:cNvPr>
          <p:cNvSpPr txBox="1"/>
          <p:nvPr/>
        </p:nvSpPr>
        <p:spPr>
          <a:xfrm>
            <a:off x="307126" y="698016"/>
            <a:ext cx="8692617" cy="420564"/>
          </a:xfrm>
          <a:prstGeom prst="rect">
            <a:avLst/>
          </a:prstGeom>
          <a:noFill/>
        </p:spPr>
        <p:txBody>
          <a:bodyPr wrap="square" rtlCol="0">
            <a:spAutoFit/>
          </a:bodyPr>
          <a:lstStyle/>
          <a:p>
            <a:pPr>
              <a:buClr>
                <a:schemeClr val="bg1"/>
              </a:buClr>
            </a:pPr>
            <a:r>
              <a:rPr lang="en-US" sz="2133" dirty="0">
                <a:solidFill>
                  <a:schemeClr val="bg2">
                    <a:lumMod val="50000"/>
                    <a:lumOff val="50000"/>
                  </a:schemeClr>
                </a:solidFill>
                <a:latin typeface="Verdana" panose="020B0604030504040204" pitchFamily="34" charset="0"/>
              </a:rPr>
              <a:t>Now we calculate each dog's difference from the Mean:</a:t>
            </a:r>
            <a:endParaRPr lang="en-US" sz="2667" dirty="0">
              <a:solidFill>
                <a:schemeClr val="bg2">
                  <a:lumMod val="50000"/>
                  <a:lumOff val="50000"/>
                </a:schemeClr>
              </a:solidFill>
            </a:endParaRPr>
          </a:p>
        </p:txBody>
      </p:sp>
      <p:sp>
        <p:nvSpPr>
          <p:cNvPr id="6" name="TextBox 5">
            <a:extLst>
              <a:ext uri="{FF2B5EF4-FFF2-40B4-BE49-F238E27FC236}">
                <a16:creationId xmlns:a16="http://schemas.microsoft.com/office/drawing/2014/main" id="{0CD470DC-9FC8-468B-BA20-CF437AFC230F}"/>
              </a:ext>
            </a:extLst>
          </p:cNvPr>
          <p:cNvSpPr txBox="1"/>
          <p:nvPr/>
        </p:nvSpPr>
        <p:spPr>
          <a:xfrm>
            <a:off x="120988" y="3429001"/>
            <a:ext cx="11726657" cy="748795"/>
          </a:xfrm>
          <a:prstGeom prst="rect">
            <a:avLst/>
          </a:prstGeom>
          <a:noFill/>
        </p:spPr>
        <p:txBody>
          <a:bodyPr wrap="square" rtlCol="0">
            <a:spAutoFit/>
          </a:bodyPr>
          <a:lstStyle/>
          <a:p>
            <a:pPr>
              <a:buClr>
                <a:schemeClr val="bg1"/>
              </a:buClr>
            </a:pPr>
            <a:r>
              <a:rPr lang="en-US" sz="2133" dirty="0">
                <a:solidFill>
                  <a:schemeClr val="bg2">
                    <a:lumMod val="50000"/>
                    <a:lumOff val="50000"/>
                  </a:schemeClr>
                </a:solidFill>
                <a:latin typeface="Verdana" panose="020B0604030504040204" pitchFamily="34" charset="0"/>
              </a:rPr>
              <a:t>To calculate the Variance, take each difference, square it, and then average the result:</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FA18E362-E30C-492C-8E9D-96B09D82B6DC}"/>
                  </a:ext>
                </a:extLst>
              </p14:cNvPr>
              <p14:cNvContentPartPr/>
              <p14:nvPr/>
            </p14:nvContentPartPr>
            <p14:xfrm>
              <a:off x="2235360" y="1803360"/>
              <a:ext cx="8820480" cy="4363200"/>
            </p14:xfrm>
          </p:contentPart>
        </mc:Choice>
        <mc:Fallback>
          <p:pic>
            <p:nvPicPr>
              <p:cNvPr id="3" name="Ink 2">
                <a:extLst>
                  <a:ext uri="{FF2B5EF4-FFF2-40B4-BE49-F238E27FC236}">
                    <a16:creationId xmlns:a16="http://schemas.microsoft.com/office/drawing/2014/main" id="{FA18E362-E30C-492C-8E9D-96B09D82B6DC}"/>
                  </a:ext>
                </a:extLst>
              </p:cNvPr>
              <p:cNvPicPr/>
              <p:nvPr/>
            </p:nvPicPr>
            <p:blipFill>
              <a:blip r:embed="rId4"/>
              <a:stretch>
                <a:fillRect/>
              </a:stretch>
            </p:blipFill>
            <p:spPr>
              <a:xfrm>
                <a:off x="2226000" y="1794000"/>
                <a:ext cx="8839200" cy="4381920"/>
              </a:xfrm>
              <a:prstGeom prst="rect">
                <a:avLst/>
              </a:prstGeom>
            </p:spPr>
          </p:pic>
        </mc:Fallback>
      </mc:AlternateContent>
    </p:spTree>
    <p:extLst>
      <p:ext uri="{BB962C8B-B14F-4D97-AF65-F5344CB8AC3E}">
        <p14:creationId xmlns:p14="http://schemas.microsoft.com/office/powerpoint/2010/main" val="4213750322"/>
      </p:ext>
    </p:extLst>
  </p:cSld>
  <p:clrMapOvr>
    <a:masterClrMapping/>
  </p:clrMapOvr>
  <p:transition spd="med">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779-CD6A-4E57-AE1B-EF50594A725F}"/>
              </a:ext>
            </a:extLst>
          </p:cNvPr>
          <p:cNvSpPr>
            <a:spLocks noGrp="1"/>
          </p:cNvSpPr>
          <p:nvPr>
            <p:ph type="title"/>
          </p:nvPr>
        </p:nvSpPr>
        <p:spPr>
          <a:xfrm>
            <a:off x="0" y="0"/>
            <a:ext cx="10972800" cy="850392"/>
          </a:xfrm>
        </p:spPr>
        <p:txBody>
          <a:bodyPr/>
          <a:lstStyle/>
          <a:p>
            <a:r>
              <a:rPr lang="en-US" dirty="0"/>
              <a:t>Variance – Ex continued</a:t>
            </a:r>
          </a:p>
        </p:txBody>
      </p:sp>
      <p:pic>
        <p:nvPicPr>
          <p:cNvPr id="4" name="Picture 3">
            <a:extLst>
              <a:ext uri="{FF2B5EF4-FFF2-40B4-BE49-F238E27FC236}">
                <a16:creationId xmlns:a16="http://schemas.microsoft.com/office/drawing/2014/main" id="{1A86875E-99D1-4F9C-A42B-BF8A9B27E777}"/>
              </a:ext>
            </a:extLst>
          </p:cNvPr>
          <p:cNvPicPr>
            <a:picLocks noChangeAspect="1"/>
          </p:cNvPicPr>
          <p:nvPr/>
        </p:nvPicPr>
        <p:blipFill>
          <a:blip r:embed="rId2"/>
          <a:stretch>
            <a:fillRect/>
          </a:stretch>
        </p:blipFill>
        <p:spPr>
          <a:xfrm>
            <a:off x="1879503" y="1363240"/>
            <a:ext cx="6412919" cy="3028843"/>
          </a:xfrm>
          <a:prstGeom prst="rect">
            <a:avLst/>
          </a:prstGeom>
        </p:spPr>
      </p:pic>
      <p:sp>
        <p:nvSpPr>
          <p:cNvPr id="5" name="TextBox 4">
            <a:extLst>
              <a:ext uri="{FF2B5EF4-FFF2-40B4-BE49-F238E27FC236}">
                <a16:creationId xmlns:a16="http://schemas.microsoft.com/office/drawing/2014/main" id="{E8670F94-D7F9-4415-86ED-4018DED05897}"/>
              </a:ext>
            </a:extLst>
          </p:cNvPr>
          <p:cNvSpPr txBox="1"/>
          <p:nvPr/>
        </p:nvSpPr>
        <p:spPr>
          <a:xfrm>
            <a:off x="735244" y="5025710"/>
            <a:ext cx="6254217" cy="318100"/>
          </a:xfrm>
          <a:prstGeom prst="rect">
            <a:avLst/>
          </a:prstGeom>
          <a:noFill/>
        </p:spPr>
        <p:txBody>
          <a:bodyPr wrap="square" rtlCol="0">
            <a:spAutoFit/>
          </a:bodyPr>
          <a:lstStyle/>
          <a:p>
            <a:pPr>
              <a:buClr>
                <a:schemeClr val="bg1"/>
              </a:buClr>
            </a:pPr>
            <a:r>
              <a:rPr lang="en-US" sz="1467" dirty="0">
                <a:solidFill>
                  <a:schemeClr val="bg2">
                    <a:lumMod val="50000"/>
                    <a:lumOff val="50000"/>
                  </a:schemeClr>
                </a:solidFill>
                <a:latin typeface="Verdana" panose="020B0604030504040204" pitchFamily="34" charset="0"/>
              </a:rPr>
              <a:t>So, the Variance is </a:t>
            </a:r>
            <a:r>
              <a:rPr lang="en-US" sz="1467" b="1" dirty="0">
                <a:solidFill>
                  <a:schemeClr val="bg2">
                    <a:lumMod val="50000"/>
                    <a:lumOff val="50000"/>
                  </a:schemeClr>
                </a:solidFill>
                <a:latin typeface="Verdana" panose="020B0604030504040204" pitchFamily="34" charset="0"/>
              </a:rPr>
              <a:t>21,704</a:t>
            </a:r>
            <a:endParaRPr lang="en-US" sz="1867" dirty="0">
              <a:solidFill>
                <a:schemeClr val="bg2">
                  <a:lumMod val="50000"/>
                  <a:lumOff val="50000"/>
                </a:schemeClr>
              </a:solidFill>
            </a:endParaRP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06ECF421-9DA6-42E4-9B7D-A680FF91AF31}"/>
                  </a:ext>
                </a:extLst>
              </p14:cNvPr>
              <p14:cNvContentPartPr/>
              <p14:nvPr/>
            </p14:nvContentPartPr>
            <p14:xfrm>
              <a:off x="3390720" y="2540160"/>
              <a:ext cx="7665120" cy="2978400"/>
            </p14:xfrm>
          </p:contentPart>
        </mc:Choice>
        <mc:Fallback>
          <p:pic>
            <p:nvPicPr>
              <p:cNvPr id="3" name="Ink 2">
                <a:extLst>
                  <a:ext uri="{FF2B5EF4-FFF2-40B4-BE49-F238E27FC236}">
                    <a16:creationId xmlns:a16="http://schemas.microsoft.com/office/drawing/2014/main" id="{06ECF421-9DA6-42E4-9B7D-A680FF91AF31}"/>
                  </a:ext>
                </a:extLst>
              </p:cNvPr>
              <p:cNvPicPr/>
              <p:nvPr/>
            </p:nvPicPr>
            <p:blipFill>
              <a:blip r:embed="rId4"/>
              <a:stretch>
                <a:fillRect/>
              </a:stretch>
            </p:blipFill>
            <p:spPr>
              <a:xfrm>
                <a:off x="3381360" y="2530800"/>
                <a:ext cx="7683840" cy="2997121"/>
              </a:xfrm>
              <a:prstGeom prst="rect">
                <a:avLst/>
              </a:prstGeom>
            </p:spPr>
          </p:pic>
        </mc:Fallback>
      </mc:AlternateContent>
    </p:spTree>
    <p:extLst>
      <p:ext uri="{BB962C8B-B14F-4D97-AF65-F5344CB8AC3E}">
        <p14:creationId xmlns:p14="http://schemas.microsoft.com/office/powerpoint/2010/main" val="799166285"/>
      </p:ext>
    </p:extLst>
  </p:cSld>
  <p:clrMapOvr>
    <a:masterClrMapping/>
  </p:clrMapOvr>
  <p:transition spd="med">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F620B-98F5-4335-AD5A-53E05E2B254D}"/>
              </a:ext>
            </a:extLst>
          </p:cNvPr>
          <p:cNvSpPr>
            <a:spLocks noGrp="1"/>
          </p:cNvSpPr>
          <p:nvPr>
            <p:ph type="title"/>
          </p:nvPr>
        </p:nvSpPr>
        <p:spPr>
          <a:xfrm>
            <a:off x="0" y="0"/>
            <a:ext cx="10972800" cy="850392"/>
          </a:xfrm>
        </p:spPr>
        <p:txBody>
          <a:bodyPr/>
          <a:lstStyle/>
          <a:p>
            <a:r>
              <a:rPr lang="en-US" dirty="0"/>
              <a:t>Standard Deviation </a:t>
            </a:r>
          </a:p>
        </p:txBody>
      </p:sp>
      <p:sp>
        <p:nvSpPr>
          <p:cNvPr id="3" name="TextBox 2">
            <a:extLst>
              <a:ext uri="{FF2B5EF4-FFF2-40B4-BE49-F238E27FC236}">
                <a16:creationId xmlns:a16="http://schemas.microsoft.com/office/drawing/2014/main" id="{AE4C90B8-F407-49EC-A54D-E9774AA2C94F}"/>
              </a:ext>
            </a:extLst>
          </p:cNvPr>
          <p:cNvSpPr txBox="1"/>
          <p:nvPr/>
        </p:nvSpPr>
        <p:spPr>
          <a:xfrm>
            <a:off x="0" y="772471"/>
            <a:ext cx="9986272" cy="379656"/>
          </a:xfrm>
          <a:prstGeom prst="rect">
            <a:avLst/>
          </a:prstGeom>
          <a:noFill/>
        </p:spPr>
        <p:txBody>
          <a:bodyPr wrap="square" rtlCol="0">
            <a:spAutoFit/>
          </a:bodyPr>
          <a:lstStyle/>
          <a:p>
            <a:pPr>
              <a:buClr>
                <a:schemeClr val="bg1"/>
              </a:buClr>
            </a:pPr>
            <a:r>
              <a:rPr lang="en-US" sz="1867" dirty="0">
                <a:solidFill>
                  <a:schemeClr val="bg2">
                    <a:lumMod val="50000"/>
                    <a:lumOff val="50000"/>
                  </a:schemeClr>
                </a:solidFill>
                <a:latin typeface="Verdana" panose="020B0604030504040204" pitchFamily="34" charset="0"/>
              </a:rPr>
              <a:t>And the Standard Deviation is just the square root of Variance, so:</a:t>
            </a:r>
            <a:endParaRPr lang="en-US" sz="2400" dirty="0">
              <a:solidFill>
                <a:schemeClr val="bg2">
                  <a:lumMod val="50000"/>
                  <a:lumOff val="50000"/>
                </a:schemeClr>
              </a:solidFill>
            </a:endParaRPr>
          </a:p>
        </p:txBody>
      </p:sp>
      <p:pic>
        <p:nvPicPr>
          <p:cNvPr id="5" name="Picture 4">
            <a:extLst>
              <a:ext uri="{FF2B5EF4-FFF2-40B4-BE49-F238E27FC236}">
                <a16:creationId xmlns:a16="http://schemas.microsoft.com/office/drawing/2014/main" id="{E5BC06AD-C58E-4108-9D27-4A78A855F4A5}"/>
              </a:ext>
            </a:extLst>
          </p:cNvPr>
          <p:cNvPicPr>
            <a:picLocks noChangeAspect="1"/>
          </p:cNvPicPr>
          <p:nvPr/>
        </p:nvPicPr>
        <p:blipFill>
          <a:blip r:embed="rId2"/>
          <a:stretch>
            <a:fillRect/>
          </a:stretch>
        </p:blipFill>
        <p:spPr>
          <a:xfrm>
            <a:off x="2648239" y="1182841"/>
            <a:ext cx="3978253" cy="1684711"/>
          </a:xfrm>
          <a:prstGeom prst="rect">
            <a:avLst/>
          </a:prstGeom>
        </p:spPr>
      </p:pic>
      <p:pic>
        <p:nvPicPr>
          <p:cNvPr id="7" name="Picture 6">
            <a:extLst>
              <a:ext uri="{FF2B5EF4-FFF2-40B4-BE49-F238E27FC236}">
                <a16:creationId xmlns:a16="http://schemas.microsoft.com/office/drawing/2014/main" id="{931D458C-A0C9-4716-86D8-0E33FCB322A4}"/>
              </a:ext>
            </a:extLst>
          </p:cNvPr>
          <p:cNvPicPr>
            <a:picLocks noChangeAspect="1"/>
          </p:cNvPicPr>
          <p:nvPr/>
        </p:nvPicPr>
        <p:blipFill>
          <a:blip r:embed="rId3"/>
          <a:stretch>
            <a:fillRect/>
          </a:stretch>
        </p:blipFill>
        <p:spPr>
          <a:xfrm>
            <a:off x="282599" y="3955122"/>
            <a:ext cx="6539336" cy="2197981"/>
          </a:xfrm>
          <a:prstGeom prst="rect">
            <a:avLst/>
          </a:prstGeom>
        </p:spPr>
      </p:pic>
      <p:sp>
        <p:nvSpPr>
          <p:cNvPr id="8" name="TextBox 7">
            <a:extLst>
              <a:ext uri="{FF2B5EF4-FFF2-40B4-BE49-F238E27FC236}">
                <a16:creationId xmlns:a16="http://schemas.microsoft.com/office/drawing/2014/main" id="{E92EE6A2-F38C-4E19-BEA8-F4669A0C412E}"/>
              </a:ext>
            </a:extLst>
          </p:cNvPr>
          <p:cNvSpPr txBox="1"/>
          <p:nvPr/>
        </p:nvSpPr>
        <p:spPr>
          <a:xfrm>
            <a:off x="0" y="3182997"/>
            <a:ext cx="8432024" cy="543867"/>
          </a:xfrm>
          <a:prstGeom prst="rect">
            <a:avLst/>
          </a:prstGeom>
          <a:noFill/>
        </p:spPr>
        <p:txBody>
          <a:bodyPr wrap="square" rtlCol="0">
            <a:spAutoFit/>
          </a:bodyPr>
          <a:lstStyle/>
          <a:p>
            <a:pPr>
              <a:buClr>
                <a:schemeClr val="bg1"/>
              </a:buClr>
            </a:pPr>
            <a:r>
              <a:rPr lang="en-US" sz="1467" dirty="0">
                <a:solidFill>
                  <a:schemeClr val="bg2">
                    <a:lumMod val="50000"/>
                    <a:lumOff val="50000"/>
                  </a:schemeClr>
                </a:solidFill>
                <a:latin typeface="Verdana" panose="020B0604030504040204" pitchFamily="34" charset="0"/>
              </a:rPr>
              <a:t>And the good thing about the Standard Deviation is that it is useful. Now we can show which heights are within one Standard Deviation (147mm) of the Mean:</a:t>
            </a:r>
            <a:endParaRPr lang="en-US" sz="1867" dirty="0">
              <a:solidFill>
                <a:schemeClr val="bg2">
                  <a:lumMod val="50000"/>
                  <a:lumOff val="50000"/>
                </a:schemeClr>
              </a:solidFill>
            </a:endParaRPr>
          </a:p>
        </p:txBody>
      </p:sp>
      <p:sp>
        <p:nvSpPr>
          <p:cNvPr id="10" name="TextBox 9">
            <a:extLst>
              <a:ext uri="{FF2B5EF4-FFF2-40B4-BE49-F238E27FC236}">
                <a16:creationId xmlns:a16="http://schemas.microsoft.com/office/drawing/2014/main" id="{98B8F9D4-2C7B-451C-A083-7F06BA7A3569}"/>
              </a:ext>
            </a:extLst>
          </p:cNvPr>
          <p:cNvSpPr txBox="1"/>
          <p:nvPr/>
        </p:nvSpPr>
        <p:spPr>
          <a:xfrm>
            <a:off x="7017381" y="4616208"/>
            <a:ext cx="5174620" cy="954300"/>
          </a:xfrm>
          <a:prstGeom prst="rect">
            <a:avLst/>
          </a:prstGeom>
          <a:noFill/>
        </p:spPr>
        <p:txBody>
          <a:bodyPr wrap="square" rtlCol="0">
            <a:spAutoFit/>
          </a:bodyPr>
          <a:lstStyle/>
          <a:p>
            <a:pPr>
              <a:buClr>
                <a:schemeClr val="bg1"/>
              </a:buClr>
            </a:pPr>
            <a:r>
              <a:rPr lang="en-US" sz="1867" b="1" i="1" dirty="0">
                <a:solidFill>
                  <a:schemeClr val="accent1"/>
                </a:solidFill>
              </a:rPr>
              <a:t>So, using the Standard Deviation we have a "standard" way of knowing what is normal, and what is extra large or extra small.</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359E0EEB-4DF8-4E40-BAA0-1501519B4772}"/>
                  </a:ext>
                </a:extLst>
              </p14:cNvPr>
              <p14:cNvContentPartPr/>
              <p14:nvPr/>
            </p14:nvContentPartPr>
            <p14:xfrm>
              <a:off x="285600" y="1130400"/>
              <a:ext cx="11017920" cy="4419840"/>
            </p14:xfrm>
          </p:contentPart>
        </mc:Choice>
        <mc:Fallback>
          <p:pic>
            <p:nvPicPr>
              <p:cNvPr id="4" name="Ink 3">
                <a:extLst>
                  <a:ext uri="{FF2B5EF4-FFF2-40B4-BE49-F238E27FC236}">
                    <a16:creationId xmlns:a16="http://schemas.microsoft.com/office/drawing/2014/main" id="{359E0EEB-4DF8-4E40-BAA0-1501519B4772}"/>
                  </a:ext>
                </a:extLst>
              </p:cNvPr>
              <p:cNvPicPr/>
              <p:nvPr/>
            </p:nvPicPr>
            <p:blipFill>
              <a:blip r:embed="rId5"/>
              <a:stretch>
                <a:fillRect/>
              </a:stretch>
            </p:blipFill>
            <p:spPr>
              <a:xfrm>
                <a:off x="276240" y="1121040"/>
                <a:ext cx="11036640" cy="4438561"/>
              </a:xfrm>
              <a:prstGeom prst="rect">
                <a:avLst/>
              </a:prstGeom>
            </p:spPr>
          </p:pic>
        </mc:Fallback>
      </mc:AlternateContent>
    </p:spTree>
    <p:extLst>
      <p:ext uri="{BB962C8B-B14F-4D97-AF65-F5344CB8AC3E}">
        <p14:creationId xmlns:p14="http://schemas.microsoft.com/office/powerpoint/2010/main" val="2062386995"/>
      </p:ext>
    </p:extLst>
  </p:cSld>
  <p:clrMapOvr>
    <a:masterClrMapping/>
  </p:clrMapOvr>
  <p:transition spd="med">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DA2E5-19BC-41C1-9716-CDA111BFDC1E}"/>
              </a:ext>
            </a:extLst>
          </p:cNvPr>
          <p:cNvSpPr>
            <a:spLocks noGrp="1"/>
          </p:cNvSpPr>
          <p:nvPr>
            <p:ph type="title"/>
          </p:nvPr>
        </p:nvSpPr>
        <p:spPr>
          <a:xfrm>
            <a:off x="228019" y="168493"/>
            <a:ext cx="10972800" cy="850392"/>
          </a:xfrm>
        </p:spPr>
        <p:txBody>
          <a:bodyPr/>
          <a:lstStyle/>
          <a:p>
            <a:r>
              <a:rPr lang="en-US" dirty="0"/>
              <a:t>Another Example – Standard Deviation </a:t>
            </a:r>
          </a:p>
        </p:txBody>
      </p:sp>
      <mc:AlternateContent xmlns:mc="http://schemas.openxmlformats.org/markup-compatibility/2006">
        <mc:Choice xmlns:p14="http://schemas.microsoft.com/office/powerpoint/2010/main" Requires="p14">
          <p:contentPart p14:bwMode="auto" r:id="rId2">
            <p14:nvContentPartPr>
              <p14:cNvPr id="3" name="Ink 2">
                <a:extLst>
                  <a:ext uri="{FF2B5EF4-FFF2-40B4-BE49-F238E27FC236}">
                    <a16:creationId xmlns:a16="http://schemas.microsoft.com/office/drawing/2014/main" id="{76AC99DF-A4BB-485E-AFF4-BF976DA0D62B}"/>
                  </a:ext>
                </a:extLst>
              </p14:cNvPr>
              <p14:cNvContentPartPr/>
              <p14:nvPr/>
            </p14:nvContentPartPr>
            <p14:xfrm>
              <a:off x="2349600" y="1212960"/>
              <a:ext cx="6845760" cy="2895840"/>
            </p14:xfrm>
          </p:contentPart>
        </mc:Choice>
        <mc:Fallback>
          <p:pic>
            <p:nvPicPr>
              <p:cNvPr id="3" name="Ink 2">
                <a:extLst>
                  <a:ext uri="{FF2B5EF4-FFF2-40B4-BE49-F238E27FC236}">
                    <a16:creationId xmlns:a16="http://schemas.microsoft.com/office/drawing/2014/main" id="{76AC99DF-A4BB-485E-AFF4-BF976DA0D62B}"/>
                  </a:ext>
                </a:extLst>
              </p:cNvPr>
              <p:cNvPicPr/>
              <p:nvPr/>
            </p:nvPicPr>
            <p:blipFill>
              <a:blip r:embed="rId3"/>
              <a:stretch>
                <a:fillRect/>
              </a:stretch>
            </p:blipFill>
            <p:spPr>
              <a:xfrm>
                <a:off x="2340240" y="1203600"/>
                <a:ext cx="6864480" cy="2914560"/>
              </a:xfrm>
              <a:prstGeom prst="rect">
                <a:avLst/>
              </a:prstGeom>
            </p:spPr>
          </p:pic>
        </mc:Fallback>
      </mc:AlternateContent>
    </p:spTree>
    <p:extLst>
      <p:ext uri="{BB962C8B-B14F-4D97-AF65-F5344CB8AC3E}">
        <p14:creationId xmlns:p14="http://schemas.microsoft.com/office/powerpoint/2010/main" val="1577341905"/>
      </p:ext>
    </p:extLst>
  </p:cSld>
  <p:clrMapOvr>
    <a:masterClrMapping/>
  </p:clrMapOvr>
  <p:transition spd="med">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7E8FC-E53A-4E79-8F5A-821A8B64772A}"/>
              </a:ext>
            </a:extLst>
          </p:cNvPr>
          <p:cNvSpPr>
            <a:spLocks noGrp="1"/>
          </p:cNvSpPr>
          <p:nvPr>
            <p:ph type="title"/>
          </p:nvPr>
        </p:nvSpPr>
        <p:spPr>
          <a:xfrm>
            <a:off x="0" y="0"/>
            <a:ext cx="10972800" cy="850392"/>
          </a:xfrm>
        </p:spPr>
        <p:txBody>
          <a:bodyPr/>
          <a:lstStyle/>
          <a:p>
            <a:r>
              <a:rPr lang="en-US" dirty="0"/>
              <a:t>Standard Deviation – Population &amp; Sample</a:t>
            </a:r>
          </a:p>
        </p:txBody>
      </p:sp>
      <p:sp>
        <p:nvSpPr>
          <p:cNvPr id="3" name="TextBox 2">
            <a:extLst>
              <a:ext uri="{FF2B5EF4-FFF2-40B4-BE49-F238E27FC236}">
                <a16:creationId xmlns:a16="http://schemas.microsoft.com/office/drawing/2014/main" id="{FD0A08EA-D57C-4F83-A00F-9136C8E975A8}"/>
              </a:ext>
            </a:extLst>
          </p:cNvPr>
          <p:cNvSpPr txBox="1"/>
          <p:nvPr/>
        </p:nvSpPr>
        <p:spPr>
          <a:xfrm>
            <a:off x="130298" y="1204054"/>
            <a:ext cx="11224085" cy="4073551"/>
          </a:xfrm>
          <a:prstGeom prst="rect">
            <a:avLst/>
          </a:prstGeom>
          <a:noFill/>
        </p:spPr>
        <p:txBody>
          <a:bodyPr wrap="square" rtlCol="0">
            <a:spAutoFit/>
          </a:bodyPr>
          <a:lstStyle/>
          <a:p>
            <a:pPr marL="609585" indent="-609585">
              <a:buFont typeface="Wingdings" panose="05000000000000000000" pitchFamily="2" charset="2"/>
              <a:buChar char="q"/>
            </a:pPr>
            <a:r>
              <a:rPr lang="en-US" sz="2667" dirty="0">
                <a:solidFill>
                  <a:schemeClr val="bg2">
                    <a:lumMod val="50000"/>
                    <a:lumOff val="50000"/>
                  </a:schemeClr>
                </a:solidFill>
                <a:latin typeface="Verdana" panose="020B0604030504040204" pitchFamily="34" charset="0"/>
              </a:rPr>
              <a:t>Example: if our 5 dogs are just a </a:t>
            </a:r>
            <a:r>
              <a:rPr lang="en-US" sz="2667" b="1" dirty="0">
                <a:solidFill>
                  <a:schemeClr val="bg2">
                    <a:lumMod val="50000"/>
                    <a:lumOff val="50000"/>
                  </a:schemeClr>
                </a:solidFill>
                <a:latin typeface="Verdana" panose="020B0604030504040204" pitchFamily="34" charset="0"/>
              </a:rPr>
              <a:t>sample</a:t>
            </a:r>
            <a:r>
              <a:rPr lang="en-US" sz="2667" dirty="0">
                <a:solidFill>
                  <a:schemeClr val="bg2">
                    <a:lumMod val="50000"/>
                    <a:lumOff val="50000"/>
                  </a:schemeClr>
                </a:solidFill>
                <a:latin typeface="Verdana" panose="020B0604030504040204" pitchFamily="34" charset="0"/>
              </a:rPr>
              <a:t> of a bigger population of dogs, we divide by </a:t>
            </a:r>
            <a:r>
              <a:rPr lang="en-US" sz="2667" b="1" dirty="0">
                <a:solidFill>
                  <a:schemeClr val="bg2">
                    <a:lumMod val="50000"/>
                    <a:lumOff val="50000"/>
                  </a:schemeClr>
                </a:solidFill>
                <a:latin typeface="Verdana" panose="020B0604030504040204" pitchFamily="34" charset="0"/>
              </a:rPr>
              <a:t>4 instead of 5</a:t>
            </a:r>
            <a:r>
              <a:rPr lang="en-US" sz="2667" dirty="0">
                <a:solidFill>
                  <a:schemeClr val="bg2">
                    <a:lumMod val="50000"/>
                    <a:lumOff val="50000"/>
                  </a:schemeClr>
                </a:solidFill>
                <a:latin typeface="Verdana" panose="020B0604030504040204" pitchFamily="34" charset="0"/>
              </a:rPr>
              <a:t> like this:</a:t>
            </a:r>
          </a:p>
          <a:p>
            <a:pPr algn="l"/>
            <a:endParaRPr lang="en-US" sz="2667" dirty="0">
              <a:solidFill>
                <a:schemeClr val="bg2">
                  <a:lumMod val="50000"/>
                  <a:lumOff val="50000"/>
                </a:schemeClr>
              </a:solidFill>
              <a:latin typeface="Verdana" panose="020B0604030504040204" pitchFamily="34" charset="0"/>
            </a:endParaRPr>
          </a:p>
          <a:p>
            <a:pPr marL="609585" indent="-609585">
              <a:buFont typeface="Wingdings" panose="05000000000000000000" pitchFamily="2" charset="2"/>
              <a:buChar char="q"/>
            </a:pPr>
            <a:r>
              <a:rPr lang="en-US" sz="2667" dirty="0">
                <a:solidFill>
                  <a:schemeClr val="bg2">
                    <a:lumMod val="50000"/>
                    <a:lumOff val="50000"/>
                  </a:schemeClr>
                </a:solidFill>
                <a:latin typeface="Verdana" panose="020B0604030504040204" pitchFamily="34" charset="0"/>
              </a:rPr>
              <a:t>Sample Variance = 108,520 / </a:t>
            </a:r>
            <a:r>
              <a:rPr lang="en-US" sz="2667" b="1" dirty="0">
                <a:solidFill>
                  <a:schemeClr val="bg2">
                    <a:lumMod val="50000"/>
                    <a:lumOff val="50000"/>
                  </a:schemeClr>
                </a:solidFill>
                <a:latin typeface="Verdana" panose="020B0604030504040204" pitchFamily="34" charset="0"/>
              </a:rPr>
              <a:t>4</a:t>
            </a:r>
            <a:r>
              <a:rPr lang="en-US" sz="2667" dirty="0">
                <a:solidFill>
                  <a:schemeClr val="bg2">
                    <a:lumMod val="50000"/>
                    <a:lumOff val="50000"/>
                  </a:schemeClr>
                </a:solidFill>
                <a:latin typeface="Verdana" panose="020B0604030504040204" pitchFamily="34" charset="0"/>
              </a:rPr>
              <a:t> = </a:t>
            </a:r>
            <a:r>
              <a:rPr lang="en-US" sz="2667" b="1" dirty="0">
                <a:solidFill>
                  <a:schemeClr val="bg2">
                    <a:lumMod val="50000"/>
                    <a:lumOff val="50000"/>
                  </a:schemeClr>
                </a:solidFill>
                <a:latin typeface="Verdana" panose="020B0604030504040204" pitchFamily="34" charset="0"/>
              </a:rPr>
              <a:t>27,130</a:t>
            </a:r>
          </a:p>
          <a:p>
            <a:pPr algn="l"/>
            <a:endParaRPr lang="en-US" sz="2667" dirty="0">
              <a:solidFill>
                <a:schemeClr val="bg2">
                  <a:lumMod val="50000"/>
                  <a:lumOff val="50000"/>
                </a:schemeClr>
              </a:solidFill>
              <a:latin typeface="Verdana" panose="020B0604030504040204" pitchFamily="34" charset="0"/>
            </a:endParaRPr>
          </a:p>
          <a:p>
            <a:pPr marL="609585" indent="-609585">
              <a:buFont typeface="Wingdings" panose="05000000000000000000" pitchFamily="2" charset="2"/>
              <a:buChar char="q"/>
            </a:pPr>
            <a:r>
              <a:rPr lang="en-US" sz="2667" dirty="0">
                <a:solidFill>
                  <a:schemeClr val="bg2">
                    <a:lumMod val="50000"/>
                    <a:lumOff val="50000"/>
                  </a:schemeClr>
                </a:solidFill>
                <a:latin typeface="Verdana" panose="020B0604030504040204" pitchFamily="34" charset="0"/>
              </a:rPr>
              <a:t>Sample Standard Deviation = √27,130 = </a:t>
            </a:r>
            <a:r>
              <a:rPr lang="en-US" sz="2667" b="1" dirty="0">
                <a:solidFill>
                  <a:schemeClr val="bg2">
                    <a:lumMod val="50000"/>
                    <a:lumOff val="50000"/>
                  </a:schemeClr>
                </a:solidFill>
                <a:latin typeface="Verdana" panose="020B0604030504040204" pitchFamily="34" charset="0"/>
              </a:rPr>
              <a:t>165</a:t>
            </a:r>
            <a:r>
              <a:rPr lang="en-US" sz="2667" dirty="0">
                <a:solidFill>
                  <a:schemeClr val="bg2">
                    <a:lumMod val="50000"/>
                    <a:lumOff val="50000"/>
                  </a:schemeClr>
                </a:solidFill>
                <a:latin typeface="Verdana" panose="020B0604030504040204" pitchFamily="34" charset="0"/>
              </a:rPr>
              <a:t> (to the nearest mm)</a:t>
            </a:r>
          </a:p>
          <a:p>
            <a:pPr algn="l"/>
            <a:endParaRPr lang="en-US" sz="2667" dirty="0">
              <a:solidFill>
                <a:schemeClr val="bg2">
                  <a:lumMod val="50000"/>
                  <a:lumOff val="50000"/>
                </a:schemeClr>
              </a:solidFill>
              <a:latin typeface="Verdana" panose="020B0604030504040204" pitchFamily="34" charset="0"/>
            </a:endParaRPr>
          </a:p>
          <a:p>
            <a:pPr marL="457189" indent="-457189">
              <a:buFont typeface="Wingdings" panose="05000000000000000000" pitchFamily="2" charset="2"/>
              <a:buChar char="q"/>
            </a:pPr>
            <a:r>
              <a:rPr lang="en-US" sz="2667" dirty="0">
                <a:solidFill>
                  <a:schemeClr val="bg2">
                    <a:lumMod val="50000"/>
                    <a:lumOff val="50000"/>
                  </a:schemeClr>
                </a:solidFill>
                <a:latin typeface="Verdana" panose="020B0604030504040204" pitchFamily="34" charset="0"/>
              </a:rPr>
              <a:t>Think of it as a "correction" when your data is only a sample.</a:t>
            </a:r>
          </a:p>
          <a:p>
            <a:pPr>
              <a:buClr>
                <a:schemeClr val="bg1"/>
              </a:buClr>
            </a:pPr>
            <a:endParaRPr lang="en-US" sz="1867" dirty="0" err="1">
              <a:solidFill>
                <a:schemeClr val="bg2"/>
              </a:solidFill>
            </a:endParaRP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2B1488D7-6D3E-4B9E-86F7-0319B1FB4BF5}"/>
                  </a:ext>
                </a:extLst>
              </p14:cNvPr>
              <p14:cNvContentPartPr/>
              <p14:nvPr/>
            </p14:nvContentPartPr>
            <p14:xfrm>
              <a:off x="1155840" y="184320"/>
              <a:ext cx="10192320" cy="6096480"/>
            </p14:xfrm>
          </p:contentPart>
        </mc:Choice>
        <mc:Fallback>
          <p:pic>
            <p:nvPicPr>
              <p:cNvPr id="4" name="Ink 3">
                <a:extLst>
                  <a:ext uri="{FF2B5EF4-FFF2-40B4-BE49-F238E27FC236}">
                    <a16:creationId xmlns:a16="http://schemas.microsoft.com/office/drawing/2014/main" id="{2B1488D7-6D3E-4B9E-86F7-0319B1FB4BF5}"/>
                  </a:ext>
                </a:extLst>
              </p:cNvPr>
              <p:cNvPicPr/>
              <p:nvPr/>
            </p:nvPicPr>
            <p:blipFill>
              <a:blip r:embed="rId3"/>
              <a:stretch>
                <a:fillRect/>
              </a:stretch>
            </p:blipFill>
            <p:spPr>
              <a:xfrm>
                <a:off x="1146480" y="174960"/>
                <a:ext cx="10211040" cy="6115201"/>
              </a:xfrm>
              <a:prstGeom prst="rect">
                <a:avLst/>
              </a:prstGeom>
            </p:spPr>
          </p:pic>
        </mc:Fallback>
      </mc:AlternateContent>
    </p:spTree>
    <p:extLst>
      <p:ext uri="{BB962C8B-B14F-4D97-AF65-F5344CB8AC3E}">
        <p14:creationId xmlns:p14="http://schemas.microsoft.com/office/powerpoint/2010/main" val="1892214900"/>
      </p:ext>
    </p:extLst>
  </p:cSld>
  <p:clrMapOvr>
    <a:masterClrMapping/>
  </p:clrMapOvr>
  <p:transition spd="med">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C4E3-6B94-4D41-9DB2-4A1A4413DA08}"/>
              </a:ext>
            </a:extLst>
          </p:cNvPr>
          <p:cNvSpPr>
            <a:spLocks noGrp="1"/>
          </p:cNvSpPr>
          <p:nvPr>
            <p:ph type="title"/>
          </p:nvPr>
        </p:nvSpPr>
        <p:spPr>
          <a:xfrm>
            <a:off x="152400" y="149880"/>
            <a:ext cx="10972800" cy="850392"/>
          </a:xfrm>
        </p:spPr>
        <p:txBody>
          <a:bodyPr/>
          <a:lstStyle/>
          <a:p>
            <a:r>
              <a:rPr lang="en-US" dirty="0"/>
              <a:t>Standard Deviation - Formula</a:t>
            </a:r>
          </a:p>
        </p:txBody>
      </p:sp>
      <p:sp>
        <p:nvSpPr>
          <p:cNvPr id="10" name="TextBox 9">
            <a:extLst>
              <a:ext uri="{FF2B5EF4-FFF2-40B4-BE49-F238E27FC236}">
                <a16:creationId xmlns:a16="http://schemas.microsoft.com/office/drawing/2014/main" id="{933A42C8-B9B8-4D5C-B787-BC7681B6E0FD}"/>
              </a:ext>
            </a:extLst>
          </p:cNvPr>
          <p:cNvSpPr txBox="1"/>
          <p:nvPr/>
        </p:nvSpPr>
        <p:spPr>
          <a:xfrm>
            <a:off x="7079037" y="2782754"/>
            <a:ext cx="4960563" cy="1733488"/>
          </a:xfrm>
          <a:prstGeom prst="rect">
            <a:avLst/>
          </a:prstGeom>
          <a:noFill/>
        </p:spPr>
        <p:txBody>
          <a:bodyPr wrap="square" rtlCol="0">
            <a:spAutoFit/>
          </a:bodyPr>
          <a:lstStyle/>
          <a:p>
            <a:pPr>
              <a:buClr>
                <a:schemeClr val="bg1"/>
              </a:buClr>
            </a:pPr>
            <a:r>
              <a:rPr lang="en-US" sz="2133" dirty="0">
                <a:solidFill>
                  <a:schemeClr val="bg2">
                    <a:lumMod val="50000"/>
                    <a:lumOff val="50000"/>
                  </a:schemeClr>
                </a:solidFill>
                <a:latin typeface="Verdana" panose="020B0604030504040204" pitchFamily="34" charset="0"/>
              </a:rPr>
              <a:t>Looks complicated, but the important change is to divide by </a:t>
            </a:r>
            <a:r>
              <a:rPr lang="en-US" sz="2133" b="1" dirty="0">
                <a:solidFill>
                  <a:schemeClr val="bg2">
                    <a:lumMod val="50000"/>
                    <a:lumOff val="50000"/>
                  </a:schemeClr>
                </a:solidFill>
                <a:latin typeface="Verdana" panose="020B0604030504040204" pitchFamily="34" charset="0"/>
              </a:rPr>
              <a:t>N-1</a:t>
            </a:r>
            <a:r>
              <a:rPr lang="en-US" sz="2133" dirty="0">
                <a:solidFill>
                  <a:schemeClr val="bg2">
                    <a:lumMod val="50000"/>
                    <a:lumOff val="50000"/>
                  </a:schemeClr>
                </a:solidFill>
                <a:latin typeface="Verdana" panose="020B0604030504040204" pitchFamily="34" charset="0"/>
              </a:rPr>
              <a:t> (instead of </a:t>
            </a:r>
            <a:r>
              <a:rPr lang="en-US" sz="2133" b="1" dirty="0">
                <a:solidFill>
                  <a:schemeClr val="bg2">
                    <a:lumMod val="50000"/>
                    <a:lumOff val="50000"/>
                  </a:schemeClr>
                </a:solidFill>
                <a:latin typeface="Verdana" panose="020B0604030504040204" pitchFamily="34" charset="0"/>
              </a:rPr>
              <a:t>N</a:t>
            </a:r>
            <a:r>
              <a:rPr lang="en-US" sz="2133" dirty="0">
                <a:solidFill>
                  <a:schemeClr val="bg2">
                    <a:lumMod val="50000"/>
                    <a:lumOff val="50000"/>
                  </a:schemeClr>
                </a:solidFill>
                <a:latin typeface="Verdana" panose="020B0604030504040204" pitchFamily="34" charset="0"/>
              </a:rPr>
              <a:t>) when calculating a Sample Standard Deviation</a:t>
            </a:r>
            <a:endParaRPr lang="en-US" sz="2667" dirty="0">
              <a:solidFill>
                <a:schemeClr val="bg2">
                  <a:lumMod val="50000"/>
                  <a:lumOff val="50000"/>
                </a:schemeClr>
              </a:solidFill>
            </a:endParaRPr>
          </a:p>
        </p:txBody>
      </p:sp>
      <p:pic>
        <p:nvPicPr>
          <p:cNvPr id="12" name="Picture 11">
            <a:extLst>
              <a:ext uri="{FF2B5EF4-FFF2-40B4-BE49-F238E27FC236}">
                <a16:creationId xmlns:a16="http://schemas.microsoft.com/office/drawing/2014/main" id="{653F05E3-1A06-4930-9772-3415C65D5046}"/>
              </a:ext>
            </a:extLst>
          </p:cNvPr>
          <p:cNvPicPr>
            <a:picLocks noChangeAspect="1"/>
          </p:cNvPicPr>
          <p:nvPr/>
        </p:nvPicPr>
        <p:blipFill>
          <a:blip r:embed="rId2"/>
          <a:stretch>
            <a:fillRect/>
          </a:stretch>
        </p:blipFill>
        <p:spPr>
          <a:xfrm>
            <a:off x="152401" y="1135063"/>
            <a:ext cx="6299540" cy="2410855"/>
          </a:xfrm>
          <a:prstGeom prst="rect">
            <a:avLst/>
          </a:prstGeom>
        </p:spPr>
      </p:pic>
      <p:pic>
        <p:nvPicPr>
          <p:cNvPr id="14" name="Picture 13">
            <a:extLst>
              <a:ext uri="{FF2B5EF4-FFF2-40B4-BE49-F238E27FC236}">
                <a16:creationId xmlns:a16="http://schemas.microsoft.com/office/drawing/2014/main" id="{B435FB2B-9487-497B-8EF8-99AA21450932}"/>
              </a:ext>
            </a:extLst>
          </p:cNvPr>
          <p:cNvPicPr>
            <a:picLocks noChangeAspect="1"/>
          </p:cNvPicPr>
          <p:nvPr/>
        </p:nvPicPr>
        <p:blipFill>
          <a:blip r:embed="rId3"/>
          <a:stretch>
            <a:fillRect/>
          </a:stretch>
        </p:blipFill>
        <p:spPr>
          <a:xfrm>
            <a:off x="152401" y="3857292"/>
            <a:ext cx="6299540" cy="2229401"/>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78A7ECC5-866C-4D28-9C3C-A981AC9168DD}"/>
                  </a:ext>
                </a:extLst>
              </p14:cNvPr>
              <p14:cNvContentPartPr/>
              <p14:nvPr/>
            </p14:nvContentPartPr>
            <p14:xfrm>
              <a:off x="361920" y="247680"/>
              <a:ext cx="11100480" cy="5182080"/>
            </p14:xfrm>
          </p:contentPart>
        </mc:Choice>
        <mc:Fallback>
          <p:pic>
            <p:nvPicPr>
              <p:cNvPr id="3" name="Ink 2">
                <a:extLst>
                  <a:ext uri="{FF2B5EF4-FFF2-40B4-BE49-F238E27FC236}">
                    <a16:creationId xmlns:a16="http://schemas.microsoft.com/office/drawing/2014/main" id="{78A7ECC5-866C-4D28-9C3C-A981AC9168DD}"/>
                  </a:ext>
                </a:extLst>
              </p:cNvPr>
              <p:cNvPicPr/>
              <p:nvPr/>
            </p:nvPicPr>
            <p:blipFill>
              <a:blip r:embed="rId5"/>
              <a:stretch>
                <a:fillRect/>
              </a:stretch>
            </p:blipFill>
            <p:spPr>
              <a:xfrm>
                <a:off x="352560" y="238320"/>
                <a:ext cx="11119200" cy="5200801"/>
              </a:xfrm>
              <a:prstGeom prst="rect">
                <a:avLst/>
              </a:prstGeom>
            </p:spPr>
          </p:pic>
        </mc:Fallback>
      </mc:AlternateContent>
    </p:spTree>
    <p:extLst>
      <p:ext uri="{BB962C8B-B14F-4D97-AF65-F5344CB8AC3E}">
        <p14:creationId xmlns:p14="http://schemas.microsoft.com/office/powerpoint/2010/main" val="3884285239"/>
      </p:ext>
    </p:extLst>
  </p:cSld>
  <p:clrMapOvr>
    <a:masterClrMapping/>
  </p:clrMapOvr>
  <p:transition spd="med">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3A06-D0A1-4D54-8804-1862AD402AE2}"/>
              </a:ext>
            </a:extLst>
          </p:cNvPr>
          <p:cNvSpPr>
            <a:spLocks noGrp="1"/>
          </p:cNvSpPr>
          <p:nvPr>
            <p:ph type="title"/>
          </p:nvPr>
        </p:nvSpPr>
        <p:spPr>
          <a:xfrm>
            <a:off x="0" y="0"/>
            <a:ext cx="10972800" cy="850392"/>
          </a:xfrm>
        </p:spPr>
        <p:txBody>
          <a:bodyPr/>
          <a:lstStyle/>
          <a:p>
            <a:r>
              <a:rPr lang="en-US" dirty="0"/>
              <a:t>Why Square the difference ? </a:t>
            </a:r>
          </a:p>
        </p:txBody>
      </p:sp>
      <p:sp>
        <p:nvSpPr>
          <p:cNvPr id="3" name="TextBox 2">
            <a:extLst>
              <a:ext uri="{FF2B5EF4-FFF2-40B4-BE49-F238E27FC236}">
                <a16:creationId xmlns:a16="http://schemas.microsoft.com/office/drawing/2014/main" id="{335ED887-CF6A-495E-9FF8-79FD8D96C0AD}"/>
              </a:ext>
            </a:extLst>
          </p:cNvPr>
          <p:cNvSpPr txBox="1"/>
          <p:nvPr/>
        </p:nvSpPr>
        <p:spPr>
          <a:xfrm>
            <a:off x="241979" y="744550"/>
            <a:ext cx="10730821" cy="4524315"/>
          </a:xfrm>
          <a:prstGeom prst="rect">
            <a:avLst/>
          </a:prstGeom>
          <a:noFill/>
        </p:spPr>
        <p:txBody>
          <a:bodyPr wrap="square" rtlCol="0">
            <a:spAutoFit/>
          </a:bodyPr>
          <a:lstStyle/>
          <a:p>
            <a:pPr>
              <a:buClr>
                <a:schemeClr val="bg1"/>
              </a:buClr>
            </a:pPr>
            <a:r>
              <a:rPr lang="en-US" sz="1600" dirty="0">
                <a:solidFill>
                  <a:schemeClr val="bg2">
                    <a:lumMod val="50000"/>
                    <a:lumOff val="50000"/>
                  </a:schemeClr>
                </a:solidFill>
                <a:latin typeface="Verdana" panose="020B0604030504040204" pitchFamily="34" charset="0"/>
              </a:rPr>
              <a:t>If we just add up the differences from the mean ... the negatives cancel the positives:</a:t>
            </a: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r>
              <a:rPr lang="en-US" sz="1600" dirty="0">
                <a:solidFill>
                  <a:schemeClr val="bg2">
                    <a:lumMod val="50000"/>
                    <a:lumOff val="50000"/>
                  </a:schemeClr>
                </a:solidFill>
                <a:latin typeface="Verdana" panose="020B0604030504040204" pitchFamily="34" charset="0"/>
              </a:rPr>
              <a:t>Ex:</a:t>
            </a: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r>
              <a:rPr lang="en-US" sz="1600" dirty="0">
                <a:solidFill>
                  <a:schemeClr val="bg2">
                    <a:lumMod val="50000"/>
                    <a:lumOff val="50000"/>
                  </a:schemeClr>
                </a:solidFill>
                <a:latin typeface="Verdana" panose="020B0604030504040204" pitchFamily="34" charset="0"/>
              </a:rPr>
              <a:t>So that won't work. How about we use </a:t>
            </a:r>
            <a:r>
              <a:rPr lang="en-US" sz="1600" dirty="0">
                <a:solidFill>
                  <a:schemeClr val="bg2">
                    <a:lumMod val="50000"/>
                    <a:lumOff val="50000"/>
                  </a:schemeClr>
                </a:solidFill>
                <a:latin typeface="Verdana" panose="020B0604030504040204" pitchFamily="34" charset="0"/>
                <a:hlinkClick r:id="rId2">
                  <a:extLst>
                    <a:ext uri="{A12FA001-AC4F-418D-AE19-62706E023703}">
                      <ahyp:hlinkClr xmlns:ahyp="http://schemas.microsoft.com/office/drawing/2018/hyperlinkcolor" val="tx"/>
                    </a:ext>
                  </a:extLst>
                </a:hlinkClick>
              </a:rPr>
              <a:t>absolute values</a:t>
            </a:r>
            <a:r>
              <a:rPr lang="en-US" sz="1600" dirty="0">
                <a:solidFill>
                  <a:schemeClr val="bg2">
                    <a:lumMod val="50000"/>
                    <a:lumOff val="50000"/>
                  </a:schemeClr>
                </a:solidFill>
                <a:latin typeface="Verdana" panose="020B0604030504040204" pitchFamily="34" charset="0"/>
              </a:rPr>
              <a:t>?</a:t>
            </a:r>
            <a:br>
              <a:rPr lang="en-US" sz="1600" dirty="0">
                <a:solidFill>
                  <a:schemeClr val="bg2">
                    <a:lumMod val="50000"/>
                    <a:lumOff val="50000"/>
                  </a:schemeClr>
                </a:solidFill>
                <a:latin typeface="Verdana" panose="020B0604030504040204" pitchFamily="34" charset="0"/>
              </a:rPr>
            </a:br>
            <a:endParaRPr lang="en-US" sz="1600" dirty="0">
              <a:solidFill>
                <a:schemeClr val="bg2">
                  <a:lumMod val="50000"/>
                  <a:lumOff val="50000"/>
                </a:schemeClr>
              </a:solidFill>
              <a:latin typeface="Verdana" panose="020B0604030504040204" pitchFamily="34" charset="0"/>
            </a:endParaRPr>
          </a:p>
          <a:p>
            <a:pPr>
              <a:buClr>
                <a:schemeClr val="bg1"/>
              </a:buClr>
            </a:pPr>
            <a:r>
              <a:rPr lang="en-US" sz="1600" dirty="0">
                <a:solidFill>
                  <a:schemeClr val="bg2">
                    <a:lumMod val="50000"/>
                    <a:lumOff val="50000"/>
                  </a:schemeClr>
                </a:solidFill>
                <a:latin typeface="Verdana" panose="020B0604030504040204" pitchFamily="34" charset="0"/>
              </a:rPr>
              <a:t>Ex:</a:t>
            </a: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r>
              <a:rPr lang="en-US" sz="1600" dirty="0">
                <a:solidFill>
                  <a:schemeClr val="bg2">
                    <a:lumMod val="50000"/>
                    <a:lumOff val="50000"/>
                  </a:schemeClr>
                </a:solidFill>
                <a:latin typeface="Verdana" panose="020B0604030504040204" pitchFamily="34" charset="0"/>
              </a:rPr>
              <a:t>That looks good (and is the </a:t>
            </a:r>
            <a:r>
              <a:rPr lang="en-US" sz="16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Mean Deviation</a:t>
            </a:r>
            <a:r>
              <a:rPr lang="en-US" sz="1600" dirty="0">
                <a:solidFill>
                  <a:schemeClr val="bg2">
                    <a:lumMod val="50000"/>
                    <a:lumOff val="50000"/>
                  </a:schemeClr>
                </a:solidFill>
                <a:latin typeface="Verdana" panose="020B0604030504040204" pitchFamily="34" charset="0"/>
              </a:rPr>
              <a:t>), but what about this case:</a:t>
            </a: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r>
              <a:rPr lang="en-US" sz="1600" dirty="0">
                <a:solidFill>
                  <a:schemeClr val="bg2">
                    <a:lumMod val="50000"/>
                    <a:lumOff val="50000"/>
                  </a:schemeClr>
                </a:solidFill>
                <a:latin typeface="Verdana" panose="020B0604030504040204" pitchFamily="34" charset="0"/>
              </a:rPr>
              <a:t>Ex:</a:t>
            </a:r>
          </a:p>
        </p:txBody>
      </p:sp>
      <p:pic>
        <p:nvPicPr>
          <p:cNvPr id="5" name="Picture 4">
            <a:extLst>
              <a:ext uri="{FF2B5EF4-FFF2-40B4-BE49-F238E27FC236}">
                <a16:creationId xmlns:a16="http://schemas.microsoft.com/office/drawing/2014/main" id="{46EF63B6-C861-4B4A-BA4A-3E222C70C7D5}"/>
              </a:ext>
            </a:extLst>
          </p:cNvPr>
          <p:cNvPicPr>
            <a:picLocks noChangeAspect="1"/>
          </p:cNvPicPr>
          <p:nvPr/>
        </p:nvPicPr>
        <p:blipFill>
          <a:blip r:embed="rId4"/>
          <a:stretch>
            <a:fillRect/>
          </a:stretch>
        </p:blipFill>
        <p:spPr>
          <a:xfrm>
            <a:off x="872230" y="1158222"/>
            <a:ext cx="2841213" cy="1174281"/>
          </a:xfrm>
          <a:prstGeom prst="rect">
            <a:avLst/>
          </a:prstGeom>
        </p:spPr>
      </p:pic>
      <p:pic>
        <p:nvPicPr>
          <p:cNvPr id="7" name="Picture 6">
            <a:extLst>
              <a:ext uri="{FF2B5EF4-FFF2-40B4-BE49-F238E27FC236}">
                <a16:creationId xmlns:a16="http://schemas.microsoft.com/office/drawing/2014/main" id="{FF31FC51-1BB6-4110-984E-4ADCFEAD3B9D}"/>
              </a:ext>
            </a:extLst>
          </p:cNvPr>
          <p:cNvPicPr>
            <a:picLocks noChangeAspect="1"/>
          </p:cNvPicPr>
          <p:nvPr/>
        </p:nvPicPr>
        <p:blipFill>
          <a:blip r:embed="rId4"/>
          <a:stretch>
            <a:fillRect/>
          </a:stretch>
        </p:blipFill>
        <p:spPr>
          <a:xfrm>
            <a:off x="872231" y="2911637"/>
            <a:ext cx="2841213" cy="1397383"/>
          </a:xfrm>
          <a:prstGeom prst="rect">
            <a:avLst/>
          </a:prstGeom>
        </p:spPr>
      </p:pic>
      <p:pic>
        <p:nvPicPr>
          <p:cNvPr id="9" name="Picture 8">
            <a:extLst>
              <a:ext uri="{FF2B5EF4-FFF2-40B4-BE49-F238E27FC236}">
                <a16:creationId xmlns:a16="http://schemas.microsoft.com/office/drawing/2014/main" id="{64CAF348-C2B3-4FF9-97C9-997DD4E807AA}"/>
              </a:ext>
            </a:extLst>
          </p:cNvPr>
          <p:cNvPicPr>
            <a:picLocks noChangeAspect="1"/>
          </p:cNvPicPr>
          <p:nvPr/>
        </p:nvPicPr>
        <p:blipFill>
          <a:blip r:embed="rId5"/>
          <a:stretch>
            <a:fillRect/>
          </a:stretch>
        </p:blipFill>
        <p:spPr>
          <a:xfrm>
            <a:off x="872231" y="4888151"/>
            <a:ext cx="2841213" cy="1482111"/>
          </a:xfrm>
          <a:prstGeom prst="rect">
            <a:avLst/>
          </a:prstGeom>
        </p:spPr>
      </p:pic>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F22C50DD-F6AC-4506-956A-E502C1DA93EC}"/>
                  </a:ext>
                </a:extLst>
              </p14:cNvPr>
              <p14:cNvContentPartPr/>
              <p14:nvPr/>
            </p14:nvContentPartPr>
            <p14:xfrm>
              <a:off x="304800" y="1142880"/>
              <a:ext cx="11055840" cy="5188320"/>
            </p14:xfrm>
          </p:contentPart>
        </mc:Choice>
        <mc:Fallback>
          <p:pic>
            <p:nvPicPr>
              <p:cNvPr id="4" name="Ink 3">
                <a:extLst>
                  <a:ext uri="{FF2B5EF4-FFF2-40B4-BE49-F238E27FC236}">
                    <a16:creationId xmlns:a16="http://schemas.microsoft.com/office/drawing/2014/main" id="{F22C50DD-F6AC-4506-956A-E502C1DA93EC}"/>
                  </a:ext>
                </a:extLst>
              </p:cNvPr>
              <p:cNvPicPr/>
              <p:nvPr/>
            </p:nvPicPr>
            <p:blipFill>
              <a:blip r:embed="rId7"/>
              <a:stretch>
                <a:fillRect/>
              </a:stretch>
            </p:blipFill>
            <p:spPr>
              <a:xfrm>
                <a:off x="295440" y="1133520"/>
                <a:ext cx="11074560" cy="5207040"/>
              </a:xfrm>
              <a:prstGeom prst="rect">
                <a:avLst/>
              </a:prstGeom>
            </p:spPr>
          </p:pic>
        </mc:Fallback>
      </mc:AlternateContent>
    </p:spTree>
    <p:extLst>
      <p:ext uri="{BB962C8B-B14F-4D97-AF65-F5344CB8AC3E}">
        <p14:creationId xmlns:p14="http://schemas.microsoft.com/office/powerpoint/2010/main" val="1560366396"/>
      </p:ext>
    </p:extLst>
  </p:cSld>
  <p:clrMapOvr>
    <a:masterClrMapping/>
  </p:clrMapOvr>
  <p:transition spd="med">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10AC9D2-C166-483A-A9F8-A47C63C5C8F9}"/>
              </a:ext>
            </a:extLst>
          </p:cNvPr>
          <p:cNvSpPr>
            <a:spLocks noGrp="1"/>
          </p:cNvSpPr>
          <p:nvPr>
            <p:ph type="title"/>
          </p:nvPr>
        </p:nvSpPr>
        <p:spPr>
          <a:xfrm>
            <a:off x="0" y="0"/>
            <a:ext cx="10972800" cy="850392"/>
          </a:xfrm>
        </p:spPr>
        <p:txBody>
          <a:bodyPr/>
          <a:lstStyle/>
          <a:p>
            <a:r>
              <a:rPr lang="en-US" dirty="0"/>
              <a:t>Why Square the difference ? - Continued </a:t>
            </a:r>
          </a:p>
        </p:txBody>
      </p:sp>
      <p:sp>
        <p:nvSpPr>
          <p:cNvPr id="4" name="TextBox 3">
            <a:extLst>
              <a:ext uri="{FF2B5EF4-FFF2-40B4-BE49-F238E27FC236}">
                <a16:creationId xmlns:a16="http://schemas.microsoft.com/office/drawing/2014/main" id="{F548E1AB-BBD9-419A-A5BF-9DF1DF5C418E}"/>
              </a:ext>
            </a:extLst>
          </p:cNvPr>
          <p:cNvSpPr txBox="1"/>
          <p:nvPr/>
        </p:nvSpPr>
        <p:spPr>
          <a:xfrm>
            <a:off x="130296" y="850392"/>
            <a:ext cx="9641917" cy="5262979"/>
          </a:xfrm>
          <a:prstGeom prst="rect">
            <a:avLst/>
          </a:prstGeom>
          <a:noFill/>
        </p:spPr>
        <p:txBody>
          <a:bodyPr wrap="square" rtlCol="0">
            <a:spAutoFit/>
          </a:bodyPr>
          <a:lstStyle/>
          <a:p>
            <a:pPr>
              <a:buClr>
                <a:schemeClr val="bg1"/>
              </a:buClr>
            </a:pPr>
            <a:r>
              <a:rPr lang="en-US" sz="1600" dirty="0">
                <a:solidFill>
                  <a:schemeClr val="bg2">
                    <a:lumMod val="50000"/>
                    <a:lumOff val="50000"/>
                  </a:schemeClr>
                </a:solidFill>
                <a:latin typeface="Verdana" panose="020B0604030504040204" pitchFamily="34" charset="0"/>
              </a:rPr>
              <a:t>So let us try squaring each difference (and taking the square root at the end):</a:t>
            </a: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r>
              <a:rPr lang="en-US" sz="1600" dirty="0">
                <a:solidFill>
                  <a:schemeClr val="bg2">
                    <a:lumMod val="50000"/>
                    <a:lumOff val="50000"/>
                  </a:schemeClr>
                </a:solidFill>
                <a:latin typeface="Verdana" panose="020B0604030504040204" pitchFamily="34" charset="0"/>
              </a:rPr>
              <a:t>That is nice! The Standard Deviation is bigger when the differences are more spread out ... just what we want.</a:t>
            </a:r>
          </a:p>
          <a:p>
            <a:pPr>
              <a:buClr>
                <a:schemeClr val="bg1"/>
              </a:buClr>
            </a:pPr>
            <a:endParaRPr lang="en-US" sz="1600" dirty="0">
              <a:solidFill>
                <a:schemeClr val="bg2">
                  <a:lumMod val="50000"/>
                  <a:lumOff val="50000"/>
                </a:schemeClr>
              </a:solidFill>
              <a:latin typeface="Verdana" panose="020B0604030504040204" pitchFamily="34" charset="0"/>
            </a:endParaRPr>
          </a:p>
          <a:p>
            <a:pPr>
              <a:buClr>
                <a:schemeClr val="bg1"/>
              </a:buClr>
            </a:pPr>
            <a:endParaRPr lang="en-US" sz="1600" dirty="0">
              <a:solidFill>
                <a:schemeClr val="bg2">
                  <a:lumMod val="50000"/>
                  <a:lumOff val="50000"/>
                </a:schemeClr>
              </a:solidFill>
              <a:latin typeface="Verdana" panose="020B0604030504040204" pitchFamily="34" charset="0"/>
            </a:endParaRPr>
          </a:p>
        </p:txBody>
      </p:sp>
      <p:pic>
        <p:nvPicPr>
          <p:cNvPr id="5" name="Picture 4">
            <a:extLst>
              <a:ext uri="{FF2B5EF4-FFF2-40B4-BE49-F238E27FC236}">
                <a16:creationId xmlns:a16="http://schemas.microsoft.com/office/drawing/2014/main" id="{EA9BD20E-FBEB-49E3-A54D-D22AB7DB24EA}"/>
              </a:ext>
            </a:extLst>
          </p:cNvPr>
          <p:cNvPicPr>
            <a:picLocks noChangeAspect="1"/>
          </p:cNvPicPr>
          <p:nvPr/>
        </p:nvPicPr>
        <p:blipFill>
          <a:blip r:embed="rId2"/>
          <a:stretch>
            <a:fillRect/>
          </a:stretch>
        </p:blipFill>
        <p:spPr>
          <a:xfrm>
            <a:off x="407855" y="1290261"/>
            <a:ext cx="1918863" cy="3690120"/>
          </a:xfrm>
          <a:prstGeom prst="rect">
            <a:avLst/>
          </a:prstGeom>
        </p:spPr>
      </p:pic>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C972C7EA-DFFE-4A2A-8300-7F506986051A}"/>
                  </a:ext>
                </a:extLst>
              </p14:cNvPr>
              <p14:cNvContentPartPr/>
              <p14:nvPr/>
            </p14:nvContentPartPr>
            <p14:xfrm>
              <a:off x="895200" y="1054080"/>
              <a:ext cx="10395360" cy="3683520"/>
            </p14:xfrm>
          </p:contentPart>
        </mc:Choice>
        <mc:Fallback>
          <p:pic>
            <p:nvPicPr>
              <p:cNvPr id="2" name="Ink 1">
                <a:extLst>
                  <a:ext uri="{FF2B5EF4-FFF2-40B4-BE49-F238E27FC236}">
                    <a16:creationId xmlns:a16="http://schemas.microsoft.com/office/drawing/2014/main" id="{C972C7EA-DFFE-4A2A-8300-7F506986051A}"/>
                  </a:ext>
                </a:extLst>
              </p:cNvPr>
              <p:cNvPicPr/>
              <p:nvPr/>
            </p:nvPicPr>
            <p:blipFill>
              <a:blip r:embed="rId4"/>
              <a:stretch>
                <a:fillRect/>
              </a:stretch>
            </p:blipFill>
            <p:spPr>
              <a:xfrm>
                <a:off x="885840" y="1044720"/>
                <a:ext cx="10414080" cy="3702240"/>
              </a:xfrm>
              <a:prstGeom prst="rect">
                <a:avLst/>
              </a:prstGeom>
            </p:spPr>
          </p:pic>
        </mc:Fallback>
      </mc:AlternateContent>
    </p:spTree>
    <p:extLst>
      <p:ext uri="{BB962C8B-B14F-4D97-AF65-F5344CB8AC3E}">
        <p14:creationId xmlns:p14="http://schemas.microsoft.com/office/powerpoint/2010/main" val="2153491599"/>
      </p:ext>
    </p:extLst>
  </p:cSld>
  <p:clrMapOvr>
    <a:masterClrMapping/>
  </p:clrMapOvr>
  <p:transition spd="med">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72BBF-B8CB-4B04-883C-EAE35BBFAAEE}"/>
              </a:ext>
            </a:extLst>
          </p:cNvPr>
          <p:cNvSpPr>
            <a:spLocks noGrp="1"/>
          </p:cNvSpPr>
          <p:nvPr>
            <p:ph type="title"/>
          </p:nvPr>
        </p:nvSpPr>
        <p:spPr>
          <a:xfrm>
            <a:off x="0" y="0"/>
            <a:ext cx="10972800" cy="850392"/>
          </a:xfrm>
        </p:spPr>
        <p:txBody>
          <a:bodyPr/>
          <a:lstStyle/>
          <a:p>
            <a:r>
              <a:rPr lang="en-US" dirty="0"/>
              <a:t>Range of Standard Deviation/ Empirical Formula</a:t>
            </a:r>
          </a:p>
        </p:txBody>
      </p:sp>
      <p:sp>
        <p:nvSpPr>
          <p:cNvPr id="3" name="TextBox 2">
            <a:extLst>
              <a:ext uri="{FF2B5EF4-FFF2-40B4-BE49-F238E27FC236}">
                <a16:creationId xmlns:a16="http://schemas.microsoft.com/office/drawing/2014/main" id="{3DA067BC-3687-477F-9DC3-3BDF694F3DCD}"/>
              </a:ext>
            </a:extLst>
          </p:cNvPr>
          <p:cNvSpPr txBox="1"/>
          <p:nvPr/>
        </p:nvSpPr>
        <p:spPr>
          <a:xfrm>
            <a:off x="0" y="1140092"/>
            <a:ext cx="11131016" cy="318100"/>
          </a:xfrm>
          <a:prstGeom prst="rect">
            <a:avLst/>
          </a:prstGeom>
          <a:noFill/>
        </p:spPr>
        <p:txBody>
          <a:bodyPr wrap="square" rtlCol="0">
            <a:spAutoFit/>
          </a:bodyPr>
          <a:lstStyle/>
          <a:p>
            <a:pPr>
              <a:buClr>
                <a:schemeClr val="bg1"/>
              </a:buClr>
            </a:pPr>
            <a:r>
              <a:rPr lang="en-US" sz="1467" dirty="0">
                <a:solidFill>
                  <a:schemeClr val="bg2">
                    <a:lumMod val="50000"/>
                    <a:lumOff val="50000"/>
                  </a:schemeClr>
                </a:solidFill>
                <a:latin typeface="Verdana" panose="020B0604030504040204" pitchFamily="34" charset="0"/>
              </a:rPr>
              <a:t>We can expect about 68% of values to be within plus-or-minus 1 standard deviation.</a:t>
            </a:r>
            <a:endParaRPr lang="en-US" sz="1867" dirty="0">
              <a:solidFill>
                <a:schemeClr val="bg2">
                  <a:lumMod val="50000"/>
                  <a:lumOff val="50000"/>
                </a:schemeClr>
              </a:solidFill>
            </a:endParaRPr>
          </a:p>
        </p:txBody>
      </p:sp>
      <p:pic>
        <p:nvPicPr>
          <p:cNvPr id="5" name="Picture 4">
            <a:extLst>
              <a:ext uri="{FF2B5EF4-FFF2-40B4-BE49-F238E27FC236}">
                <a16:creationId xmlns:a16="http://schemas.microsoft.com/office/drawing/2014/main" id="{79A5D72F-9407-40CB-B562-4DDFB8CB5986}"/>
              </a:ext>
            </a:extLst>
          </p:cNvPr>
          <p:cNvPicPr>
            <a:picLocks noChangeAspect="1"/>
          </p:cNvPicPr>
          <p:nvPr/>
        </p:nvPicPr>
        <p:blipFill>
          <a:blip r:embed="rId2"/>
          <a:stretch>
            <a:fillRect/>
          </a:stretch>
        </p:blipFill>
        <p:spPr>
          <a:xfrm>
            <a:off x="313381" y="2189051"/>
            <a:ext cx="6331727" cy="3354451"/>
          </a:xfrm>
          <a:prstGeom prst="rect">
            <a:avLst/>
          </a:prstGeom>
        </p:spPr>
      </p:pic>
      <p:sp>
        <p:nvSpPr>
          <p:cNvPr id="6" name="TextBox 5">
            <a:extLst>
              <a:ext uri="{FF2B5EF4-FFF2-40B4-BE49-F238E27FC236}">
                <a16:creationId xmlns:a16="http://schemas.microsoft.com/office/drawing/2014/main" id="{7A1F70E6-13D8-4A77-9FAF-ACD6F5789C79}"/>
              </a:ext>
            </a:extLst>
          </p:cNvPr>
          <p:cNvSpPr txBox="1"/>
          <p:nvPr/>
        </p:nvSpPr>
        <p:spPr>
          <a:xfrm>
            <a:off x="6747484" y="1806525"/>
            <a:ext cx="5233513" cy="4072974"/>
          </a:xfrm>
          <a:prstGeom prst="rect">
            <a:avLst/>
          </a:prstGeom>
          <a:noFill/>
        </p:spPr>
        <p:txBody>
          <a:bodyPr wrap="square" rtlCol="0">
            <a:spAutoFit/>
          </a:bodyPr>
          <a:lstStyle/>
          <a:p>
            <a:pPr>
              <a:buClr>
                <a:schemeClr val="bg1"/>
              </a:buClr>
            </a:pPr>
            <a:r>
              <a:rPr lang="en-US" sz="2400" dirty="0">
                <a:solidFill>
                  <a:schemeClr val="bg2">
                    <a:lumMod val="50000"/>
                    <a:lumOff val="50000"/>
                  </a:schemeClr>
                </a:solidFill>
                <a:latin typeface="Verdana" panose="020B0604030504040204" pitchFamily="34" charset="0"/>
              </a:rPr>
              <a:t>Following the empirical rule:.</a:t>
            </a:r>
          </a:p>
          <a:p>
            <a:pPr>
              <a:buClr>
                <a:schemeClr val="bg1"/>
              </a:buClr>
            </a:pPr>
            <a:endParaRPr lang="en-US" sz="2400" dirty="0">
              <a:solidFill>
                <a:schemeClr val="bg2">
                  <a:lumMod val="50000"/>
                  <a:lumOff val="50000"/>
                </a:schemeClr>
              </a:solidFill>
              <a:latin typeface="Verdana" panose="020B0604030504040204" pitchFamily="34" charset="0"/>
            </a:endParaRPr>
          </a:p>
          <a:p>
            <a:pPr marL="380990" indent="-380990">
              <a:buClr>
                <a:schemeClr val="bg1"/>
              </a:buClr>
              <a:buFont typeface="Wingdings" panose="05000000000000000000" pitchFamily="2" charset="2"/>
              <a:buChar char="q"/>
            </a:pPr>
            <a:r>
              <a:rPr lang="en-US" sz="2400" dirty="0">
                <a:solidFill>
                  <a:schemeClr val="bg2">
                    <a:lumMod val="50000"/>
                    <a:lumOff val="50000"/>
                  </a:schemeClr>
                </a:solidFill>
                <a:latin typeface="Verdana" panose="020B0604030504040204" pitchFamily="34" charset="0"/>
              </a:rPr>
              <a:t>Around 68% of scores are between 40 and 60</a:t>
            </a:r>
          </a:p>
          <a:p>
            <a:pPr>
              <a:buClr>
                <a:schemeClr val="bg1"/>
              </a:buClr>
            </a:pPr>
            <a:endParaRPr lang="en-US" sz="2400" dirty="0">
              <a:solidFill>
                <a:schemeClr val="bg2">
                  <a:lumMod val="50000"/>
                  <a:lumOff val="50000"/>
                </a:schemeClr>
              </a:solidFill>
              <a:latin typeface="Verdana" panose="020B0604030504040204" pitchFamily="34" charset="0"/>
            </a:endParaRPr>
          </a:p>
          <a:p>
            <a:pPr marL="380990" indent="-380990">
              <a:buClr>
                <a:schemeClr val="bg1"/>
              </a:buClr>
              <a:buFont typeface="Wingdings" panose="05000000000000000000" pitchFamily="2" charset="2"/>
              <a:buChar char="q"/>
            </a:pPr>
            <a:r>
              <a:rPr lang="en-US" sz="2400" dirty="0">
                <a:solidFill>
                  <a:schemeClr val="bg2">
                    <a:lumMod val="50000"/>
                    <a:lumOff val="50000"/>
                  </a:schemeClr>
                </a:solidFill>
                <a:latin typeface="Verdana" panose="020B0604030504040204" pitchFamily="34" charset="0"/>
              </a:rPr>
              <a:t>Around 95% of scores are between 30 and 70</a:t>
            </a:r>
          </a:p>
          <a:p>
            <a:pPr>
              <a:buClr>
                <a:schemeClr val="bg1"/>
              </a:buClr>
            </a:pPr>
            <a:endParaRPr lang="en-US" sz="2400" dirty="0">
              <a:solidFill>
                <a:schemeClr val="bg2">
                  <a:lumMod val="50000"/>
                  <a:lumOff val="50000"/>
                </a:schemeClr>
              </a:solidFill>
              <a:latin typeface="Verdana" panose="020B0604030504040204" pitchFamily="34" charset="0"/>
            </a:endParaRPr>
          </a:p>
          <a:p>
            <a:pPr marL="380990" indent="-380990">
              <a:buClr>
                <a:schemeClr val="bg1"/>
              </a:buClr>
              <a:buFont typeface="Wingdings" panose="05000000000000000000" pitchFamily="2" charset="2"/>
              <a:buChar char="q"/>
            </a:pPr>
            <a:r>
              <a:rPr lang="en-US" sz="2400" dirty="0">
                <a:solidFill>
                  <a:schemeClr val="bg2">
                    <a:lumMod val="50000"/>
                    <a:lumOff val="50000"/>
                  </a:schemeClr>
                </a:solidFill>
                <a:latin typeface="Verdana" panose="020B0604030504040204" pitchFamily="34" charset="0"/>
              </a:rPr>
              <a:t>Around 99.7% of scores are between 20 and 80.</a:t>
            </a:r>
          </a:p>
          <a:p>
            <a:pPr>
              <a:buClr>
                <a:schemeClr val="bg1"/>
              </a:buClr>
            </a:pPr>
            <a:endParaRPr lang="en-US" sz="1867" dirty="0" err="1">
              <a:solidFill>
                <a:schemeClr val="bg2"/>
              </a:solidFill>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B6CC3F6F-FF53-4261-9CCC-DF78C0704551}"/>
                  </a:ext>
                </a:extLst>
              </p14:cNvPr>
              <p14:cNvContentPartPr/>
              <p14:nvPr/>
            </p14:nvContentPartPr>
            <p14:xfrm>
              <a:off x="253920" y="514560"/>
              <a:ext cx="11932320" cy="6179040"/>
            </p14:xfrm>
          </p:contentPart>
        </mc:Choice>
        <mc:Fallback>
          <p:pic>
            <p:nvPicPr>
              <p:cNvPr id="4" name="Ink 3">
                <a:extLst>
                  <a:ext uri="{FF2B5EF4-FFF2-40B4-BE49-F238E27FC236}">
                    <a16:creationId xmlns:a16="http://schemas.microsoft.com/office/drawing/2014/main" id="{B6CC3F6F-FF53-4261-9CCC-DF78C0704551}"/>
                  </a:ext>
                </a:extLst>
              </p:cNvPr>
              <p:cNvPicPr/>
              <p:nvPr/>
            </p:nvPicPr>
            <p:blipFill>
              <a:blip r:embed="rId4"/>
              <a:stretch>
                <a:fillRect/>
              </a:stretch>
            </p:blipFill>
            <p:spPr>
              <a:xfrm>
                <a:off x="244560" y="505200"/>
                <a:ext cx="11951040" cy="6197760"/>
              </a:xfrm>
              <a:prstGeom prst="rect">
                <a:avLst/>
              </a:prstGeom>
            </p:spPr>
          </p:pic>
        </mc:Fallback>
      </mc:AlternateContent>
    </p:spTree>
    <p:extLst>
      <p:ext uri="{BB962C8B-B14F-4D97-AF65-F5344CB8AC3E}">
        <p14:creationId xmlns:p14="http://schemas.microsoft.com/office/powerpoint/2010/main" val="3825623888"/>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904</Words>
  <Application>Microsoft Office PowerPoint</Application>
  <PresentationFormat>Widescreen</PresentationFormat>
  <Paragraphs>720</Paragraphs>
  <Slides>115</Slides>
  <Notes>6</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15</vt:i4>
      </vt:variant>
    </vt:vector>
  </HeadingPairs>
  <TitlesOfParts>
    <vt:vector size="129" baseType="lpstr">
      <vt:lpstr>champ</vt:lpstr>
      <vt:lpstr>Inter</vt:lpstr>
      <vt:lpstr>Museo Sans For Dell</vt:lpstr>
      <vt:lpstr>Arial</vt:lpstr>
      <vt:lpstr>Calibri</vt:lpstr>
      <vt:lpstr>Calibri Light</vt:lpstr>
      <vt:lpstr>Lato</vt:lpstr>
      <vt:lpstr>Open Sans</vt:lpstr>
      <vt:lpstr>pt sans</vt:lpstr>
      <vt:lpstr>Raleway</vt:lpstr>
      <vt:lpstr>Verdana</vt:lpstr>
      <vt:lpstr>Wingdings</vt:lpstr>
      <vt:lpstr>Office Theme</vt:lpstr>
      <vt:lpstr>think-cell Slide</vt:lpstr>
      <vt:lpstr>Statistics for  Data Science   </vt:lpstr>
      <vt:lpstr>What is Statistics ? </vt:lpstr>
      <vt:lpstr>Some examples of how statistics shape our life</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lpstr>Types of Statistical Studies</vt:lpstr>
      <vt:lpstr>Understanding Observational Study &amp; Experiment              With an Example</vt:lpstr>
      <vt:lpstr>Understanding Observational Study &amp; Experiment              With an Example</vt:lpstr>
      <vt:lpstr>Understanding Observational Study &amp; Experiment              With an Example</vt:lpstr>
      <vt:lpstr>Control Experiment – drug test example</vt:lpstr>
      <vt:lpstr>Controlled Experiment</vt:lpstr>
      <vt:lpstr>Correlation and Causation</vt:lpstr>
      <vt:lpstr>Confounding Variable</vt:lpstr>
      <vt:lpstr>Confounding variable – another example</vt:lpstr>
      <vt:lpstr>What is hypothesis ? </vt:lpstr>
      <vt:lpstr>Blinding</vt:lpstr>
      <vt:lpstr>Double Blinding</vt:lpstr>
      <vt:lpstr>Why blinding is important in Statistics?</vt:lpstr>
      <vt:lpstr>Describing Data through Statistics   </vt:lpstr>
      <vt:lpstr>Measure of   Central Tendency   </vt:lpstr>
      <vt:lpstr>Finding Central Value</vt:lpstr>
      <vt:lpstr>Measure of Central Tendency</vt:lpstr>
      <vt:lpstr>Ready ??????????????</vt:lpstr>
      <vt:lpstr>Mean </vt:lpstr>
      <vt:lpstr>Median</vt:lpstr>
      <vt:lpstr>Median – Two middle numbers</vt:lpstr>
      <vt:lpstr>Mode</vt:lpstr>
      <vt:lpstr>Mode</vt:lpstr>
      <vt:lpstr>Grouping</vt:lpstr>
      <vt:lpstr>Grouping another example</vt:lpstr>
      <vt:lpstr>Outlier </vt:lpstr>
      <vt:lpstr>Outlier - continued</vt:lpstr>
      <vt:lpstr>Mean – Continued Different types of Mean</vt:lpstr>
      <vt:lpstr>Geometric Mean</vt:lpstr>
      <vt:lpstr>Harmonic Mean</vt:lpstr>
      <vt:lpstr>Harmonic Mean - Continued</vt:lpstr>
      <vt:lpstr>Harmonic Mean</vt:lpstr>
      <vt:lpstr>Conclusion : Mean, Median, Mode</vt:lpstr>
      <vt:lpstr>The Mean from a Frequency Table</vt:lpstr>
      <vt:lpstr>The Mean from a Frequency Table - Continued</vt:lpstr>
      <vt:lpstr>Another example of Mean from a Freq Table</vt:lpstr>
      <vt:lpstr>Weighted Mean</vt:lpstr>
      <vt:lpstr>Weighted Mean</vt:lpstr>
      <vt:lpstr>Weighted Mean – Example </vt:lpstr>
      <vt:lpstr>What if the weights don’t add to 1 ?</vt:lpstr>
      <vt:lpstr>What if the weights don’t add to 1 ?</vt:lpstr>
      <vt:lpstr>What if the weights don’t add to 1 ?</vt:lpstr>
      <vt:lpstr>What if the weights don’t add to 1 ?</vt:lpstr>
      <vt:lpstr>Weighted Mean : Summary</vt:lpstr>
      <vt:lpstr>Measure of   Variability   </vt:lpstr>
      <vt:lpstr>Measure of Variability </vt:lpstr>
      <vt:lpstr>Why does variability matters? </vt:lpstr>
      <vt:lpstr>Range</vt:lpstr>
      <vt:lpstr>Range can be misleading</vt:lpstr>
      <vt:lpstr>Quartiles</vt:lpstr>
      <vt:lpstr>Quartile</vt:lpstr>
      <vt:lpstr>Quartile</vt:lpstr>
      <vt:lpstr>How to find Q1, Q2, Q3 ? lets do a small example to get the understanding </vt:lpstr>
      <vt:lpstr>Interquartile Range</vt:lpstr>
      <vt:lpstr>Interquartile Range</vt:lpstr>
      <vt:lpstr>Interquartile Range</vt:lpstr>
      <vt:lpstr>Worksheet</vt:lpstr>
      <vt:lpstr>Box and Whiskers Plot</vt:lpstr>
      <vt:lpstr>Putting it all together – Quartiles &amp; Box and Whisker Plot</vt:lpstr>
      <vt:lpstr>Quartile – Five-number summary</vt:lpstr>
      <vt:lpstr>Mean Deviation</vt:lpstr>
      <vt:lpstr>Mean Deviation</vt:lpstr>
      <vt:lpstr>Mean Deviation</vt:lpstr>
      <vt:lpstr>Mean Deviation - Formula</vt:lpstr>
      <vt:lpstr>Mean Deviation – Real life example </vt:lpstr>
      <vt:lpstr>Mean Deviation – Ex continued</vt:lpstr>
      <vt:lpstr>Mean Deviation – A useful check</vt:lpstr>
      <vt:lpstr>Mean Deviation – A useful check</vt:lpstr>
      <vt:lpstr>Standard Deviation</vt:lpstr>
      <vt:lpstr>Variance - Ex</vt:lpstr>
      <vt:lpstr>Variance – Ex continued</vt:lpstr>
      <vt:lpstr>Standard Deviation </vt:lpstr>
      <vt:lpstr>Another Example – Standard Deviation </vt:lpstr>
      <vt:lpstr>Standard Deviation – Population &amp; Sample</vt:lpstr>
      <vt:lpstr>Standard Deviation - Formula</vt:lpstr>
      <vt:lpstr>Why Square the difference ? </vt:lpstr>
      <vt:lpstr>Why Square the difference ? - Continued </vt:lpstr>
      <vt:lpstr>Range of Standard Deviation/ Empirical Formula</vt:lpstr>
      <vt:lpstr>Coefficient of Variance (CV)</vt:lpstr>
      <vt:lpstr>Example :   The CV is particularly useful when you want to compare results from two different surveys or tests that have different measures or values. For example, if you are comparing the results from two tests that have different scoring mechanisms. </vt:lpstr>
      <vt:lpstr>Standard deviation - Example</vt:lpstr>
      <vt:lpstr>Histograms</vt:lpstr>
      <vt:lpstr>Histograms</vt:lpstr>
      <vt:lpstr>Difference between Bar chart and Histogram? </vt:lpstr>
      <vt:lpstr>Frequency Histogram</vt:lpstr>
      <vt:lpstr>Normal Distribution</vt:lpstr>
      <vt:lpstr>Normal Distribution - Continued</vt:lpstr>
      <vt:lpstr>Correlation</vt:lpstr>
      <vt:lpstr>Correlation - continued</vt:lpstr>
      <vt:lpstr>Correlation is NOT Causation</vt:lpstr>
      <vt:lpstr>Correlation is NOT Causation</vt:lpstr>
      <vt:lpstr>Correlation is NOT Causation – A real case</vt:lpstr>
      <vt:lpstr>Skewness</vt:lpstr>
      <vt:lpstr>Skewn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istics for  Data Science   </dc:title>
  <dc:creator>R2, Arun</dc:creator>
  <cp:lastModifiedBy>R2, Arun</cp:lastModifiedBy>
  <cp:revision>1</cp:revision>
  <dcterms:created xsi:type="dcterms:W3CDTF">2022-02-06T15:55:02Z</dcterms:created>
  <dcterms:modified xsi:type="dcterms:W3CDTF">2022-02-06T15:5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3dd1fcc-24d7-4f55-9dc2-c1518f171327_Enabled">
    <vt:lpwstr>true</vt:lpwstr>
  </property>
  <property fmtid="{D5CDD505-2E9C-101B-9397-08002B2CF9AE}" pid="3" name="MSIP_Label_73dd1fcc-24d7-4f55-9dc2-c1518f171327_SetDate">
    <vt:lpwstr>2022-02-06T15:55:58Z</vt:lpwstr>
  </property>
  <property fmtid="{D5CDD505-2E9C-101B-9397-08002B2CF9AE}" pid="4" name="MSIP_Label_73dd1fcc-24d7-4f55-9dc2-c1518f171327_Method">
    <vt:lpwstr>Privileged</vt:lpwstr>
  </property>
  <property fmtid="{D5CDD505-2E9C-101B-9397-08002B2CF9AE}" pid="5" name="MSIP_Label_73dd1fcc-24d7-4f55-9dc2-c1518f171327_Name">
    <vt:lpwstr>No Protection (Label Only) - Internal Use</vt:lpwstr>
  </property>
  <property fmtid="{D5CDD505-2E9C-101B-9397-08002B2CF9AE}" pid="6" name="MSIP_Label_73dd1fcc-24d7-4f55-9dc2-c1518f171327_SiteId">
    <vt:lpwstr>945c199a-83a2-4e80-9f8c-5a91be5752dd</vt:lpwstr>
  </property>
  <property fmtid="{D5CDD505-2E9C-101B-9397-08002B2CF9AE}" pid="7" name="MSIP_Label_73dd1fcc-24d7-4f55-9dc2-c1518f171327_ActionId">
    <vt:lpwstr>e07bb399-bafd-4a57-903c-cc17d39a154f</vt:lpwstr>
  </property>
  <property fmtid="{D5CDD505-2E9C-101B-9397-08002B2CF9AE}" pid="8" name="MSIP_Label_73dd1fcc-24d7-4f55-9dc2-c1518f171327_ContentBits">
    <vt:lpwstr>2</vt:lpwstr>
  </property>
</Properties>
</file>